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 id="2147483860" r:id="rId2"/>
    <p:sldMasterId id="2147483881" r:id="rId3"/>
    <p:sldMasterId id="2147483902" r:id="rId4"/>
  </p:sldMasterIdLst>
  <p:notesMasterIdLst>
    <p:notesMasterId r:id="rId32"/>
  </p:notesMasterIdLst>
  <p:handoutMasterIdLst>
    <p:handoutMasterId r:id="rId33"/>
  </p:handoutMasterIdLst>
  <p:sldIdLst>
    <p:sldId id="414" r:id="rId5"/>
    <p:sldId id="418" r:id="rId6"/>
    <p:sldId id="422" r:id="rId7"/>
    <p:sldId id="442" r:id="rId8"/>
    <p:sldId id="421" r:id="rId9"/>
    <p:sldId id="417" r:id="rId10"/>
    <p:sldId id="419" r:id="rId11"/>
    <p:sldId id="324" r:id="rId12"/>
    <p:sldId id="423" r:id="rId13"/>
    <p:sldId id="424" r:id="rId14"/>
    <p:sldId id="425" r:id="rId15"/>
    <p:sldId id="426" r:id="rId16"/>
    <p:sldId id="427" r:id="rId17"/>
    <p:sldId id="428" r:id="rId18"/>
    <p:sldId id="429" r:id="rId19"/>
    <p:sldId id="430" r:id="rId20"/>
    <p:sldId id="431" r:id="rId21"/>
    <p:sldId id="432" r:id="rId22"/>
    <p:sldId id="433" r:id="rId23"/>
    <p:sldId id="434" r:id="rId24"/>
    <p:sldId id="435" r:id="rId25"/>
    <p:sldId id="436" r:id="rId26"/>
    <p:sldId id="437" r:id="rId27"/>
    <p:sldId id="438" r:id="rId28"/>
    <p:sldId id="439" r:id="rId29"/>
    <p:sldId id="440" r:id="rId30"/>
    <p:sldId id="441" r:id="rId31"/>
  </p:sldIdLst>
  <p:sldSz cx="9144000" cy="6858000" type="screen4x3"/>
  <p:notesSz cx="7099300" cy="10234613"/>
  <p:embeddedFontLst>
    <p:embeddedFont>
      <p:font typeface="ＭＳ Ｐゴシック" panose="020B0600070205080204" pitchFamily="34" charset="-128"/>
      <p:regular r:id="rId34"/>
    </p:embeddedFont>
    <p:embeddedFont>
      <p:font typeface="ABB Neue Helvetica Light" panose="020B0403020202020204" pitchFamily="34" charset="0"/>
      <p:regular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3906">
          <p15:clr>
            <a:srgbClr val="A4A3A4"/>
          </p15:clr>
        </p15:guide>
        <p15:guide id="3" orient="horz" pos="2409">
          <p15:clr>
            <a:srgbClr val="A4A3A4"/>
          </p15:clr>
        </p15:guide>
        <p15:guide id="4" orient="horz" pos="2500">
          <p15:clr>
            <a:srgbClr val="A4A3A4"/>
          </p15:clr>
        </p15:guide>
        <p15:guide id="5" orient="horz" pos="232">
          <p15:clr>
            <a:srgbClr val="A4A3A4"/>
          </p15:clr>
        </p15:guide>
        <p15:guide id="6" orient="horz" pos="1003">
          <p15:clr>
            <a:srgbClr val="A4A3A4"/>
          </p15:clr>
        </p15:guide>
        <p15:guide id="7" pos="113" userDrawn="1">
          <p15:clr>
            <a:srgbClr val="A4A3A4"/>
          </p15:clr>
        </p15:guide>
        <p15:guide id="8" pos="5624">
          <p15:clr>
            <a:srgbClr val="A4A3A4"/>
          </p15:clr>
        </p15:guide>
        <p15:guide id="9" pos="4830">
          <p15:clr>
            <a:srgbClr val="A4A3A4"/>
          </p15:clr>
        </p15:guide>
        <p15:guide id="10" pos="2925">
          <p15:clr>
            <a:srgbClr val="A4A3A4"/>
          </p15:clr>
        </p15:guide>
        <p15:guide id="11" pos="2835">
          <p15:clr>
            <a:srgbClr val="A4A3A4"/>
          </p15:clr>
        </p15:guide>
        <p15:guide id="12" pos="930">
          <p15:clr>
            <a:srgbClr val="A4A3A4"/>
          </p15:clr>
        </p15:guide>
        <p15:guide id="13" pos="839">
          <p15:clr>
            <a:srgbClr val="A4A3A4"/>
          </p15:clr>
        </p15:guide>
      </p15:sldGuideLst>
    </p:ext>
    <p:ext uri="{2D200454-40CA-4A62-9FC3-DE9A4176ACB9}">
      <p15:notesGuideLst xmlns:p15="http://schemas.microsoft.com/office/powerpoint/2012/main">
        <p15:guide id="1" orient="horz" pos="184">
          <p15:clr>
            <a:srgbClr val="A4A3A4"/>
          </p15:clr>
        </p15:guide>
        <p15:guide id="2" orient="horz" pos="320">
          <p15:clr>
            <a:srgbClr val="A4A3A4"/>
          </p15:clr>
        </p15:guide>
        <p15:guide id="3" orient="horz" pos="3110">
          <p15:clr>
            <a:srgbClr val="A4A3A4"/>
          </p15:clr>
        </p15:guide>
        <p15:guide id="4" orient="horz" pos="3223">
          <p15:clr>
            <a:srgbClr val="A4A3A4"/>
          </p15:clr>
        </p15:guide>
        <p15:guide id="5" orient="horz" pos="6149">
          <p15:clr>
            <a:srgbClr val="A4A3A4"/>
          </p15:clr>
        </p15:guide>
        <p15:guide id="6" orient="horz" pos="6285">
          <p15:clr>
            <a:srgbClr val="A4A3A4"/>
          </p15:clr>
        </p15:guide>
        <p15:guide id="7" pos="490">
          <p15:clr>
            <a:srgbClr val="A4A3A4"/>
          </p15:clr>
        </p15:guide>
        <p15:guide id="8" pos="4209">
          <p15:clr>
            <a:srgbClr val="A4A3A4"/>
          </p15:clr>
        </p15:guide>
        <p15:guide id="9" pos="234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21" autoAdjust="0"/>
    <p:restoredTop sz="90449" autoAdjust="0"/>
  </p:normalViewPr>
  <p:slideViewPr>
    <p:cSldViewPr snapToObjects="1" showGuides="1">
      <p:cViewPr varScale="1">
        <p:scale>
          <a:sx n="81" d="100"/>
          <a:sy n="81" d="100"/>
        </p:scale>
        <p:origin x="960" y="84"/>
      </p:cViewPr>
      <p:guideLst>
        <p:guide orient="horz" pos="142"/>
        <p:guide orient="horz" pos="3906"/>
        <p:guide orient="horz" pos="2409"/>
        <p:guide orient="horz" pos="2500"/>
        <p:guide orient="horz" pos="232"/>
        <p:guide orient="horz" pos="1003"/>
        <p:guide pos="113"/>
        <p:guide pos="5624"/>
        <p:guide pos="4830"/>
        <p:guide pos="2925"/>
        <p:guide pos="2835"/>
        <p:guide pos="930"/>
        <p:guide pos="839"/>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p:scale>
          <a:sx n="66" d="100"/>
          <a:sy n="66" d="100"/>
        </p:scale>
        <p:origin x="-3480" y="-354"/>
      </p:cViewPr>
      <p:guideLst>
        <p:guide orient="horz" pos="184"/>
        <p:guide orient="horz" pos="320"/>
        <p:guide orient="horz" pos="3110"/>
        <p:guide orient="horz" pos="3223"/>
        <p:guide orient="horz" pos="6149"/>
        <p:guide orient="horz" pos="6285"/>
        <p:guide pos="490"/>
        <p:guide pos="4209"/>
        <p:guide pos="234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2.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747337025990601E-2"/>
          <c:y val="4.54010345809839E-2"/>
          <c:w val="0.81587038339103601"/>
          <c:h val="0.79866712642236903"/>
        </c:manualLayout>
      </c:layout>
      <c:barChart>
        <c:barDir val="col"/>
        <c:grouping val="stacked"/>
        <c:varyColors val="0"/>
        <c:ser>
          <c:idx val="0"/>
          <c:order val="0"/>
          <c:tx>
            <c:strRef>
              <c:f>Tabelle1!$A$2</c:f>
              <c:strCache>
                <c:ptCount val="1"/>
                <c:pt idx="0">
                  <c:v>HCC</c:v>
                </c:pt>
              </c:strCache>
            </c:strRef>
          </c:tx>
          <c:spPr>
            <a:solidFill>
              <a:schemeClr val="bg1"/>
            </a:solidFill>
            <a:ln>
              <a:solidFill>
                <a:schemeClr val="accent4"/>
              </a:solidFill>
            </a:ln>
          </c:spPr>
          <c:invertIfNegative val="0"/>
          <c:dPt>
            <c:idx val="0"/>
            <c:invertIfNegative val="0"/>
            <c:bubble3D val="0"/>
          </c:dPt>
          <c:dLbls>
            <c:dLbl>
              <c:idx val="0"/>
              <c:tx>
                <c:rich>
                  <a:bodyPr/>
                  <a:lstStyle/>
                  <a:p>
                    <a:r>
                      <a:rPr lang="en-US" smtClean="0">
                        <a:solidFill>
                          <a:schemeClr val="accent4"/>
                        </a:solidFill>
                      </a:rPr>
                      <a:t>52%</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4"/>
                        </a:solidFill>
                      </a:rPr>
                      <a:t>5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4"/>
                        </a:solidFill>
                      </a:rPr>
                      <a:t>4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4"/>
                        </a:solidFill>
                      </a:rPr>
                      <a:t>43%</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4"/>
                        </a:solidFill>
                      </a:rPr>
                      <a:t>41%</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4"/>
                        </a:solidFill>
                      </a:rPr>
                      <a:t>40%</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4"/>
                        </a:solidFill>
                      </a:rPr>
                      <a:t>39%</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4"/>
                        </a:solidFill>
                      </a:rPr>
                      <a:t>38%</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4"/>
                        </a:solidFill>
                      </a:rPr>
                      <a:t>36%</a:t>
                    </a:r>
                    <a:endParaRPr lang="en-US"/>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2:$L$2</c:f>
              <c:numCache>
                <c:formatCode>0.00</c:formatCode>
                <c:ptCount val="11"/>
                <c:pt idx="0">
                  <c:v>1228.24</c:v>
                </c:pt>
                <c:pt idx="1">
                  <c:v>1305</c:v>
                </c:pt>
                <c:pt idx="2">
                  <c:v>1465.74</c:v>
                </c:pt>
                <c:pt idx="3">
                  <c:v>1491.07</c:v>
                </c:pt>
                <c:pt idx="4">
                  <c:v>1214.75</c:v>
                </c:pt>
                <c:pt idx="5">
                  <c:v>1254.19</c:v>
                </c:pt>
                <c:pt idx="6">
                  <c:v>1320.8</c:v>
                </c:pt>
                <c:pt idx="7">
                  <c:v>1381.38</c:v>
                </c:pt>
                <c:pt idx="8">
                  <c:v>1483.95</c:v>
                </c:pt>
                <c:pt idx="9">
                  <c:v>1547.36</c:v>
                </c:pt>
                <c:pt idx="10">
                  <c:v>1553.76</c:v>
                </c:pt>
              </c:numCache>
            </c:numRef>
          </c:val>
        </c:ser>
        <c:ser>
          <c:idx val="1"/>
          <c:order val="1"/>
          <c:tx>
            <c:strRef>
              <c:f>Tabelle1!$A$3</c:f>
              <c:strCache>
                <c:ptCount val="1"/>
                <c:pt idx="0">
                  <c:v>LCC</c:v>
                </c:pt>
              </c:strCache>
            </c:strRef>
          </c:tx>
          <c:spPr>
            <a:solidFill>
              <a:schemeClr val="bg1"/>
            </a:solidFill>
            <a:ln>
              <a:solidFill>
                <a:schemeClr val="accent1"/>
              </a:solidFill>
            </a:ln>
          </c:spPr>
          <c:invertIfNegative val="0"/>
          <c:dLbls>
            <c:dLbl>
              <c:idx val="0"/>
              <c:tx>
                <c:rich>
                  <a:bodyPr/>
                  <a:lstStyle/>
                  <a:p>
                    <a:r>
                      <a:rPr lang="en-US" smtClean="0">
                        <a:solidFill>
                          <a:schemeClr val="accent1"/>
                        </a:solidFill>
                      </a:rPr>
                      <a:t>48%</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solidFill>
                          <a:schemeClr val="accent1"/>
                        </a:solidFill>
                      </a:rPr>
                      <a:t>5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mtClean="0">
                        <a:solidFill>
                          <a:schemeClr val="accent1"/>
                        </a:solidFill>
                      </a:rPr>
                      <a:t>5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mtClean="0">
                        <a:solidFill>
                          <a:schemeClr val="accent1"/>
                        </a:solidFill>
                      </a:rPr>
                      <a:t>57%</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mtClean="0">
                        <a:solidFill>
                          <a:schemeClr val="accent1"/>
                        </a:solidFill>
                      </a:rPr>
                      <a:t>59%</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mtClean="0">
                        <a:solidFill>
                          <a:schemeClr val="accent1"/>
                        </a:solidFill>
                      </a:rPr>
                      <a:t>60%</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mtClean="0">
                        <a:solidFill>
                          <a:schemeClr val="accent1"/>
                        </a:solidFill>
                      </a:rPr>
                      <a:t>61%</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mtClean="0">
                        <a:solidFill>
                          <a:schemeClr val="accent1"/>
                        </a:solidFill>
                      </a:rPr>
                      <a:t>62%</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mtClean="0">
                        <a:solidFill>
                          <a:schemeClr val="accent1"/>
                        </a:solidFill>
                      </a:rPr>
                      <a:t>64%</a:t>
                    </a:r>
                    <a:endParaRPr lang="en-US"/>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accent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L$1</c:f>
              <c:strCache>
                <c:ptCount val="11"/>
                <c:pt idx="0">
                  <c:v>2005</c:v>
                </c:pt>
                <c:pt idx="1">
                  <c:v>2006</c:v>
                </c:pt>
                <c:pt idx="2">
                  <c:v>2007</c:v>
                </c:pt>
                <c:pt idx="3">
                  <c:v>2008</c:v>
                </c:pt>
                <c:pt idx="4">
                  <c:v>2009</c:v>
                </c:pt>
                <c:pt idx="5">
                  <c:v>2010FC</c:v>
                </c:pt>
                <c:pt idx="6">
                  <c:v>2011FC</c:v>
                </c:pt>
                <c:pt idx="7">
                  <c:v>2012FC</c:v>
                </c:pt>
                <c:pt idx="8">
                  <c:v>2013FC</c:v>
                </c:pt>
                <c:pt idx="9">
                  <c:v>2014FC</c:v>
                </c:pt>
                <c:pt idx="10">
                  <c:v>2015FC</c:v>
                </c:pt>
              </c:strCache>
            </c:strRef>
          </c:cat>
          <c:val>
            <c:numRef>
              <c:f>Tabelle1!$B$3:$L$3</c:f>
              <c:numCache>
                <c:formatCode>0.00</c:formatCode>
                <c:ptCount val="11"/>
                <c:pt idx="0">
                  <c:v>1133.76</c:v>
                </c:pt>
                <c:pt idx="1">
                  <c:v>1305</c:v>
                </c:pt>
                <c:pt idx="2">
                  <c:v>1408.26</c:v>
                </c:pt>
                <c:pt idx="3">
                  <c:v>1551.93</c:v>
                </c:pt>
                <c:pt idx="4">
                  <c:v>1610.25</c:v>
                </c:pt>
                <c:pt idx="5">
                  <c:v>1804.81</c:v>
                </c:pt>
                <c:pt idx="6">
                  <c:v>1981.2</c:v>
                </c:pt>
                <c:pt idx="7">
                  <c:v>2160.62</c:v>
                </c:pt>
                <c:pt idx="8">
                  <c:v>2321.0500000000002</c:v>
                </c:pt>
                <c:pt idx="9">
                  <c:v>2524.64</c:v>
                </c:pt>
                <c:pt idx="10">
                  <c:v>2762.24</c:v>
                </c:pt>
              </c:numCache>
            </c:numRef>
          </c:val>
        </c:ser>
        <c:dLbls>
          <c:showLegendKey val="0"/>
          <c:showVal val="1"/>
          <c:showCatName val="0"/>
          <c:showSerName val="0"/>
          <c:showPercent val="0"/>
          <c:showBubbleSize val="0"/>
        </c:dLbls>
        <c:gapWidth val="19"/>
        <c:overlap val="100"/>
        <c:axId val="712229456"/>
        <c:axId val="712229848"/>
      </c:barChart>
      <c:catAx>
        <c:axId val="712229456"/>
        <c:scaling>
          <c:orientation val="minMax"/>
        </c:scaling>
        <c:delete val="0"/>
        <c:axPos val="b"/>
        <c:numFmt formatCode="General" sourceLinked="1"/>
        <c:majorTickMark val="none"/>
        <c:minorTickMark val="none"/>
        <c:tickLblPos val="nextTo"/>
        <c:spPr>
          <a:ln w="28575">
            <a:solidFill>
              <a:schemeClr val="accent4"/>
            </a:solidFill>
          </a:ln>
        </c:spPr>
        <c:txPr>
          <a:bodyPr/>
          <a:lstStyle/>
          <a:p>
            <a:pPr>
              <a:defRPr sz="1000" b="1">
                <a:solidFill>
                  <a:schemeClr val="accent5"/>
                </a:solidFill>
              </a:defRPr>
            </a:pPr>
            <a:endParaRPr lang="en-US"/>
          </a:p>
        </c:txPr>
        <c:crossAx val="712229848"/>
        <c:crosses val="autoZero"/>
        <c:auto val="1"/>
        <c:lblAlgn val="ctr"/>
        <c:lblOffset val="100"/>
        <c:noMultiLvlLbl val="0"/>
      </c:catAx>
      <c:valAx>
        <c:axId val="712229848"/>
        <c:scaling>
          <c:orientation val="minMax"/>
        </c:scaling>
        <c:delete val="1"/>
        <c:axPos val="l"/>
        <c:numFmt formatCode="0.00" sourceLinked="1"/>
        <c:majorTickMark val="out"/>
        <c:minorTickMark val="none"/>
        <c:tickLblPos val="nextTo"/>
        <c:crossAx val="712229456"/>
        <c:crosses val="autoZero"/>
        <c:crossBetween val="between"/>
      </c:valAx>
      <c:spPr>
        <a:noFill/>
        <a:ln w="25385">
          <a:noFill/>
        </a:ln>
      </c:spPr>
    </c:plotArea>
    <c:legend>
      <c:legendPos val="t"/>
      <c:layout>
        <c:manualLayout>
          <c:xMode val="edge"/>
          <c:yMode val="edge"/>
          <c:x val="8.4933401455230106E-3"/>
          <c:y val="0.92113726842418697"/>
          <c:w val="0.13774797110736101"/>
          <c:h val="6.6212308081058893E-2"/>
        </c:manualLayout>
      </c:layout>
      <c:overlay val="0"/>
    </c:legend>
    <c:plotVisOnly val="1"/>
    <c:dispBlanksAs val="gap"/>
    <c:showDLblsOverMax val="0"/>
  </c:chart>
  <c:spPr>
    <a:ln w="15866" cmpd="sng"/>
  </c:spPr>
  <c:txPr>
    <a:bodyPr/>
    <a:lstStyle/>
    <a:p>
      <a:pPr>
        <a:defRPr sz="1199">
          <a:latin typeface="+mn-l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99604454003099E-2"/>
          <c:y val="3.4656364343796799E-2"/>
          <c:w val="0.76644790300232502"/>
          <c:h val="0.85486659426393996"/>
        </c:manualLayout>
      </c:layout>
      <c:lineChart>
        <c:grouping val="standard"/>
        <c:varyColors val="0"/>
        <c:ser>
          <c:idx val="0"/>
          <c:order val="0"/>
          <c:tx>
            <c:strRef>
              <c:f>Tabelle1!$A$2</c:f>
              <c:strCache>
                <c:ptCount val="1"/>
                <c:pt idx="0">
                  <c:v>Project 1</c:v>
                </c:pt>
              </c:strCache>
            </c:strRef>
          </c:tx>
          <c:spPr>
            <a:ln w="38100"/>
          </c:spPr>
          <c:marker>
            <c:symbol val="none"/>
          </c:marker>
          <c:dLbls>
            <c:dLbl>
              <c:idx val="0"/>
              <c:layout>
                <c:manualLayout>
                  <c:x val="-2.2155943757988902E-2"/>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6.6467831273966799E-2"/>
                  <c:y val="-3.14465408805032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2:$E$2</c:f>
              <c:numCache>
                <c:formatCode>General</c:formatCode>
                <c:ptCount val="4"/>
                <c:pt idx="0">
                  <c:v>20.399999999999999</c:v>
                </c:pt>
                <c:pt idx="1">
                  <c:v>27.4</c:v>
                </c:pt>
                <c:pt idx="2">
                  <c:v>88</c:v>
                </c:pt>
                <c:pt idx="3">
                  <c:v>20.399999999999999</c:v>
                </c:pt>
              </c:numCache>
            </c:numRef>
          </c:val>
          <c:smooth val="0"/>
        </c:ser>
        <c:ser>
          <c:idx val="1"/>
          <c:order val="1"/>
          <c:tx>
            <c:strRef>
              <c:f>Tabelle1!$A$3</c:f>
              <c:strCache>
                <c:ptCount val="1"/>
                <c:pt idx="0">
                  <c:v>Project 2</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3:$E$3</c:f>
              <c:numCache>
                <c:formatCode>General</c:formatCode>
                <c:ptCount val="4"/>
                <c:pt idx="0">
                  <c:v>30.6</c:v>
                </c:pt>
                <c:pt idx="1">
                  <c:v>38.6</c:v>
                </c:pt>
                <c:pt idx="2">
                  <c:v>34.6</c:v>
                </c:pt>
                <c:pt idx="3">
                  <c:v>31.6</c:v>
                </c:pt>
              </c:numCache>
            </c:numRef>
          </c:val>
          <c:smooth val="0"/>
        </c:ser>
        <c:ser>
          <c:idx val="2"/>
          <c:order val="2"/>
          <c:tx>
            <c:strRef>
              <c:f>Tabelle1!$A$4</c:f>
              <c:strCache>
                <c:ptCount val="1"/>
                <c:pt idx="0">
                  <c:v>Project 3</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4:$E$4</c:f>
              <c:numCache>
                <c:formatCode>General</c:formatCode>
                <c:ptCount val="4"/>
                <c:pt idx="0">
                  <c:v>45.9</c:v>
                </c:pt>
                <c:pt idx="1">
                  <c:v>46.9</c:v>
                </c:pt>
                <c:pt idx="2">
                  <c:v>45</c:v>
                </c:pt>
                <c:pt idx="3">
                  <c:v>43.9</c:v>
                </c:pt>
              </c:numCache>
            </c:numRef>
          </c:val>
          <c:smooth val="0"/>
        </c:ser>
        <c:ser>
          <c:idx val="3"/>
          <c:order val="3"/>
          <c:tx>
            <c:strRef>
              <c:f>Tabelle1!$A$5</c:f>
              <c:strCache>
                <c:ptCount val="1"/>
                <c:pt idx="0">
                  <c:v>Project 4</c:v>
                </c:pt>
              </c:strCache>
            </c:strRef>
          </c:tx>
          <c:spPr>
            <a:ln w="38100"/>
          </c:spPr>
          <c:marker>
            <c:symbol val="none"/>
          </c:marker>
          <c:dLbls>
            <c:dLbl>
              <c:idx val="0"/>
              <c:layout>
                <c:manualLayout>
                  <c:x val="-6.8172134639965902E-3"/>
                  <c:y val="3.4591194968553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
                  <c:y val="1.57232704402516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7043033659991499E-3"/>
                  <c:y val="3.45911949685535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E$1</c:f>
              <c:strCache>
                <c:ptCount val="4"/>
                <c:pt idx="0">
                  <c:v>Segment 1</c:v>
                </c:pt>
                <c:pt idx="1">
                  <c:v>Segment 2</c:v>
                </c:pt>
                <c:pt idx="2">
                  <c:v>Segment 3</c:v>
                </c:pt>
                <c:pt idx="3">
                  <c:v>Segment 4</c:v>
                </c:pt>
              </c:strCache>
            </c:strRef>
          </c:cat>
          <c:val>
            <c:numRef>
              <c:f>Tabelle1!$B$5:$E$5</c:f>
              <c:numCache>
                <c:formatCode>General</c:formatCode>
                <c:ptCount val="4"/>
                <c:pt idx="0">
                  <c:v>10</c:v>
                </c:pt>
                <c:pt idx="1">
                  <c:v>25</c:v>
                </c:pt>
                <c:pt idx="2">
                  <c:v>40</c:v>
                </c:pt>
                <c:pt idx="3">
                  <c:v>12</c:v>
                </c:pt>
              </c:numCache>
            </c:numRef>
          </c:val>
          <c:smooth val="0"/>
        </c:ser>
        <c:ser>
          <c:idx val="4"/>
          <c:order val="4"/>
          <c:tx>
            <c:strRef>
              <c:f>Tabelle1!$A$6</c:f>
              <c:strCache>
                <c:ptCount val="1"/>
                <c:pt idx="0">
                  <c:v>Project 5</c:v>
                </c:pt>
              </c:strCache>
            </c:strRef>
          </c:tx>
          <c:spPr>
            <a:ln w="38100"/>
          </c:spPr>
          <c:marker>
            <c:symbol val="none"/>
          </c:marker>
          <c:cat>
            <c:strRef>
              <c:f>Tabelle1!$B$1:$E$1</c:f>
              <c:strCache>
                <c:ptCount val="4"/>
                <c:pt idx="0">
                  <c:v>Segment 1</c:v>
                </c:pt>
                <c:pt idx="1">
                  <c:v>Segment 2</c:v>
                </c:pt>
                <c:pt idx="2">
                  <c:v>Segment 3</c:v>
                </c:pt>
                <c:pt idx="3">
                  <c:v>Segment 4</c:v>
                </c:pt>
              </c:strCache>
            </c:strRef>
          </c:cat>
          <c:val>
            <c:numRef>
              <c:f>Tabelle1!$B$6:$E$6</c:f>
              <c:numCache>
                <c:formatCode>General</c:formatCode>
                <c:ptCount val="4"/>
                <c:pt idx="0">
                  <c:v>60</c:v>
                </c:pt>
                <c:pt idx="1">
                  <c:v>34</c:v>
                </c:pt>
                <c:pt idx="2">
                  <c:v>52</c:v>
                </c:pt>
                <c:pt idx="3">
                  <c:v>45</c:v>
                </c:pt>
              </c:numCache>
            </c:numRef>
          </c:val>
          <c:smooth val="0"/>
        </c:ser>
        <c:dLbls>
          <c:showLegendKey val="0"/>
          <c:showVal val="0"/>
          <c:showCatName val="0"/>
          <c:showSerName val="0"/>
          <c:showPercent val="0"/>
          <c:showBubbleSize val="0"/>
        </c:dLbls>
        <c:smooth val="0"/>
        <c:axId val="712231024"/>
        <c:axId val="710961424"/>
      </c:lineChart>
      <c:catAx>
        <c:axId val="712231024"/>
        <c:scaling>
          <c:orientation val="minMax"/>
        </c:scaling>
        <c:delete val="0"/>
        <c:axPos val="b"/>
        <c:numFmt formatCode="General" sourceLinked="1"/>
        <c:majorTickMark val="none"/>
        <c:minorTickMark val="none"/>
        <c:tickLblPos val="nextTo"/>
        <c:spPr>
          <a:ln w="19050">
            <a:solidFill>
              <a:schemeClr val="accent4"/>
            </a:solidFill>
          </a:ln>
        </c:spPr>
        <c:txPr>
          <a:bodyPr/>
          <a:lstStyle/>
          <a:p>
            <a:pPr>
              <a:defRPr b="1">
                <a:solidFill>
                  <a:schemeClr val="accent4"/>
                </a:solidFill>
              </a:defRPr>
            </a:pPr>
            <a:endParaRPr lang="en-US"/>
          </a:p>
        </c:txPr>
        <c:crossAx val="710961424"/>
        <c:crosses val="autoZero"/>
        <c:auto val="1"/>
        <c:lblAlgn val="ctr"/>
        <c:lblOffset val="100"/>
        <c:noMultiLvlLbl val="0"/>
      </c:catAx>
      <c:valAx>
        <c:axId val="710961424"/>
        <c:scaling>
          <c:orientation val="minMax"/>
          <c:max val="90"/>
        </c:scaling>
        <c:delete val="0"/>
        <c:axPos val="l"/>
        <c:majorGridlines>
          <c:spPr>
            <a:ln>
              <a:solidFill>
                <a:schemeClr val="accent4"/>
              </a:solidFill>
            </a:ln>
          </c:spPr>
        </c:majorGridlines>
        <c:numFmt formatCode="General" sourceLinked="1"/>
        <c:majorTickMark val="out"/>
        <c:minorTickMark val="none"/>
        <c:tickLblPos val="nextTo"/>
        <c:spPr>
          <a:ln>
            <a:noFill/>
          </a:ln>
        </c:spPr>
        <c:txPr>
          <a:bodyPr/>
          <a:lstStyle/>
          <a:p>
            <a:pPr>
              <a:defRPr>
                <a:solidFill>
                  <a:schemeClr val="accent4"/>
                </a:solidFill>
              </a:defRPr>
            </a:pPr>
            <a:endParaRPr lang="en-US"/>
          </a:p>
        </c:txPr>
        <c:crossAx val="712231024"/>
        <c:crosses val="autoZero"/>
        <c:crossBetween val="between"/>
      </c:valAx>
      <c:spPr>
        <a:noFill/>
        <a:ln w="25385">
          <a:noFill/>
        </a:ln>
      </c:spPr>
    </c:plotArea>
    <c:legend>
      <c:legendPos val="r"/>
      <c:layout>
        <c:manualLayout>
          <c:xMode val="edge"/>
          <c:yMode val="edge"/>
          <c:x val="0.84770345121431601"/>
          <c:y val="6.0642742325332797E-3"/>
          <c:w val="0.13184488596956401"/>
          <c:h val="0.30308037582258901"/>
        </c:manualLayout>
      </c:layout>
      <c:overlay val="0"/>
      <c:txPr>
        <a:bodyPr/>
        <a:lstStyle/>
        <a:p>
          <a:pPr>
            <a:defRPr>
              <a:solidFill>
                <a:schemeClr val="accent5"/>
              </a:solidFill>
            </a:defRPr>
          </a:pPr>
          <a:endParaRPr lang="en-US"/>
        </a:p>
      </c:txPr>
    </c:legend>
    <c:plotVisOnly val="1"/>
    <c:dispBlanksAs val="gap"/>
    <c:showDLblsOverMax val="0"/>
  </c:chart>
  <c:txPr>
    <a:bodyPr/>
    <a:lstStyle/>
    <a:p>
      <a:pPr>
        <a:defRPr sz="1199"/>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44106252653601E-2"/>
          <c:y val="5.0656501694440102E-2"/>
          <c:w val="0.93815397719982996"/>
          <c:h val="0.71010156629340604"/>
        </c:manualLayout>
      </c:layout>
      <c:doughnutChart>
        <c:varyColors val="1"/>
        <c:ser>
          <c:idx val="0"/>
          <c:order val="0"/>
          <c:tx>
            <c:strRef>
              <c:f>Sheet1!$B$1</c:f>
              <c:strCache>
                <c:ptCount val="1"/>
                <c:pt idx="0">
                  <c:v>Text</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3">
                  <a:lumMod val="60000"/>
                  <a:lumOff val="40000"/>
                </a:schemeClr>
              </a:solidFill>
              <a:ln w="12700">
                <a:solidFill>
                  <a:schemeClr val="bg1"/>
                </a:solidFill>
              </a:ln>
            </c:spPr>
          </c:dPt>
          <c:dPt>
            <c:idx val="4"/>
            <c:bubble3D val="0"/>
            <c:spPr>
              <a:solidFill>
                <a:schemeClr val="accent4">
                  <a:lumMod val="60000"/>
                  <a:lumOff val="40000"/>
                </a:schemeClr>
              </a:solidFill>
              <a:ln w="12700">
                <a:solidFill>
                  <a:schemeClr val="bg1"/>
                </a:solidFill>
              </a:ln>
            </c:spPr>
          </c:dPt>
          <c:dPt>
            <c:idx val="5"/>
            <c:bubble3D val="0"/>
            <c:spPr>
              <a:solidFill>
                <a:schemeClr val="accent4"/>
              </a:solidFill>
              <a:ln w="12700">
                <a:solidFill>
                  <a:schemeClr val="bg1"/>
                </a:solidFill>
              </a:ln>
            </c:spPr>
          </c:dPt>
          <c:dPt>
            <c:idx val="6"/>
            <c:bubble3D val="0"/>
            <c:spPr>
              <a:solidFill>
                <a:schemeClr val="accent6"/>
              </a:solidFill>
              <a:ln w="12700">
                <a:solidFill>
                  <a:schemeClr val="bg1"/>
                </a:solidFill>
              </a:ln>
            </c:spPr>
          </c:dPt>
          <c:dPt>
            <c:idx val="7"/>
            <c:bubble3D val="0"/>
            <c:spPr>
              <a:solidFill>
                <a:schemeClr val="tx2"/>
              </a:solidFill>
              <a:ln w="12700">
                <a:solidFill>
                  <a:schemeClr val="bg1"/>
                </a:solidFill>
              </a:ln>
            </c:spPr>
          </c:dPt>
          <c:dLbls>
            <c:spPr>
              <a:noFill/>
              <a:ln>
                <a:noFill/>
              </a:ln>
              <a:effectLst/>
            </c:spPr>
            <c:txPr>
              <a:bodyPr/>
              <a:lstStyle/>
              <a:p>
                <a:pPr>
                  <a:defRPr sz="14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20</c:v>
                </c:pt>
                <c:pt idx="1">
                  <c:v>25</c:v>
                </c:pt>
                <c:pt idx="2">
                  <c:v>30</c:v>
                </c:pt>
                <c:pt idx="3">
                  <c:v>40</c:v>
                </c:pt>
                <c:pt idx="4">
                  <c:v>50</c:v>
                </c:pt>
                <c:pt idx="5">
                  <c:v>60</c:v>
                </c:pt>
                <c:pt idx="6">
                  <c:v>70</c:v>
                </c:pt>
                <c:pt idx="7">
                  <c:v>80</c:v>
                </c:pt>
              </c:numCache>
            </c:numRef>
          </c:val>
        </c:ser>
        <c:dLbls>
          <c:showLegendKey val="0"/>
          <c:showVal val="0"/>
          <c:showCatName val="0"/>
          <c:showSerName val="0"/>
          <c:showPercent val="1"/>
          <c:showBubbleSize val="0"/>
          <c:showLeaderLines val="1"/>
        </c:dLbls>
        <c:firstSliceAng val="0"/>
        <c:holeSize val="50"/>
      </c:doughnutChart>
    </c:plotArea>
    <c:legend>
      <c:legendPos val="b"/>
      <c:layout>
        <c:manualLayout>
          <c:xMode val="edge"/>
          <c:yMode val="edge"/>
          <c:x val="3.4621524852290898E-2"/>
          <c:y val="0.86828266475868998"/>
          <c:w val="0.90136062969630204"/>
          <c:h val="0.113360290725477"/>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7" name="Datumsplatzhalter 2"/>
          <p:cNvSpPr>
            <a:spLocks noGrp="1"/>
          </p:cNvSpPr>
          <p:nvPr>
            <p:ph type="dt" idx="1"/>
          </p:nvPr>
        </p:nvSpPr>
        <p:spPr bwMode="gray">
          <a:xfrm>
            <a:off x="3729787" y="292100"/>
            <a:ext cx="2952000" cy="216000"/>
          </a:xfrm>
          <a:prstGeom prst="rect">
            <a:avLst/>
          </a:prstGeom>
        </p:spPr>
        <p:txBody>
          <a:bodyPr vert="horz" lIns="0" tIns="0" rIns="0" bIns="0" rtlCol="0" anchor="ctr" anchorCtr="0"/>
          <a:lstStyle>
            <a:lvl1pPr algn="r">
              <a:defRPr sz="800"/>
            </a:lvl1pPr>
          </a:lstStyle>
          <a:p>
            <a:fld id="{FF376558-D17E-478E-B05C-B600CBB90B3A}" type="datetimeFigureOut">
              <a:rPr lang="en-US" smtClean="0"/>
              <a:pPr/>
              <a:t>9/12/2016</a:t>
            </a:fld>
            <a:endParaRPr lang="en-US" dirty="0"/>
          </a:p>
        </p:txBody>
      </p:sp>
      <p:sp>
        <p:nvSpPr>
          <p:cNvPr id="8" name="Fußzeilenplatzhalter 5"/>
          <p:cNvSpPr>
            <a:spLocks noGrp="1"/>
          </p:cNvSpPr>
          <p:nvPr>
            <p:ph type="ftr" sz="quarter" idx="2"/>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9" name="Foliennummernplatzhalter 6"/>
          <p:cNvSpPr>
            <a:spLocks noGrp="1"/>
          </p:cNvSpPr>
          <p:nvPr>
            <p:ph type="sldNum" sz="quarter" idx="3"/>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Tree>
    <p:extLst>
      <p:ext uri="{BB962C8B-B14F-4D97-AF65-F5344CB8AC3E}">
        <p14:creationId xmlns:p14="http://schemas.microsoft.com/office/powerpoint/2010/main" val="757365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777873" y="292101"/>
            <a:ext cx="2952000" cy="216000"/>
          </a:xfrm>
          <a:prstGeom prst="rect">
            <a:avLst/>
          </a:prstGeom>
        </p:spPr>
        <p:txBody>
          <a:bodyPr vert="horz" lIns="0" tIns="0" rIns="0" bIns="0" rtlCol="0" anchor="ctr" anchorCtr="0"/>
          <a:lstStyle>
            <a:lvl1pPr algn="l">
              <a:defRPr sz="800"/>
            </a:lvl1pPr>
          </a:lstStyle>
          <a:p>
            <a:endParaRPr lang="en-US" dirty="0"/>
          </a:p>
        </p:txBody>
      </p:sp>
      <p:sp>
        <p:nvSpPr>
          <p:cNvPr id="4" name="Folienbildplatzhalter 3"/>
          <p:cNvSpPr>
            <a:spLocks noGrp="1" noRot="1" noChangeAspect="1"/>
          </p:cNvSpPr>
          <p:nvPr>
            <p:ph type="sldImg" idx="2"/>
          </p:nvPr>
        </p:nvSpPr>
        <p:spPr bwMode="gray">
          <a:xfrm>
            <a:off x="777873" y="511731"/>
            <a:ext cx="5903914" cy="4428852"/>
          </a:xfrm>
          <a:prstGeom prst="rect">
            <a:avLst/>
          </a:prstGeom>
          <a:noFill/>
          <a:ln w="12700">
            <a:solidFill>
              <a:prstClr val="black"/>
            </a:solidFill>
          </a:ln>
        </p:spPr>
        <p:txBody>
          <a:bodyPr vert="horz" lIns="99048" tIns="49524" rIns="99048" bIns="49524" rtlCol="0" anchor="ctr"/>
          <a:lstStyle/>
          <a:p>
            <a:endParaRPr lang="en-US"/>
          </a:p>
        </p:txBody>
      </p:sp>
      <p:sp>
        <p:nvSpPr>
          <p:cNvPr id="5" name="Notizenplatzhalter 4"/>
          <p:cNvSpPr>
            <a:spLocks noGrp="1"/>
          </p:cNvSpPr>
          <p:nvPr>
            <p:ph type="body" sz="quarter" idx="3"/>
          </p:nvPr>
        </p:nvSpPr>
        <p:spPr bwMode="gray">
          <a:xfrm>
            <a:off x="777874" y="5116513"/>
            <a:ext cx="5903914" cy="4350504"/>
          </a:xfrm>
          <a:prstGeom prst="rect">
            <a:avLst/>
          </a:prstGeom>
        </p:spPr>
        <p:txBody>
          <a:bodyPr vert="horz" lIns="0" tIns="0" rIns="0" bIns="0" rtlCol="0"/>
          <a:lstStyle/>
          <a:p>
            <a:pPr lvl="0"/>
            <a:r>
              <a:rPr lang="en-US" dirty="0" smtClean="0"/>
              <a:t>Textmasterformat bearbeiten</a:t>
            </a:r>
          </a:p>
          <a:p>
            <a:pPr lvl="1"/>
            <a:r>
              <a:rPr lang="en-US" dirty="0" smtClean="0"/>
              <a:t>Zweite Ebene</a:t>
            </a:r>
          </a:p>
          <a:p>
            <a:pPr lvl="2"/>
            <a:r>
              <a:rPr lang="en-US" dirty="0" smtClean="0"/>
              <a:t>Dritte Ebene</a:t>
            </a:r>
          </a:p>
          <a:p>
            <a:pPr lvl="3"/>
            <a:r>
              <a:rPr lang="en-US" dirty="0" smtClean="0"/>
              <a:t>Vierte Ebene</a:t>
            </a:r>
          </a:p>
          <a:p>
            <a:pPr lvl="4"/>
            <a:r>
              <a:rPr lang="en-US" dirty="0" smtClean="0"/>
              <a:t>Fünfte Ebene</a:t>
            </a:r>
          </a:p>
          <a:p>
            <a:pPr lvl="5"/>
            <a:r>
              <a:rPr lang="en-US" dirty="0" smtClean="0"/>
              <a:t>Sechste Ebene</a:t>
            </a:r>
          </a:p>
          <a:p>
            <a:pPr lvl="6"/>
            <a:r>
              <a:rPr lang="en-US" dirty="0" smtClean="0"/>
              <a:t>Siebte Ebene</a:t>
            </a:r>
            <a:endParaRPr lang="en-US" dirty="0"/>
          </a:p>
        </p:txBody>
      </p:sp>
      <p:sp>
        <p:nvSpPr>
          <p:cNvPr id="6" name="Fußzeilenplatzhalter 5"/>
          <p:cNvSpPr>
            <a:spLocks noGrp="1"/>
          </p:cNvSpPr>
          <p:nvPr>
            <p:ph type="ftr" sz="quarter" idx="4"/>
          </p:nvPr>
        </p:nvSpPr>
        <p:spPr bwMode="gray">
          <a:xfrm>
            <a:off x="777873" y="9761537"/>
            <a:ext cx="2952000" cy="216000"/>
          </a:xfrm>
          <a:prstGeom prst="rect">
            <a:avLst/>
          </a:prstGeom>
        </p:spPr>
        <p:txBody>
          <a:bodyPr vert="horz" lIns="99048" tIns="49524" rIns="99048" bIns="49524" rtlCol="0" anchor="ctr" anchorCtr="0"/>
          <a:lstStyle>
            <a:lvl1pPr algn="l">
              <a:defRPr sz="800"/>
            </a:lvl1pPr>
          </a:lstStyle>
          <a:p>
            <a:endParaRPr lang="en-US" dirty="0"/>
          </a:p>
        </p:txBody>
      </p:sp>
      <p:sp>
        <p:nvSpPr>
          <p:cNvPr id="7" name="Foliennummernplatzhalter 6"/>
          <p:cNvSpPr>
            <a:spLocks noGrp="1"/>
          </p:cNvSpPr>
          <p:nvPr>
            <p:ph type="sldNum" sz="quarter" idx="5"/>
          </p:nvPr>
        </p:nvSpPr>
        <p:spPr bwMode="gray">
          <a:xfrm>
            <a:off x="3729787" y="9761537"/>
            <a:ext cx="2952000" cy="216000"/>
          </a:xfrm>
          <a:prstGeom prst="rect">
            <a:avLst/>
          </a:prstGeom>
        </p:spPr>
        <p:txBody>
          <a:bodyPr vert="horz" lIns="0" tIns="0" rIns="0" bIns="0" rtlCol="0" anchor="ctr" anchorCtr="0"/>
          <a:lstStyle>
            <a:lvl1pPr algn="r">
              <a:defRPr sz="800"/>
            </a:lvl1pPr>
          </a:lstStyle>
          <a:p>
            <a:fld id="{78D175BF-D7F5-40CD-844F-A2421065051F}" type="slidenum">
              <a:rPr lang="en-US" smtClean="0"/>
              <a:pPr/>
              <a:t>‹#›</a:t>
            </a:fld>
            <a:endParaRPr lang="en-US" dirty="0"/>
          </a:p>
        </p:txBody>
      </p:sp>
      <p:sp>
        <p:nvSpPr>
          <p:cNvPr id="9" name="Date Placeholder 8"/>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AF1E7161-A58B-45E6-93D8-64B9F908B3F1}" type="datetimeFigureOut">
              <a:rPr lang="en-CA" smtClean="0"/>
              <a:t>12/09/2016</a:t>
            </a:fld>
            <a:endParaRPr lang="en-CA"/>
          </a:p>
        </p:txBody>
      </p:sp>
    </p:spTree>
    <p:extLst>
      <p:ext uri="{BB962C8B-B14F-4D97-AF65-F5344CB8AC3E}">
        <p14:creationId xmlns:p14="http://schemas.microsoft.com/office/powerpoint/2010/main" val="3037685314"/>
      </p:ext>
    </p:extLst>
  </p:cSld>
  <p:clrMap bg1="lt1" tx1="dk1" bg2="lt2" tx2="dk2" accent1="accent1" accent2="accent2" accent3="accent3" accent4="accent4" accent5="accent5" accent6="accent6" hlink="hlink" folHlink="folHlink"/>
  <p:notesStyle>
    <a:lvl1pPr marL="904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1pPr>
    <a:lvl2pPr marL="357188" indent="-90488" algn="l" defTabSz="914400" rtl="0" eaLnBrk="1" latinLnBrk="0" hangingPunct="1">
      <a:spcBef>
        <a:spcPts val="700"/>
      </a:spcBef>
      <a:buClr>
        <a:schemeClr val="tx2"/>
      </a:buClr>
      <a:buSzPct val="70000"/>
      <a:buFont typeface="Wingdings" pitchFamily="2" charset="2"/>
      <a:buChar char="§"/>
      <a:defRPr sz="1000" kern="1200">
        <a:solidFill>
          <a:schemeClr val="tx1"/>
        </a:solidFill>
        <a:latin typeface="+mn-lt"/>
        <a:ea typeface="+mn-ea"/>
        <a:cs typeface="+mn-cs"/>
      </a:defRPr>
    </a:lvl2pPr>
    <a:lvl3pPr marL="628650" indent="-90488" algn="l" defTabSz="914400" rtl="0" eaLnBrk="1" latinLnBrk="0" hangingPunct="1">
      <a:spcBef>
        <a:spcPts val="700"/>
      </a:spcBef>
      <a:buClr>
        <a:schemeClr val="tx2"/>
      </a:buClr>
      <a:buSzPct val="70000"/>
      <a:buFont typeface="Wingdings" pitchFamily="2" charset="2"/>
      <a:buChar char="§"/>
      <a:defRPr sz="900" kern="1200">
        <a:solidFill>
          <a:schemeClr val="tx1"/>
        </a:solidFill>
        <a:latin typeface="+mn-lt"/>
        <a:ea typeface="+mn-ea"/>
        <a:cs typeface="+mn-cs"/>
      </a:defRPr>
    </a:lvl3pPr>
    <a:lvl4pPr marL="0" indent="0" algn="l" defTabSz="914400" rtl="0" eaLnBrk="1" latinLnBrk="0" hangingPunct="1">
      <a:spcBef>
        <a:spcPts val="700"/>
      </a:spcBef>
      <a:buClr>
        <a:schemeClr val="tx2"/>
      </a:buClr>
      <a:buSzPct val="70000"/>
      <a:buFont typeface="Wingdings" pitchFamily="2" charset="2"/>
      <a:buNone/>
      <a:defRPr sz="1000" kern="1200">
        <a:solidFill>
          <a:schemeClr val="tx1"/>
        </a:solidFill>
        <a:latin typeface="+mn-lt"/>
        <a:ea typeface="+mn-ea"/>
        <a:cs typeface="+mn-cs"/>
      </a:defRPr>
    </a:lvl4pPr>
    <a:lvl5pPr marL="0" indent="0" algn="l" defTabSz="914400" rtl="0" eaLnBrk="1" latinLnBrk="0" hangingPunct="1">
      <a:spcBef>
        <a:spcPts val="700"/>
      </a:spcBef>
      <a:buClr>
        <a:schemeClr val="tx2"/>
      </a:buClr>
      <a:buSzPct val="70000"/>
      <a:buFont typeface="Wingdings" pitchFamily="2" charset="2"/>
      <a:buNone/>
      <a:defRPr sz="1000" b="1" kern="1200">
        <a:solidFill>
          <a:schemeClr val="tx1"/>
        </a:solidFill>
        <a:latin typeface="+mn-lt"/>
        <a:ea typeface="+mn-ea"/>
        <a:cs typeface="+mn-cs"/>
      </a:defRPr>
    </a:lvl5pPr>
    <a:lvl6pPr marL="0" indent="0" algn="l" defTabSz="914400" rtl="0" eaLnBrk="1" latinLnBrk="0" hangingPunct="1">
      <a:spcBef>
        <a:spcPts val="700"/>
      </a:spcBef>
      <a:buFont typeface="Arial" pitchFamily="34" charset="0"/>
      <a:buNone/>
      <a:defRPr sz="1000" b="1" kern="1200">
        <a:solidFill>
          <a:schemeClr val="accent1"/>
        </a:solidFill>
        <a:latin typeface="+mn-lt"/>
        <a:ea typeface="+mn-ea"/>
        <a:cs typeface="+mn-cs"/>
      </a:defRPr>
    </a:lvl6pPr>
    <a:lvl7pPr marL="0" indent="0" algn="l" defTabSz="914400" rtl="0" eaLnBrk="1" latinLnBrk="0" hangingPunct="1">
      <a:spcBef>
        <a:spcPts val="700"/>
      </a:spcBef>
      <a:defRPr sz="6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sz="1400" b="1" dirty="0" smtClean="0"/>
              <a:t>Moderator: </a:t>
            </a:r>
            <a:r>
              <a:rPr lang="en-US" sz="1400" dirty="0" smtClean="0"/>
              <a:t> Hello everyone and thank you for joining</a:t>
            </a:r>
            <a:r>
              <a:rPr lang="en-US" sz="1400" baseline="0" dirty="0" smtClean="0"/>
              <a:t> our session, </a:t>
            </a:r>
            <a:r>
              <a:rPr lang="en-US" sz="1400" baseline="0" dirty="0" smtClean="0">
                <a:solidFill>
                  <a:srgbClr val="C00000"/>
                </a:solidFill>
              </a:rPr>
              <a:t>&lt;&lt; Name of presentation &gt;&gt;.</a:t>
            </a:r>
          </a:p>
          <a:p>
            <a:pPr marL="0" indent="0">
              <a:buNone/>
            </a:pPr>
            <a:endParaRPr lang="en-US" sz="1400" baseline="0" dirty="0" smtClean="0"/>
          </a:p>
          <a:p>
            <a:pPr marL="0" indent="0">
              <a:buNone/>
            </a:pPr>
            <a:r>
              <a:rPr lang="en-US" sz="1400" baseline="0" dirty="0" smtClean="0"/>
              <a:t>My name is &lt;&lt;First and Last name &gt;&gt; and I am today’s moderator.</a:t>
            </a:r>
          </a:p>
          <a:p>
            <a:pPr marL="0" indent="0">
              <a:buNone/>
            </a:pPr>
            <a:endParaRPr lang="en-US" sz="1400" baseline="0" dirty="0" smtClean="0"/>
          </a:p>
          <a:p>
            <a:pPr marL="0" indent="0">
              <a:buNone/>
            </a:pPr>
            <a:r>
              <a:rPr lang="en-US" sz="1400" baseline="0" dirty="0" smtClean="0"/>
              <a:t>Before we begin, let’s take a quick tour of the webcast console.   </a:t>
            </a:r>
          </a:p>
          <a:p>
            <a:pPr marL="0" indent="0">
              <a:buNone/>
            </a:pPr>
            <a:endParaRPr lang="en-US" sz="1400" baseline="0" dirty="0" smtClean="0"/>
          </a:p>
          <a:p>
            <a:pPr marL="0" indent="0">
              <a:buNone/>
            </a:pPr>
            <a:r>
              <a:rPr lang="en-US" sz="1400" baseline="0" dirty="0" smtClean="0"/>
              <a:t>If you are experiencing any system issues, click the question mark icon located at the top right corner of your screen. </a:t>
            </a:r>
          </a:p>
          <a:p>
            <a:pPr marL="0" indent="0">
              <a:buNone/>
            </a:pPr>
            <a:r>
              <a:rPr lang="en-US" sz="1400" baseline="0" dirty="0" smtClean="0"/>
              <a:t>It will open a new tab in your browser with a menu of help options.  To return  to the main console, “x” out of the help browser tab.</a:t>
            </a:r>
          </a:p>
          <a:p>
            <a:pPr marL="0" indent="0">
              <a:buNone/>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To the left of the slides you’ll see three sections:  Talk to an ABB Expert.    Ask a Question.  And Event Resource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During the presentation, I suggest opening Ask a Question.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You can submit questions at any time by entering them here.  Our speakers will address as many as possible at the end of their prepared remarks. If you are watching this on demand, you can still submit questions and they will be responded to via email. </a:t>
            </a:r>
          </a:p>
          <a:p>
            <a:pPr marL="0" indent="0">
              <a:buNone/>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Along the top of the presentation slides, you have three more tabs: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Slides. Speaker Bio’s. and About AP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By default, “Slides” is already selected.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You can increase the slide viewing area by clicking on the double arrow at the top right of the slide windo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Clicking on it again will bring you back to the main console view.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sz="1400"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sz="1400" baseline="0" dirty="0" smtClean="0"/>
              <a:t>Lastly, you will receive an attendance certificate by email at the end of the webcast after you submit our short 4 question post-session survey. If you cannot stay for the entire duration of the webcast you still may be eligible to receive your attendance certificate. If you must leave early, make sure you exit the webcast console by clicking the X at the top right of the screen. If you exit any other way you will not be served the post-session survey and we will not be able to issue you an attendance certificate.</a:t>
            </a:r>
          </a:p>
          <a:p>
            <a:pPr marL="0" indent="0" defTabSz="908365">
              <a:spcBef>
                <a:spcPts val="695"/>
              </a:spcBef>
              <a:buNone/>
              <a:defRPr/>
            </a:pPr>
            <a:endParaRPr lang="en-US" sz="1400" baseline="0" dirty="0" smtClean="0"/>
          </a:p>
        </p:txBody>
      </p:sp>
      <p:sp>
        <p:nvSpPr>
          <p:cNvPr id="4" name="Slide Number Placeholder 3"/>
          <p:cNvSpPr>
            <a:spLocks noGrp="1"/>
          </p:cNvSpPr>
          <p:nvPr>
            <p:ph type="sldNum" sz="quarter" idx="10"/>
          </p:nvPr>
        </p:nvSpPr>
        <p:spPr/>
        <p:txBody>
          <a:bodyPr/>
          <a:lstStyle/>
          <a:p>
            <a:fld id="{78D175BF-D7F5-40CD-844F-A2421065051F}" type="slidenum">
              <a:rPr lang="en-US" smtClean="0"/>
              <a:pPr/>
              <a:t>1</a:t>
            </a:fld>
            <a:endParaRPr lang="en-US" dirty="0"/>
          </a:p>
        </p:txBody>
      </p:sp>
    </p:spTree>
    <p:extLst>
      <p:ext uri="{BB962C8B-B14F-4D97-AF65-F5344CB8AC3E}">
        <p14:creationId xmlns:p14="http://schemas.microsoft.com/office/powerpoint/2010/main" val="3957881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dirty="0" smtClean="0"/>
              <a:t>Your presenters today include &lt;&lt; name and title or summary statement about each presenter &gt;&gt;</a:t>
            </a:r>
          </a:p>
          <a:p>
            <a:pPr marL="0" indent="0">
              <a:buNone/>
            </a:pPr>
            <a:endParaRPr lang="en-US" dirty="0" smtClean="0"/>
          </a:p>
          <a:p>
            <a:pPr marL="0" indent="0">
              <a:buNone/>
            </a:pPr>
            <a:r>
              <a:rPr lang="en-US" dirty="0" smtClean="0"/>
              <a:t>Now I will</a:t>
            </a:r>
            <a:r>
              <a:rPr lang="en-US" baseline="0" dirty="0" smtClean="0"/>
              <a:t> </a:t>
            </a:r>
            <a:r>
              <a:rPr lang="en-US" dirty="0" smtClean="0"/>
              <a:t>turn it over to our first presenter, &lt;&lt; name &gt;&gt;</a:t>
            </a:r>
          </a:p>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2</a:t>
            </a:fld>
            <a:endParaRPr lang="en-US" dirty="0"/>
          </a:p>
        </p:txBody>
      </p:sp>
    </p:spTree>
    <p:extLst>
      <p:ext uri="{BB962C8B-B14F-4D97-AF65-F5344CB8AC3E}">
        <p14:creationId xmlns:p14="http://schemas.microsoft.com/office/powerpoint/2010/main" val="2480200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3</a:t>
            </a:fld>
            <a:endParaRPr lang="en-US" dirty="0"/>
          </a:p>
        </p:txBody>
      </p:sp>
    </p:spTree>
    <p:extLst>
      <p:ext uri="{BB962C8B-B14F-4D97-AF65-F5344CB8AC3E}">
        <p14:creationId xmlns:p14="http://schemas.microsoft.com/office/powerpoint/2010/main" val="2476586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indent="0">
              <a:buNone/>
            </a:pPr>
            <a:r>
              <a:rPr lang="en-US" b="1" dirty="0" smtClean="0"/>
              <a:t>Moderator:</a:t>
            </a:r>
            <a:r>
              <a:rPr lang="en-US" dirty="0" smtClean="0"/>
              <a:t>  Thank you &lt;&lt;</a:t>
            </a:r>
            <a:r>
              <a:rPr lang="en-US" baseline="0" dirty="0" smtClean="0"/>
              <a:t> </a:t>
            </a:r>
            <a:r>
              <a:rPr lang="en-US" dirty="0" smtClean="0"/>
              <a:t>name of last speaker &gt;&gt;). </a:t>
            </a:r>
          </a:p>
          <a:p>
            <a:pPr marL="0" indent="0">
              <a:buNone/>
            </a:pPr>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This concludes the presentation portion of our webcast. </a:t>
            </a:r>
            <a:r>
              <a:rPr lang="en-US" sz="1000" kern="1200" baseline="0" dirty="0" smtClean="0">
                <a:solidFill>
                  <a:schemeClr val="tx1"/>
                </a:solidFill>
                <a:effectLst/>
                <a:latin typeface="Arial" charset="0"/>
                <a:ea typeface="+mn-ea"/>
                <a:cs typeface="Arial" charset="0"/>
              </a:rPr>
              <a:t> You can download a PDF of these slides and other relevant content in Event Resources.</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baseline="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baseline="0" dirty="0" smtClean="0">
                <a:solidFill>
                  <a:schemeClr val="tx1"/>
                </a:solidFill>
                <a:effectLst/>
                <a:latin typeface="Arial" charset="0"/>
                <a:ea typeface="+mn-ea"/>
                <a:cs typeface="Arial" charset="0"/>
              </a:rPr>
              <a:t>While our speakers are reviewing the questions you’ve submitted, I’d like to remind you that in order to receive your attendance certificate you will need to fill out the short post-session survey that will be pushed to you after the Q&amp;A session. If you need to leave early, make sure you close the webcast console by clicking the “x” in the top right corner of the console. If you close the console any other way, the post-session survey will NOT be pushed to you and you will NOT receive your attendance certificate.</a:t>
            </a: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5</a:t>
            </a:fld>
            <a:endParaRPr lang="en-US" dirty="0"/>
          </a:p>
        </p:txBody>
      </p:sp>
    </p:spTree>
    <p:extLst>
      <p:ext uri="{BB962C8B-B14F-4D97-AF65-F5344CB8AC3E}">
        <p14:creationId xmlns:p14="http://schemas.microsoft.com/office/powerpoint/2010/main" val="881026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b="1" kern="1200" dirty="0" smtClean="0">
              <a:solidFill>
                <a:schemeClr val="tx1"/>
              </a:solidFill>
              <a:effectLst/>
              <a:latin typeface="Arial" charset="0"/>
              <a:ea typeface="+mn-ea"/>
              <a:cs typeface="Arial" charset="0"/>
            </a:endParaRPr>
          </a:p>
          <a:p>
            <a:pPr marL="0" marR="0" lvl="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rgbClr val="C00000"/>
                </a:solidFill>
                <a:effectLst/>
                <a:latin typeface="Arial" charset="0"/>
                <a:ea typeface="+mn-ea"/>
                <a:cs typeface="Arial" charset="0"/>
              </a:rPr>
              <a:t>(</a:t>
            </a:r>
            <a:r>
              <a:rPr lang="en-US" sz="1000" b="1" i="1" kern="1200" dirty="0" smtClean="0">
                <a:solidFill>
                  <a:srgbClr val="C00000"/>
                </a:solidFill>
                <a:effectLst/>
                <a:latin typeface="Arial" charset="0"/>
                <a:ea typeface="+mn-ea"/>
                <a:cs typeface="Arial" charset="0"/>
              </a:rPr>
              <a:t>IF YOU HAVE TIME FOR Q&amp;A </a:t>
            </a:r>
            <a:r>
              <a:rPr lang="en-US" sz="1000" b="1" kern="1200" dirty="0" smtClean="0">
                <a:solidFill>
                  <a:srgbClr val="C00000"/>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b="1"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Moderator:  </a:t>
            </a:r>
            <a:r>
              <a:rPr lang="en-US" sz="1000" b="0" kern="1200" baseline="0" dirty="0" smtClean="0">
                <a:solidFill>
                  <a:schemeClr val="tx1"/>
                </a:solidFill>
                <a:effectLst/>
                <a:latin typeface="Arial" charset="0"/>
                <a:ea typeface="+mn-ea"/>
                <a:cs typeface="Arial" charset="0"/>
              </a:rPr>
              <a:t>Now let’s spend a </a:t>
            </a:r>
            <a:r>
              <a:rPr lang="en-US" sz="1000" kern="1200" dirty="0" smtClean="0">
                <a:solidFill>
                  <a:schemeClr val="tx1"/>
                </a:solidFill>
                <a:effectLst/>
                <a:latin typeface="Arial" charset="0"/>
                <a:ea typeface="+mn-ea"/>
                <a:cs typeface="Arial" charset="0"/>
              </a:rPr>
              <a:t>few minutes answering some of the questions we received during</a:t>
            </a:r>
            <a:r>
              <a:rPr lang="en-US" sz="1000" kern="1200" baseline="0" dirty="0" smtClean="0">
                <a:solidFill>
                  <a:schemeClr val="tx1"/>
                </a:solidFill>
                <a:effectLst/>
                <a:latin typeface="Arial" charset="0"/>
                <a:ea typeface="+mn-ea"/>
                <a:cs typeface="Arial" charset="0"/>
              </a:rPr>
              <a:t> our session. I</a:t>
            </a:r>
            <a:r>
              <a:rPr lang="en-US" sz="1000" kern="1200" dirty="0" smtClean="0">
                <a:solidFill>
                  <a:schemeClr val="tx1"/>
                </a:solidFill>
                <a:effectLst/>
                <a:latin typeface="Arial" charset="0"/>
                <a:ea typeface="+mn-ea"/>
                <a:cs typeface="Arial" charset="0"/>
              </a:rPr>
              <a:t>f you’d like to ask a question, you can still enter it into the Ask a Question section. </a:t>
            </a:r>
            <a:r>
              <a:rPr lang="en-US" dirty="0" smtClean="0"/>
              <a:t>We will answer as many as we have time for but need to stop promptly at five minutes before the top of the hour. </a:t>
            </a:r>
            <a:r>
              <a:rPr lang="en-US" baseline="0" dirty="0" smtClean="0"/>
              <a:t>If you are watching a recording of today’s webcast, you can still submit questions here and they will be answered via email.</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i="1" baseline="0" dirty="0" smtClean="0"/>
              <a:t>(Q&amp;A SESSION)</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endParaRPr lang="en-US"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a:t>
            </a:r>
            <a:r>
              <a:rPr lang="en-US" i="1" baseline="0" dirty="0" smtClean="0"/>
              <a:t>AFTER Q&amp;A</a:t>
            </a:r>
            <a:r>
              <a:rPr lang="en-US" baseline="0" dirty="0" smtClean="0"/>
              <a:t>) </a:t>
            </a:r>
          </a:p>
          <a:p>
            <a:pPr marL="0" marR="0" indent="0" algn="l" defTabSz="914400" rtl="0" eaLnBrk="0" fontAlgn="base" latinLnBrk="0" hangingPunct="0">
              <a:lnSpc>
                <a:spcPct val="110000"/>
              </a:lnSpc>
              <a:spcBef>
                <a:spcPct val="50000"/>
              </a:spcBef>
              <a:spcAft>
                <a:spcPct val="0"/>
              </a:spcAft>
              <a:buClrTx/>
              <a:buSzTx/>
              <a:buFontTx/>
              <a:buNone/>
              <a:tabLst/>
              <a:defRPr/>
            </a:pPr>
            <a:r>
              <a:rPr lang="en-US" baseline="0" dirty="0" smtClean="0"/>
              <a:t>Looks like that’s all the time we have today. Everyone who joined our session live will receive an email in the next couple of weeks with a summary of all the Q&amp;A sessions from all nine of today’s webcasts.  If your question wasn’t covered live, it will be addressed here.</a:t>
            </a:r>
          </a:p>
          <a:p>
            <a:pPr marL="0" indent="0">
              <a:buNone/>
            </a:pPr>
            <a:endParaRPr lang="en-US" b="1" dirty="0" smtClean="0"/>
          </a:p>
          <a:p>
            <a:pPr marL="0" indent="0">
              <a:buNone/>
            </a:pPr>
            <a:endParaRPr lang="en-US" b="1" dirty="0" smtClean="0"/>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b="1" kern="1200" dirty="0" smtClean="0">
                <a:solidFill>
                  <a:schemeClr val="tx1"/>
                </a:solidFill>
                <a:effectLst/>
                <a:latin typeface="Arial" charset="0"/>
                <a:ea typeface="+mn-ea"/>
                <a:cs typeface="Arial" charset="0"/>
              </a:rPr>
              <a:t>(</a:t>
            </a:r>
            <a:r>
              <a:rPr lang="en-US" sz="1000" b="1" i="1" kern="1200" dirty="0" smtClean="0">
                <a:solidFill>
                  <a:schemeClr val="tx1"/>
                </a:solidFill>
                <a:effectLst/>
                <a:latin typeface="Arial" charset="0"/>
                <a:ea typeface="+mn-ea"/>
                <a:cs typeface="Arial" charset="0"/>
              </a:rPr>
              <a:t>NO TIME FOR Q&amp;A </a:t>
            </a:r>
            <a:r>
              <a:rPr lang="en-US" sz="1000" b="1" kern="1200" dirty="0" smtClean="0">
                <a:solidFill>
                  <a:schemeClr val="tx1"/>
                </a:solidFill>
                <a:effectLst/>
                <a:latin typeface="Arial" charset="0"/>
                <a:ea typeface="+mn-ea"/>
                <a:cs typeface="Arial" charset="0"/>
              </a:rPr>
              <a:t>)</a:t>
            </a:r>
          </a:p>
          <a:p>
            <a:pPr marL="0" marR="0" indent="0" algn="l" defTabSz="914400" rtl="0" eaLnBrk="0" fontAlgn="base" latinLnBrk="0" hangingPunct="0">
              <a:lnSpc>
                <a:spcPct val="110000"/>
              </a:lnSpc>
              <a:spcBef>
                <a:spcPct val="50000"/>
              </a:spcBef>
              <a:spcAft>
                <a:spcPct val="0"/>
              </a:spcAft>
              <a:buClrTx/>
              <a:buSzTx/>
              <a:buFontTx/>
              <a:buNone/>
              <a:tabLst/>
              <a:defRPr/>
            </a:pPr>
            <a:r>
              <a:rPr lang="en-US" sz="1000" kern="1200" dirty="0" smtClean="0">
                <a:solidFill>
                  <a:schemeClr val="tx1"/>
                </a:solidFill>
                <a:effectLst/>
                <a:latin typeface="Arial" charset="0"/>
                <a:ea typeface="+mn-ea"/>
                <a:cs typeface="Arial" charset="0"/>
              </a:rPr>
              <a:t>I’m afraid we don’t have time for Q&amp;A.  If you submitted a question during our live webcast, it</a:t>
            </a:r>
            <a:r>
              <a:rPr lang="en-US" sz="1000" kern="1200" baseline="0" dirty="0" smtClean="0">
                <a:solidFill>
                  <a:schemeClr val="tx1"/>
                </a:solidFill>
                <a:effectLst/>
                <a:latin typeface="Arial" charset="0"/>
                <a:ea typeface="+mn-ea"/>
                <a:cs typeface="Arial" charset="0"/>
              </a:rPr>
              <a:t> will be answered in a follow up email in the next couple of weeks, along with a summary of Q&amp;A from all nine of today’s webcast’s.</a:t>
            </a:r>
            <a:endParaRPr lang="en-US" sz="1000"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sz="1000" kern="1200" dirty="0" smtClean="0">
              <a:solidFill>
                <a:schemeClr val="tx1"/>
              </a:solidFill>
              <a:effectLst/>
              <a:latin typeface="Arial" charset="0"/>
              <a:ea typeface="+mn-ea"/>
              <a:cs typeface="Arial" charset="0"/>
            </a:endParaRPr>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pPr marL="0" marR="0" indent="0" algn="l" defTabSz="914400" rtl="0" eaLnBrk="0" fontAlgn="base" latinLnBrk="0" hangingPunct="0">
              <a:lnSpc>
                <a:spcPct val="110000"/>
              </a:lnSpc>
              <a:spcBef>
                <a:spcPct val="50000"/>
              </a:spcBef>
              <a:spcAft>
                <a:spcPct val="0"/>
              </a:spcAft>
              <a:buClrTx/>
              <a:buSzTx/>
              <a:buFontTx/>
              <a:buNone/>
              <a:tabLst/>
              <a:defRP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6</a:t>
            </a:fld>
            <a:endParaRPr lang="en-US" dirty="0"/>
          </a:p>
        </p:txBody>
      </p:sp>
    </p:spTree>
    <p:extLst>
      <p:ext uri="{BB962C8B-B14F-4D97-AF65-F5344CB8AC3E}">
        <p14:creationId xmlns:p14="http://schemas.microsoft.com/office/powerpoint/2010/main" val="3115241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11175"/>
            <a:ext cx="5903913" cy="44291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dirty="0" smtClean="0"/>
              <a:t>Thank you for your Joining us today.  Don’t forget to mark your calendar for APW 2017.</a:t>
            </a:r>
            <a:r>
              <a:rPr lang="en-US" baseline="0" dirty="0" smtClean="0"/>
              <a:t>  Held every other year, APW is ABB’[s largest educational experience in North America. </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baseline="0" dirty="0" smtClean="0"/>
              <a:t>You’ll see the latest technologies, participate in technical workshops, meet industry experts and more at this must-attend event. Registration is free. We hope to see you there.</a:t>
            </a:r>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endParaRPr lang="en-US" baseline="0" dirty="0" smtClean="0"/>
          </a:p>
          <a:p>
            <a:pPr marL="0" marR="0" lvl="0" indent="0" algn="l" defTabSz="914400" rtl="0" eaLnBrk="1" fontAlgn="auto" latinLnBrk="0" hangingPunct="1">
              <a:lnSpc>
                <a:spcPct val="100000"/>
              </a:lnSpc>
              <a:spcBef>
                <a:spcPts val="700"/>
              </a:spcBef>
              <a:spcAft>
                <a:spcPts val="0"/>
              </a:spcAft>
              <a:buClr>
                <a:schemeClr val="tx2"/>
              </a:buClr>
              <a:buSzPct val="70000"/>
              <a:buFont typeface="Wingdings" pitchFamily="2" charset="2"/>
              <a:buNone/>
              <a:tabLst/>
              <a:defRPr/>
            </a:pPr>
            <a:r>
              <a:rPr lang="en-US" dirty="0" smtClean="0"/>
              <a:t> </a:t>
            </a:r>
            <a:endParaRPr lang="en-US" dirty="0"/>
          </a:p>
        </p:txBody>
      </p:sp>
      <p:sp>
        <p:nvSpPr>
          <p:cNvPr id="4" name="Slide Number Placeholder 3"/>
          <p:cNvSpPr>
            <a:spLocks noGrp="1"/>
          </p:cNvSpPr>
          <p:nvPr>
            <p:ph type="sldNum" sz="quarter" idx="10"/>
          </p:nvPr>
        </p:nvSpPr>
        <p:spPr/>
        <p:txBody>
          <a:bodyPr/>
          <a:lstStyle/>
          <a:p>
            <a:fld id="{78D175BF-D7F5-40CD-844F-A2421065051F}" type="slidenum">
              <a:rPr lang="en-US" smtClean="0"/>
              <a:pPr/>
              <a:t>7</a:t>
            </a:fld>
            <a:endParaRPr lang="en-US" dirty="0"/>
          </a:p>
        </p:txBody>
      </p:sp>
    </p:spTree>
    <p:extLst>
      <p:ext uri="{BB962C8B-B14F-4D97-AF65-F5344CB8AC3E}">
        <p14:creationId xmlns:p14="http://schemas.microsoft.com/office/powerpoint/2010/main" val="296558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Folienbildplatzhalter 1"/>
          <p:cNvSpPr>
            <a:spLocks noGrp="1" noRot="1" noChangeAspect="1"/>
          </p:cNvSpPr>
          <p:nvPr>
            <p:ph type="sldImg"/>
          </p:nvPr>
        </p:nvSpPr>
        <p:spPr bwMode="auto">
          <a:xfrm>
            <a:off x="792163" y="508000"/>
            <a:ext cx="5888037" cy="4418013"/>
          </a:xfrm>
          <a:noFill/>
          <a:ln>
            <a:solidFill>
              <a:srgbClr val="000000"/>
            </a:solidFill>
            <a:miter lim="800000"/>
            <a:headEnd/>
            <a:tailEnd/>
          </a:ln>
        </p:spPr>
      </p:sp>
      <p:sp>
        <p:nvSpPr>
          <p:cNvPr id="215042" name="Notizenplatzhalt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US" baseline="0" dirty="0" smtClean="0"/>
              <a:t>When you click on the “x” at the top right hand part of the screen to exit today’s session, you will be presented with a very brief </a:t>
            </a:r>
            <a:r>
              <a:rPr lang="en-US" baseline="0" smtClean="0"/>
              <a:t>survey. Please </a:t>
            </a:r>
            <a:r>
              <a:rPr lang="en-US" baseline="0" dirty="0" smtClean="0"/>
              <a:t>take a few moments to let us know how we did. </a:t>
            </a:r>
            <a:r>
              <a:rPr lang="en-GB" dirty="0" smtClean="0"/>
              <a:t>Have a great day.</a:t>
            </a:r>
          </a:p>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endParaRPr lang="en-GB" dirty="0" smtClean="0"/>
          </a:p>
          <a:p>
            <a:pPr marL="0" marR="0" lvl="0" indent="0" algn="l" defTabSz="914400" rtl="0" eaLnBrk="1" fontAlgn="auto" latinLnBrk="0" hangingPunct="1">
              <a:lnSpc>
                <a:spcPct val="100000"/>
              </a:lnSpc>
              <a:spcBef>
                <a:spcPct val="0"/>
              </a:spcBef>
              <a:spcAft>
                <a:spcPts val="0"/>
              </a:spcAft>
              <a:buClr>
                <a:schemeClr val="tx2"/>
              </a:buClr>
              <a:buSzPct val="70000"/>
              <a:buFont typeface="Wingdings" pitchFamily="2" charset="2"/>
              <a:buNone/>
              <a:tabLst/>
              <a:defRPr/>
            </a:pPr>
            <a:r>
              <a:rPr lang="en-GB" dirty="0" smtClean="0"/>
              <a:t>Thank you.</a:t>
            </a:r>
          </a:p>
          <a:p>
            <a:pPr>
              <a:spcBef>
                <a:spcPct val="0"/>
              </a:spcBef>
            </a:pPr>
            <a:endParaRPr lang="de-DE" dirty="0" smtClean="0">
              <a:latin typeface="Arial" charset="0"/>
              <a:cs typeface="Arial" charset="0"/>
            </a:endParaRPr>
          </a:p>
        </p:txBody>
      </p:sp>
      <p:sp>
        <p:nvSpPr>
          <p:cNvPr id="215043"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81C5472-83C8-417D-AAF9-ACBE019A9F80}" type="slidenum">
              <a:rPr lang="de-DE">
                <a:latin typeface="Arial" charset="0"/>
                <a:cs typeface="Arial" charset="0"/>
              </a:rPr>
              <a:pPr fontAlgn="base">
                <a:spcBef>
                  <a:spcPct val="0"/>
                </a:spcBef>
                <a:spcAft>
                  <a:spcPct val="0"/>
                </a:spcAft>
              </a:pPr>
              <a:t>8</a:t>
            </a:fld>
            <a:endParaRPr lang="de-DE">
              <a:latin typeface="Arial" charset="0"/>
              <a:cs typeface="Arial" charset="0"/>
            </a:endParaRPr>
          </a:p>
        </p:txBody>
      </p:sp>
    </p:spTree>
    <p:extLst>
      <p:ext uri="{BB962C8B-B14F-4D97-AF65-F5344CB8AC3E}">
        <p14:creationId xmlns:p14="http://schemas.microsoft.com/office/powerpoint/2010/main" val="239618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3"/>
          <a:srcRect/>
          <a:stretch>
            <a:fillRect/>
          </a:stretch>
        </p:blipFill>
        <p:spPr bwMode="gray">
          <a:xfrm>
            <a:off x="214313" y="225425"/>
            <a:ext cx="8713787" cy="3602038"/>
          </a:xfrm>
          <a:prstGeom prst="rect">
            <a:avLst/>
          </a:prstGeom>
          <a:noFill/>
          <a:ln w="9525">
            <a:noFill/>
            <a:miter lim="800000"/>
            <a:headEnd/>
            <a:tailEnd/>
          </a:ln>
        </p:spPr>
      </p:pic>
      <p:sp>
        <p:nvSpPr>
          <p:cNvPr id="10" name="Date Placeholder 9"/>
          <p:cNvSpPr>
            <a:spLocks noGrp="1"/>
          </p:cNvSpPr>
          <p:nvPr>
            <p:ph type="dt" sz="half" idx="10"/>
          </p:nvPr>
        </p:nvSpPr>
        <p:spPr/>
        <p:txBody>
          <a:bodyPr/>
          <a:lstStyle>
            <a:lvl1pPr>
              <a:defRPr/>
            </a:lvl1pPr>
          </a:lstStyle>
          <a:p>
            <a:r>
              <a:rPr lang="de-DE" dirty="0" err="1" smtClean="0"/>
              <a:t>January</a:t>
            </a:r>
            <a:r>
              <a:rPr lang="de-DE" dirty="0" smtClean="0"/>
              <a:t> 2014</a:t>
            </a:r>
            <a:endParaRPr lang="en-US" dirty="0"/>
          </a:p>
        </p:txBody>
      </p:sp>
    </p:spTree>
    <p:extLst>
      <p:ext uri="{BB962C8B-B14F-4D97-AF65-F5344CB8AC3E}">
        <p14:creationId xmlns:p14="http://schemas.microsoft.com/office/powerpoint/2010/main" val="2178149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53777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74616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97966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60889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506032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799804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403961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Bildplatzhalter 2"/>
          <p:cNvSpPr>
            <a:spLocks noGrp="1"/>
          </p:cNvSpPr>
          <p:nvPr>
            <p:ph type="pic" sz="quarter" idx="13" hasCustomPrompt="1"/>
          </p:nvPr>
        </p:nvSpPr>
        <p:spPr bwMode="gray">
          <a:xfrm>
            <a:off x="1043608" y="1604520"/>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5" name="Bildplatzhalter 2"/>
          <p:cNvSpPr>
            <a:spLocks noGrp="1"/>
          </p:cNvSpPr>
          <p:nvPr>
            <p:ph type="pic" sz="quarter" idx="14" hasCustomPrompt="1"/>
          </p:nvPr>
        </p:nvSpPr>
        <p:spPr bwMode="gray">
          <a:xfrm>
            <a:off x="1043608" y="3593658"/>
            <a:ext cx="1629364" cy="1836738"/>
          </a:xfrm>
          <a:solidFill>
            <a:schemeClr val="bg1">
              <a:lumMod val="85000"/>
            </a:schemeClr>
          </a:solidFill>
        </p:spPr>
        <p:txBody>
          <a:bodyPr/>
          <a:lstStyle>
            <a:lvl1pPr marL="0" indent="0">
              <a:buNone/>
              <a:defRPr/>
            </a:lvl1pPr>
          </a:lstStyle>
          <a:p>
            <a:r>
              <a:rPr lang="en-US" dirty="0" smtClean="0"/>
              <a:t> </a:t>
            </a:r>
            <a:endParaRPr lang="en-US" dirty="0"/>
          </a:p>
        </p:txBody>
      </p:sp>
      <p:sp>
        <p:nvSpPr>
          <p:cNvPr id="6" name="Textplatzhalter 4"/>
          <p:cNvSpPr>
            <a:spLocks noGrp="1"/>
          </p:cNvSpPr>
          <p:nvPr>
            <p:ph type="body" sz="quarter" idx="15" hasCustomPrompt="1"/>
          </p:nvPr>
        </p:nvSpPr>
        <p:spPr bwMode="gray">
          <a:xfrm>
            <a:off x="2879812" y="1604520"/>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7" name="Textplatzhalter 4"/>
          <p:cNvSpPr>
            <a:spLocks noGrp="1"/>
          </p:cNvSpPr>
          <p:nvPr>
            <p:ph type="body" sz="quarter" idx="16" hasCustomPrompt="1"/>
          </p:nvPr>
        </p:nvSpPr>
        <p:spPr bwMode="gray">
          <a:xfrm>
            <a:off x="2879812" y="3605915"/>
            <a:ext cx="5256584" cy="1836738"/>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Tree>
    <p:extLst>
      <p:ext uri="{BB962C8B-B14F-4D97-AF65-F5344CB8AC3E}">
        <p14:creationId xmlns:p14="http://schemas.microsoft.com/office/powerpoint/2010/main" val="490671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780931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51504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5"/>
          <p:cNvSpPr>
            <a:spLocks noGrp="1"/>
          </p:cNvSpPr>
          <p:nvPr>
            <p:ph type="dt" sz="half" idx="11"/>
          </p:nvPr>
        </p:nvSpPr>
        <p:spPr/>
        <p:txBody>
          <a:bodyPr/>
          <a:lstStyle/>
          <a:p>
            <a:r>
              <a:rPr lang="de-DE" smtClean="0"/>
              <a:t>Month DD, YYYY</a:t>
            </a:r>
            <a:endParaRPr lang="en-US" dirty="0"/>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l="26865" t="42683" r="24619" b="31268"/>
          <a:stretch>
            <a:fillRect/>
          </a:stretch>
        </p:blipFill>
        <p:spPr bwMode="auto">
          <a:xfrm>
            <a:off x="2051720" y="224644"/>
            <a:ext cx="4824536" cy="36643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5761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317979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183570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7251" y="225425"/>
            <a:ext cx="8707908" cy="359886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23777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10208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607999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194676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56448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95925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638931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988660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923119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49807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15045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6147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402075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496505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3209439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1361457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332949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4760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117120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33280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810336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24522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4313" y="227587"/>
            <a:ext cx="8713787" cy="359771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093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878435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40779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568252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341403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3969235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86853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048102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63956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869899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70789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703046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870985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396753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1188788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851281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1255142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1192075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108098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496727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413329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340275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Standard)">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Date Placeholder 9"/>
          <p:cNvSpPr>
            <a:spLocks noGrp="1"/>
          </p:cNvSpPr>
          <p:nvPr>
            <p:ph type="dt" sz="half" idx="10"/>
          </p:nvPr>
        </p:nvSpPr>
        <p:spPr/>
        <p:txBody>
          <a:bodyPr/>
          <a:lstStyle/>
          <a:p>
            <a:r>
              <a:rPr lang="de-DE" smtClean="0"/>
              <a:t>Month DD, YYYY</a:t>
            </a:r>
            <a:endParaRPr lang="en-US" dirty="0"/>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15927" y="225425"/>
            <a:ext cx="8712143" cy="359886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3076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396875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6" name="Date Placeholder 5"/>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006010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sp>
        <p:nvSpPr>
          <p:cNvPr id="3" name="Untertitel 2"/>
          <p:cNvSpPr>
            <a:spLocks noGrp="1"/>
          </p:cNvSpPr>
          <p:nvPr>
            <p:ph type="subTitle" idx="1" hasCustomPrompt="1"/>
          </p:nvPr>
        </p:nvSpPr>
        <p:spPr bwMode="gray">
          <a:xfrm>
            <a:off x="215900" y="5256000"/>
            <a:ext cx="8712199" cy="216000"/>
          </a:xfrm>
        </p:spPr>
        <p:txBody>
          <a:bodyPr lIns="144000" tIns="0" rIns="0" bIns="0">
            <a:noAutofit/>
          </a:bodyPr>
          <a:lstStyle>
            <a:lvl1pPr marL="0" indent="0" algn="l">
              <a:buNone/>
              <a:defRPr sz="12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5"/>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994199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4185084"/>
            <a:ext cx="8712200" cy="1997993"/>
          </a:xfrm>
        </p:spPr>
        <p:txBody>
          <a:bodyPr lIns="144000" tIns="0" rIns="0" anchor="t" anchorCtr="0">
            <a:noAutofit/>
          </a:bodyPr>
          <a:lstStyle>
            <a:lvl1pPr>
              <a:defRPr sz="40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Bildplatzhalter 9"/>
          <p:cNvSpPr>
            <a:spLocks noGrp="1"/>
          </p:cNvSpPr>
          <p:nvPr>
            <p:ph type="pic" sz="quarter" idx="10"/>
          </p:nvPr>
        </p:nvSpPr>
        <p:spPr bwMode="gray">
          <a:xfrm>
            <a:off x="215900" y="225425"/>
            <a:ext cx="8712200" cy="3598863"/>
          </a:xfrm>
          <a:ln>
            <a:noFill/>
          </a:ln>
        </p:spPr>
        <p:txBody>
          <a:bodyPr>
            <a:noAutofit/>
          </a:bodyPr>
          <a:lstStyle/>
          <a:p>
            <a:endParaRPr lang="en-US"/>
          </a:p>
        </p:txBody>
      </p:sp>
      <p:sp>
        <p:nvSpPr>
          <p:cNvPr id="3" name="Date Placeholder 2"/>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059987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 without picture">
    <p:spTree>
      <p:nvGrpSpPr>
        <p:cNvPr id="1" name=""/>
        <p:cNvGrpSpPr/>
        <p:nvPr/>
      </p:nvGrpSpPr>
      <p:grpSpPr>
        <a:xfrm>
          <a:off x="0" y="0"/>
          <a:ext cx="0" cy="0"/>
          <a:chOff x="0" y="0"/>
          <a:chExt cx="0" cy="0"/>
        </a:xfrm>
      </p:grpSpPr>
      <p:sp>
        <p:nvSpPr>
          <p:cNvPr id="7" name="Rechteck 6"/>
          <p:cNvSpPr/>
          <p:nvPr userDrawn="1"/>
        </p:nvSpPr>
        <p:spPr bwMode="gray">
          <a:xfrm>
            <a:off x="215900" y="225425"/>
            <a:ext cx="8712200" cy="5975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el 1"/>
          <p:cNvSpPr>
            <a:spLocks noGrp="1"/>
          </p:cNvSpPr>
          <p:nvPr>
            <p:ph type="ctrTitle" hasCustomPrompt="1"/>
          </p:nvPr>
        </p:nvSpPr>
        <p:spPr bwMode="gray">
          <a:xfrm>
            <a:off x="215900" y="225426"/>
            <a:ext cx="8712200" cy="5957652"/>
          </a:xfrm>
        </p:spPr>
        <p:txBody>
          <a:bodyPr lIns="144000" tIns="144000" rIns="0" anchor="t" anchorCtr="0">
            <a:noAutofit/>
          </a:bodyPr>
          <a:lstStyle>
            <a:lvl1pPr>
              <a:defRPr sz="5400">
                <a:solidFill>
                  <a:schemeClr val="accent2"/>
                </a:solidFill>
              </a:defRPr>
            </a:lvl1pPr>
          </a:lstStyle>
          <a:p>
            <a:r>
              <a:rPr lang="en-US" noProof="0" dirty="0" smtClean="0"/>
              <a:t>Click to edit Master title style</a:t>
            </a:r>
            <a:endParaRPr lang="en-US" dirty="0"/>
          </a:p>
        </p:txBody>
      </p:sp>
      <p:pic>
        <p:nvPicPr>
          <p:cNvPr id="8" name="Picture 2" descr="ABB2logo RGB"/>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7577"/>
          <a:stretch/>
        </p:blipFill>
        <p:spPr bwMode="gray">
          <a:xfrm>
            <a:off x="7132638" y="6390482"/>
            <a:ext cx="1120776"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313079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2533496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32348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00317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Text Placeholder 2"/>
          <p:cNvSpPr>
            <a:spLocks noGrp="1"/>
          </p:cNvSpPr>
          <p:nvPr>
            <p:ph type="body" sz="quarter" idx="13"/>
          </p:nvPr>
        </p:nvSpPr>
        <p:spPr>
          <a:xfrm>
            <a:off x="4643438" y="1592262"/>
            <a:ext cx="302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428616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385457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two pictures besides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1476375" y="3968774"/>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914514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three pictures">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5"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176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1476375" y="4760263"/>
            <a:ext cx="3024000" cy="1440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643651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 one picture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1062"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6191062"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3947051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slide two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73"/>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5" hasCustomPrompt="1"/>
          </p:nvPr>
        </p:nvSpPr>
        <p:spPr bwMode="gray">
          <a:xfrm>
            <a:off x="4643437"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246801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three pictures above text">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5" y="3968749"/>
            <a:ext cx="6192000" cy="2232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3582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568837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6"/>
          </p:nvPr>
        </p:nvSpPr>
        <p:spPr/>
        <p:txBody>
          <a:bodyPr/>
          <a:lstStyle/>
          <a:p>
            <a:r>
              <a:rPr lang="de-DE" smtClean="0"/>
              <a:t>Month DD, YYYY</a:t>
            </a:r>
            <a:endParaRPr lang="en-US" dirty="0"/>
          </a:p>
        </p:txBody>
      </p:sp>
    </p:spTree>
    <p:extLst>
      <p:ext uri="{BB962C8B-B14F-4D97-AF65-F5344CB8AC3E}">
        <p14:creationId xmlns:p14="http://schemas.microsoft.com/office/powerpoint/2010/main" val="2519513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4644344" y="1592263"/>
            <a:ext cx="3024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4643438" y="3968750"/>
            <a:ext cx="3024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2" name="Date Placeholder 1"/>
          <p:cNvSpPr>
            <a:spLocks noGrp="1"/>
          </p:cNvSpPr>
          <p:nvPr>
            <p:ph type="dt" sz="half" idx="17"/>
          </p:nvPr>
        </p:nvSpPr>
        <p:spPr/>
        <p:txBody>
          <a:bodyPr/>
          <a:lstStyle/>
          <a:p>
            <a:r>
              <a:rPr lang="de-DE" smtClean="0"/>
              <a:t>Month DD, YYYY</a:t>
            </a:r>
            <a:endParaRPr lang="en-US" dirty="0"/>
          </a:p>
        </p:txBody>
      </p:sp>
    </p:spTree>
    <p:extLst>
      <p:ext uri="{BB962C8B-B14F-4D97-AF65-F5344CB8AC3E}">
        <p14:creationId xmlns:p14="http://schemas.microsoft.com/office/powerpoint/2010/main" val="923073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2"/>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4" name="Bildplatzhalter 3"/>
          <p:cNvSpPr>
            <a:spLocks noGrp="1"/>
          </p:cNvSpPr>
          <p:nvPr>
            <p:ph type="pic" sz="quarter" idx="14" hasCustomPrompt="1"/>
          </p:nvPr>
        </p:nvSpPr>
        <p:spPr bwMode="gray">
          <a:xfrm>
            <a:off x="147637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2" name="Bildplatzhalter 11"/>
          <p:cNvSpPr>
            <a:spLocks noGrp="1"/>
          </p:cNvSpPr>
          <p:nvPr>
            <p:ph type="pic" sz="quarter" idx="15" hasCustomPrompt="1"/>
          </p:nvPr>
        </p:nvSpPr>
        <p:spPr bwMode="gray">
          <a:xfrm>
            <a:off x="3582000"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9" name="Bildplatzhalter 8"/>
          <p:cNvSpPr>
            <a:spLocks noGrp="1"/>
          </p:cNvSpPr>
          <p:nvPr>
            <p:ph type="pic" sz="quarter" idx="16" hasCustomPrompt="1"/>
          </p:nvPr>
        </p:nvSpPr>
        <p:spPr bwMode="gray">
          <a:xfrm>
            <a:off x="3582000" y="3968750"/>
            <a:ext cx="1980000" cy="2232000"/>
          </a:xfrm>
          <a:solidFill>
            <a:schemeClr val="bg1">
              <a:lumMod val="85000"/>
            </a:schemeClr>
          </a:solidFill>
        </p:spPr>
        <p:txBody>
          <a:bodyPr/>
          <a:lstStyle>
            <a:lvl1pPr marL="0" indent="0">
              <a:buNone/>
              <a:defRPr baseline="0"/>
            </a:lvl1pPr>
          </a:lstStyle>
          <a:p>
            <a:r>
              <a:rPr lang="en-US" dirty="0" smtClean="0"/>
              <a:t> </a:t>
            </a:r>
            <a:endParaRPr lang="en-US" dirty="0"/>
          </a:p>
        </p:txBody>
      </p:sp>
      <p:sp>
        <p:nvSpPr>
          <p:cNvPr id="5" name="Bildplatzhalter 4"/>
          <p:cNvSpPr>
            <a:spLocks noGrp="1"/>
          </p:cNvSpPr>
          <p:nvPr>
            <p:ph type="pic" sz="quarter" idx="17" hasCustomPrompt="1"/>
          </p:nvPr>
        </p:nvSpPr>
        <p:spPr bwMode="gray">
          <a:xfrm>
            <a:off x="5687625" y="1592263"/>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11" name="Bildplatzhalter 10"/>
          <p:cNvSpPr>
            <a:spLocks noGrp="1"/>
          </p:cNvSpPr>
          <p:nvPr>
            <p:ph type="pic" sz="quarter" idx="18" hasCustomPrompt="1"/>
          </p:nvPr>
        </p:nvSpPr>
        <p:spPr bwMode="gray">
          <a:xfrm>
            <a:off x="5687625" y="3968750"/>
            <a:ext cx="1980000" cy="2232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9"/>
          </p:nvPr>
        </p:nvSpPr>
        <p:spPr/>
        <p:txBody>
          <a:bodyPr/>
          <a:lstStyle/>
          <a:p>
            <a:r>
              <a:rPr lang="de-DE" smtClean="0"/>
              <a:t>Month DD, YYYY</a:t>
            </a:r>
            <a:endParaRPr lang="en-US" dirty="0"/>
          </a:p>
        </p:txBody>
      </p:sp>
    </p:spTree>
    <p:extLst>
      <p:ext uri="{BB962C8B-B14F-4D97-AF65-F5344CB8AC3E}">
        <p14:creationId xmlns:p14="http://schemas.microsoft.com/office/powerpoint/2010/main" val="950842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one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8712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2809446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20397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small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1476373" y="1592262"/>
            <a:ext cx="6192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209550" y="1592263"/>
            <a:ext cx="1122363"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67273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1418947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5" name="Group 2"/>
          <p:cNvGrpSpPr>
            <a:grpSpLocks/>
          </p:cNvGrpSpPr>
          <p:nvPr userDrawn="1"/>
        </p:nvGrpSpPr>
        <p:grpSpPr bwMode="gray">
          <a:xfrm>
            <a:off x="0" y="0"/>
            <a:ext cx="9144000" cy="6858000"/>
            <a:chOff x="0" y="0"/>
            <a:chExt cx="5760" cy="4320"/>
          </a:xfrm>
        </p:grpSpPr>
        <p:sp>
          <p:nvSpPr>
            <p:cNvPr id="6" name="Rectangle 3"/>
            <p:cNvSpPr>
              <a:spLocks noChangeArrowheads="1"/>
            </p:cNvSpPr>
            <p:nvPr/>
          </p:nvSpPr>
          <p:spPr bwMode="gray">
            <a:xfrm>
              <a:off x="0" y="0"/>
              <a:ext cx="5760" cy="4320"/>
            </a:xfrm>
            <a:prstGeom prst="rect">
              <a:avLst/>
            </a:prstGeom>
            <a:noFill/>
            <a:ln w="9525" algn="ctr">
              <a:noFill/>
              <a:miter lim="800000"/>
              <a:headEnd/>
              <a:tailEnd/>
            </a:ln>
            <a:effectLst/>
          </p:spPr>
          <p:txBody>
            <a:bodyPr wrap="none" lIns="0" tIns="0" rIns="0" bIns="0" anchor="ctr"/>
            <a:lstStyle/>
            <a:p>
              <a:pPr fontAlgn="auto">
                <a:spcBef>
                  <a:spcPts val="0"/>
                </a:spcBef>
                <a:spcAft>
                  <a:spcPts val="0"/>
                </a:spcAft>
                <a:defRPr/>
              </a:pPr>
              <a:endParaRPr lang="en-US" noProof="0">
                <a:latin typeface="+mn-lt"/>
              </a:endParaRPr>
            </a:p>
          </p:txBody>
        </p:sp>
        <p:pic>
          <p:nvPicPr>
            <p:cNvPr id="7" name="Picture 4" descr="ABB1ClaimL_rgb300_100mmLIGHT Kopie"/>
            <p:cNvPicPr>
              <a:picLocks noChangeAspect="1" noChangeArrowheads="1"/>
            </p:cNvPicPr>
            <p:nvPr/>
          </p:nvPicPr>
          <p:blipFill>
            <a:blip r:embed="rId2"/>
            <a:srcRect/>
            <a:stretch>
              <a:fillRect/>
            </a:stretch>
          </p:blipFill>
          <p:spPr bwMode="gray">
            <a:xfrm>
              <a:off x="367" y="1660"/>
              <a:ext cx="5031" cy="743"/>
            </a:xfrm>
            <a:prstGeom prst="rect">
              <a:avLst/>
            </a:prstGeom>
            <a:noFill/>
            <a:ln w="9525">
              <a:noFill/>
              <a:miter lim="800000"/>
              <a:headEnd/>
              <a:tailEnd/>
            </a:ln>
          </p:spPr>
        </p:pic>
      </p:grpSp>
    </p:spTree>
    <p:extLst>
      <p:ext uri="{BB962C8B-B14F-4D97-AF65-F5344CB8AC3E}">
        <p14:creationId xmlns:p14="http://schemas.microsoft.com/office/powerpoint/2010/main" val="886057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 one pictur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bwMode="gray">
          <a:xfrm>
            <a:off x="4643436" y="1592263"/>
            <a:ext cx="4284000" cy="46080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sp>
        <p:nvSpPr>
          <p:cNvPr id="6" name="Titel 5"/>
          <p:cNvSpPr>
            <a:spLocks noGrp="1"/>
          </p:cNvSpPr>
          <p:nvPr>
            <p:ph type="title" hasCustomPrompt="1"/>
          </p:nvPr>
        </p:nvSpPr>
        <p:spPr bwMode="gray"/>
        <p:txBody>
          <a:bodyPr/>
          <a:lstStyle/>
          <a:p>
            <a:r>
              <a:rPr lang="en-US" noProof="0" dirty="0" smtClean="0"/>
              <a:t>Click to edit Master title style</a:t>
            </a:r>
            <a:endParaRPr lang="en-US" dirty="0"/>
          </a:p>
        </p:txBody>
      </p:sp>
      <p:sp>
        <p:nvSpPr>
          <p:cNvPr id="3" name="Bildplatzhalter 2"/>
          <p:cNvSpPr>
            <a:spLocks noGrp="1"/>
          </p:cNvSpPr>
          <p:nvPr>
            <p:ph type="pic" sz="quarter" idx="13" hasCustomPrompt="1"/>
          </p:nvPr>
        </p:nvSpPr>
        <p:spPr bwMode="gray">
          <a:xfrm>
            <a:off x="1476375" y="1592263"/>
            <a:ext cx="3024000" cy="4608000"/>
          </a:xfrm>
          <a:solidFill>
            <a:schemeClr val="bg1">
              <a:lumMod val="85000"/>
            </a:schemeClr>
          </a:solidFill>
        </p:spPr>
        <p:txBody>
          <a:bodyPr/>
          <a:lstStyle>
            <a:lvl1pPr marL="0" indent="0">
              <a:buNone/>
              <a:defRPr/>
            </a:lvl1pPr>
          </a:lstStyle>
          <a:p>
            <a:r>
              <a:rPr lang="en-US" dirty="0" smtClean="0"/>
              <a:t> </a:t>
            </a:r>
            <a:endParaRPr lang="en-US" dirty="0"/>
          </a:p>
        </p:txBody>
      </p:sp>
      <p:sp>
        <p:nvSpPr>
          <p:cNvPr id="2" name="Date Placeholder 1"/>
          <p:cNvSpPr>
            <a:spLocks noGrp="1"/>
          </p:cNvSpPr>
          <p:nvPr>
            <p:ph type="dt" sz="half" idx="14"/>
          </p:nvPr>
        </p:nvSpPr>
        <p:spPr/>
        <p:txBody>
          <a:bodyPr/>
          <a:lstStyle/>
          <a:p>
            <a:r>
              <a:rPr lang="de-DE" smtClean="0"/>
              <a:t>Month DD, YYYY</a:t>
            </a:r>
            <a:endParaRPr lang="en-US" dirty="0"/>
          </a:p>
        </p:txBody>
      </p:sp>
    </p:spTree>
    <p:extLst>
      <p:ext uri="{BB962C8B-B14F-4D97-AF65-F5344CB8AC3E}">
        <p14:creationId xmlns:p14="http://schemas.microsoft.com/office/powerpoint/2010/main" val="710442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199380794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50" r:id="rId6"/>
    <p:sldLayoutId id="2147483732"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923" r:id="rId17"/>
    <p:sldLayoutId id="2147483673" r:id="rId18"/>
    <p:sldLayoutId id="2147483654" r:id="rId19"/>
    <p:sldLayoutId id="2147483796" r:id="rId20"/>
    <p:sldLayoutId id="2147483674" r:id="rId2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2833646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24168167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0" y="-1"/>
            <a:ext cx="9144000" cy="1592263"/>
          </a:xfrm>
          <a:prstGeom prst="rect">
            <a:avLst/>
          </a:prstGeom>
        </p:spPr>
        <p:txBody>
          <a:bodyPr vert="horz" lIns="187200" tIns="313200" rIns="216000" bIns="0" rtlCol="0" anchor="t" anchorCtr="0">
            <a:noAutofit/>
          </a:bodyPr>
          <a:lstStyle/>
          <a:p>
            <a:r>
              <a:rPr lang="en-US" noProof="0" dirty="0" smtClean="0"/>
              <a:t>Click to edit Master title style</a:t>
            </a:r>
            <a:endParaRPr lang="en-US" dirty="0"/>
          </a:p>
        </p:txBody>
      </p:sp>
      <p:sp>
        <p:nvSpPr>
          <p:cNvPr id="3" name="Textplatzhalter 2"/>
          <p:cNvSpPr>
            <a:spLocks noGrp="1"/>
          </p:cNvSpPr>
          <p:nvPr>
            <p:ph type="body" idx="1"/>
          </p:nvPr>
        </p:nvSpPr>
        <p:spPr bwMode="gray">
          <a:xfrm>
            <a:off x="1476373" y="1592262"/>
            <a:ext cx="6192000" cy="4608000"/>
          </a:xfrm>
          <a:prstGeom prst="rect">
            <a:avLst/>
          </a:prstGeom>
        </p:spPr>
        <p:txBody>
          <a:bodyPr vert="horz" lIns="0" tIns="0" rIns="0" bIns="0" spcCol="14400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endParaRPr lang="en-US" noProof="0" dirty="0"/>
          </a:p>
        </p:txBody>
      </p:sp>
      <p:pic>
        <p:nvPicPr>
          <p:cNvPr id="2050" name="Picture 2" descr="ABB2logo RGB"/>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l="62511"/>
          <a:stretch>
            <a:fillRect/>
          </a:stretch>
        </p:blipFill>
        <p:spPr bwMode="gray">
          <a:xfrm>
            <a:off x="8255000" y="6392863"/>
            <a:ext cx="673100"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Group 275"/>
          <p:cNvGrpSpPr>
            <a:grpSpLocks/>
          </p:cNvGrpSpPr>
          <p:nvPr userDrawn="1"/>
        </p:nvGrpSpPr>
        <p:grpSpPr bwMode="gray">
          <a:xfrm>
            <a:off x="-47429" y="225425"/>
            <a:ext cx="25200" cy="5972175"/>
            <a:chOff x="-152" y="142"/>
            <a:chExt cx="113" cy="3762"/>
          </a:xfrm>
        </p:grpSpPr>
        <p:sp>
          <p:nvSpPr>
            <p:cNvPr id="7" name="Line 276"/>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8" name="Line 277"/>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9" name="Line 278"/>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0" name="Line 279"/>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1" name="Line 280"/>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2" name="Line 281"/>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13" name="Group 282"/>
          <p:cNvGrpSpPr>
            <a:grpSpLocks/>
          </p:cNvGrpSpPr>
          <p:nvPr userDrawn="1"/>
        </p:nvGrpSpPr>
        <p:grpSpPr bwMode="gray">
          <a:xfrm>
            <a:off x="215900" y="6888048"/>
            <a:ext cx="8709025" cy="25200"/>
            <a:chOff x="136" y="4346"/>
            <a:chExt cx="5486" cy="113"/>
          </a:xfrm>
        </p:grpSpPr>
        <p:sp>
          <p:nvSpPr>
            <p:cNvPr id="14" name="Line 283"/>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5" name="Line 284"/>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6" name="Line 285"/>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7" name="Line 286"/>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8" name="Line 287"/>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19" name="Line 288"/>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0" name="Line 289"/>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1" name="Group 290"/>
          <p:cNvGrpSpPr>
            <a:grpSpLocks/>
          </p:cNvGrpSpPr>
          <p:nvPr userDrawn="1"/>
        </p:nvGrpSpPr>
        <p:grpSpPr bwMode="gray">
          <a:xfrm>
            <a:off x="215900" y="-43061"/>
            <a:ext cx="8709025" cy="25200"/>
            <a:chOff x="136" y="4346"/>
            <a:chExt cx="5486" cy="113"/>
          </a:xfrm>
        </p:grpSpPr>
        <p:sp>
          <p:nvSpPr>
            <p:cNvPr id="22" name="Line 291"/>
            <p:cNvSpPr>
              <a:spLocks noChangeShapeType="1"/>
            </p:cNvSpPr>
            <p:nvPr/>
          </p:nvSpPr>
          <p:spPr bwMode="gray">
            <a:xfrm>
              <a:off x="136"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3" name="Line 292"/>
            <p:cNvSpPr>
              <a:spLocks noChangeShapeType="1"/>
            </p:cNvSpPr>
            <p:nvPr/>
          </p:nvSpPr>
          <p:spPr bwMode="gray">
            <a:xfrm>
              <a:off x="837"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4" name="Line 293"/>
            <p:cNvSpPr>
              <a:spLocks noChangeShapeType="1"/>
            </p:cNvSpPr>
            <p:nvPr/>
          </p:nvSpPr>
          <p:spPr bwMode="gray">
            <a:xfrm>
              <a:off x="9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5" name="Line 294"/>
            <p:cNvSpPr>
              <a:spLocks noChangeShapeType="1"/>
            </p:cNvSpPr>
            <p:nvPr/>
          </p:nvSpPr>
          <p:spPr bwMode="gray">
            <a:xfrm>
              <a:off x="283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6" name="Line 295"/>
            <p:cNvSpPr>
              <a:spLocks noChangeShapeType="1"/>
            </p:cNvSpPr>
            <p:nvPr/>
          </p:nvSpPr>
          <p:spPr bwMode="gray">
            <a:xfrm>
              <a:off x="2923"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7" name="Line 296"/>
            <p:cNvSpPr>
              <a:spLocks noChangeShapeType="1"/>
            </p:cNvSpPr>
            <p:nvPr/>
          </p:nvSpPr>
          <p:spPr bwMode="gray">
            <a:xfrm>
              <a:off x="4830"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28" name="Line 297"/>
            <p:cNvSpPr>
              <a:spLocks noChangeShapeType="1"/>
            </p:cNvSpPr>
            <p:nvPr/>
          </p:nvSpPr>
          <p:spPr bwMode="gray">
            <a:xfrm>
              <a:off x="5622" y="4346"/>
              <a:ext cx="0" cy="113"/>
            </a:xfrm>
            <a:prstGeom prst="line">
              <a:avLst/>
            </a:prstGeom>
            <a:noFill/>
            <a:ln w="9525">
              <a:solidFill>
                <a:schemeClr val="bg1"/>
              </a:solidFill>
              <a:round/>
              <a:headEnd/>
              <a:tailEnd/>
            </a:ln>
            <a:effectLst/>
          </p:spPr>
          <p:txBody>
            <a:bodyPr lIns="0" tIns="0" rIns="0" bIns="0">
              <a:noAutofit/>
            </a:bodyPr>
            <a:lstStyle/>
            <a:p>
              <a:endParaRPr lang="en-US" noProof="0"/>
            </a:p>
          </p:txBody>
        </p:sp>
      </p:grpSp>
      <p:grpSp>
        <p:nvGrpSpPr>
          <p:cNvPr id="29" name="Group 298"/>
          <p:cNvGrpSpPr>
            <a:grpSpLocks/>
          </p:cNvGrpSpPr>
          <p:nvPr userDrawn="1"/>
        </p:nvGrpSpPr>
        <p:grpSpPr bwMode="gray">
          <a:xfrm>
            <a:off x="9166226" y="225425"/>
            <a:ext cx="25200" cy="5972175"/>
            <a:chOff x="-152" y="142"/>
            <a:chExt cx="113" cy="3762"/>
          </a:xfrm>
        </p:grpSpPr>
        <p:sp>
          <p:nvSpPr>
            <p:cNvPr id="30" name="Line 299"/>
            <p:cNvSpPr>
              <a:spLocks noChangeShapeType="1"/>
            </p:cNvSpPr>
            <p:nvPr/>
          </p:nvSpPr>
          <p:spPr bwMode="gray">
            <a:xfrm>
              <a:off x="-152" y="14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1" name="Line 300"/>
            <p:cNvSpPr>
              <a:spLocks noChangeShapeType="1"/>
            </p:cNvSpPr>
            <p:nvPr/>
          </p:nvSpPr>
          <p:spPr bwMode="gray">
            <a:xfrm>
              <a:off x="-152" y="232"/>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2" name="Line 301"/>
            <p:cNvSpPr>
              <a:spLocks noChangeShapeType="1"/>
            </p:cNvSpPr>
            <p:nvPr/>
          </p:nvSpPr>
          <p:spPr bwMode="gray">
            <a:xfrm>
              <a:off x="-152" y="1003"/>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3" name="Line 302"/>
            <p:cNvSpPr>
              <a:spLocks noChangeShapeType="1"/>
            </p:cNvSpPr>
            <p:nvPr/>
          </p:nvSpPr>
          <p:spPr bwMode="gray">
            <a:xfrm>
              <a:off x="-152" y="2408"/>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4" name="Line 303"/>
            <p:cNvSpPr>
              <a:spLocks noChangeShapeType="1"/>
            </p:cNvSpPr>
            <p:nvPr/>
          </p:nvSpPr>
          <p:spPr bwMode="gray">
            <a:xfrm>
              <a:off x="-152" y="2500"/>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sp>
          <p:nvSpPr>
            <p:cNvPr id="35" name="Line 304"/>
            <p:cNvSpPr>
              <a:spLocks noChangeShapeType="1"/>
            </p:cNvSpPr>
            <p:nvPr/>
          </p:nvSpPr>
          <p:spPr bwMode="gray">
            <a:xfrm>
              <a:off x="-152" y="3904"/>
              <a:ext cx="113" cy="0"/>
            </a:xfrm>
            <a:prstGeom prst="line">
              <a:avLst/>
            </a:prstGeom>
            <a:noFill/>
            <a:ln w="9525">
              <a:solidFill>
                <a:schemeClr val="bg1"/>
              </a:solidFill>
              <a:round/>
              <a:headEnd/>
              <a:tailEnd/>
            </a:ln>
            <a:effectLst/>
          </p:spPr>
          <p:txBody>
            <a:bodyPr lIns="0" tIns="0" rIns="0" bIns="0">
              <a:noAutofit/>
            </a:bodyPr>
            <a:lstStyle/>
            <a:p>
              <a:endParaRPr lang="en-US" noProof="0"/>
            </a:p>
          </p:txBody>
        </p:sp>
      </p:grpSp>
      <p:sp>
        <p:nvSpPr>
          <p:cNvPr id="5" name="Datumsplatzhalter 4"/>
          <p:cNvSpPr>
            <a:spLocks noGrp="1"/>
          </p:cNvSpPr>
          <p:nvPr>
            <p:ph type="dt" sz="half" idx="2"/>
          </p:nvPr>
        </p:nvSpPr>
        <p:spPr bwMode="gray">
          <a:xfrm>
            <a:off x="208757" y="6567488"/>
            <a:ext cx="727243" cy="96986"/>
          </a:xfrm>
          <a:prstGeom prst="rect">
            <a:avLst/>
          </a:prstGeom>
        </p:spPr>
        <p:txBody>
          <a:bodyPr vert="horz" wrap="none" lIns="0" tIns="0" rIns="0" bIns="0" rtlCol="0" anchor="t" anchorCtr="0">
            <a:noAutofit/>
          </a:bodyPr>
          <a:lstStyle>
            <a:lvl1pPr algn="l">
              <a:defRPr sz="600">
                <a:solidFill>
                  <a:schemeClr val="bg2"/>
                </a:solidFill>
              </a:defRPr>
            </a:lvl1pPr>
          </a:lstStyle>
          <a:p>
            <a:r>
              <a:rPr lang="de-DE" smtClean="0"/>
              <a:t>Month DD, YYYY</a:t>
            </a:r>
            <a:endParaRPr lang="en-US" dirty="0"/>
          </a:p>
        </p:txBody>
      </p:sp>
      <p:sp>
        <p:nvSpPr>
          <p:cNvPr id="42" name="Fußzeilenplatzhalter 5"/>
          <p:cNvSpPr txBox="1">
            <a:spLocks/>
          </p:cNvSpPr>
          <p:nvPr userDrawn="1"/>
        </p:nvSpPr>
        <p:spPr bwMode="gray">
          <a:xfrm>
            <a:off x="215901" y="6477435"/>
            <a:ext cx="1112838" cy="89394"/>
          </a:xfrm>
          <a:prstGeom prst="rect">
            <a:avLst/>
          </a:prstGeom>
        </p:spPr>
        <p:txBody>
          <a:bodyPr vert="horz" wrap="none" lIns="0" tIns="0" rIns="0" bIns="0" rtlCol="0" anchor="t" anchorCtr="0">
            <a:noAutofit/>
          </a:bodyPr>
          <a:lstStyle>
            <a:lvl1pPr marL="0" algn="l" defTabSz="914400" rtl="0" eaLnBrk="1" fontAlgn="auto" latinLnBrk="0" hangingPunct="1">
              <a:spcBef>
                <a:spcPts val="0"/>
              </a:spcBef>
              <a:spcAft>
                <a:spcPts val="0"/>
              </a:spcAft>
              <a:defRPr lang="en-US" sz="600" kern="1200" dirty="0" smtClean="0">
                <a:solidFill>
                  <a:schemeClr val="tx1"/>
                </a:solidFill>
                <a:latin typeface="Arial"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666666"/>
                </a:solidFill>
                <a:effectLst/>
                <a:uLnTx/>
                <a:uFillTx/>
                <a:latin typeface="Arial" pitchFamily="34" charset="0"/>
                <a:ea typeface="+mn-ea"/>
                <a:cs typeface="Arial" pitchFamily="34" charset="0"/>
              </a:rPr>
              <a:t>© ABB</a:t>
            </a:r>
            <a:endParaRPr kumimoji="0" lang="en-US" sz="600"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38" name="TextBox 37"/>
          <p:cNvSpPr txBox="1"/>
          <p:nvPr userDrawn="1"/>
        </p:nvSpPr>
        <p:spPr>
          <a:xfrm>
            <a:off x="935831" y="6566829"/>
            <a:ext cx="483394" cy="92333"/>
          </a:xfrm>
          <a:prstGeom prst="rect">
            <a:avLst/>
          </a:prstGeom>
          <a:noFill/>
        </p:spPr>
        <p:txBody>
          <a:bodyPr wrap="square" lIns="0" tIns="0" rIns="0" bIns="0" rtlCol="0" anchor="ctr" anchorCtr="0">
            <a:noAutofit/>
          </a:bodyPr>
          <a:lstStyle/>
          <a:p>
            <a:pPr>
              <a:buNone/>
            </a:pPr>
            <a:r>
              <a:rPr lang="en-GB" sz="600" dirty="0" smtClean="0">
                <a:solidFill>
                  <a:schemeClr val="bg2"/>
                </a:solidFill>
              </a:rPr>
              <a:t>| Slide </a:t>
            </a:r>
            <a:fld id="{14AEC320-A186-439B-8B2C-D2DB8CEDAEBD}" type="slidenum">
              <a:rPr lang="en-GB" sz="600" smtClean="0">
                <a:solidFill>
                  <a:schemeClr val="bg2"/>
                </a:solidFill>
              </a:rPr>
              <a:t>‹#›</a:t>
            </a:fld>
            <a:endParaRPr lang="en-GB" sz="600" dirty="0" smtClean="0">
              <a:solidFill>
                <a:schemeClr val="bg2"/>
              </a:solidFill>
            </a:endParaRPr>
          </a:p>
        </p:txBody>
      </p:sp>
    </p:spTree>
    <p:extLst>
      <p:ext uri="{BB962C8B-B14F-4D97-AF65-F5344CB8AC3E}">
        <p14:creationId xmlns:p14="http://schemas.microsoft.com/office/powerpoint/2010/main" val="201859660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slideLayout" Target="../slideLayouts/slideLayout18.xml"/><Relationship Id="rId5" Type="http://schemas.openxmlformats.org/officeDocument/2006/relationships/tags" Target="../tags/tag11.xml"/><Relationship Id="rId4" Type="http://schemas.openxmlformats.org/officeDocument/2006/relationships/tags" Target="../tags/tag1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2.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ession title</a:t>
            </a:r>
            <a:br>
              <a:rPr lang="en-US" dirty="0" smtClean="0"/>
            </a:br>
            <a:r>
              <a:rPr lang="en-US" dirty="0" smtClean="0">
                <a:solidFill>
                  <a:schemeClr val="accent3"/>
                </a:solidFill>
              </a:rPr>
              <a:t>Sub headline</a:t>
            </a:r>
            <a:endParaRPr lang="en-US" dirty="0"/>
          </a:p>
        </p:txBody>
      </p:sp>
      <p:sp>
        <p:nvSpPr>
          <p:cNvPr id="3" name="Subtitle 2"/>
          <p:cNvSpPr>
            <a:spLocks noGrp="1"/>
          </p:cNvSpPr>
          <p:nvPr>
            <p:ph type="subTitle" idx="1"/>
          </p:nvPr>
        </p:nvSpPr>
        <p:spPr/>
        <p:txBody>
          <a:bodyPr/>
          <a:lstStyle/>
          <a:p>
            <a:r>
              <a:rPr lang="en-US" dirty="0"/>
              <a:t>Automation and Power World, Month, DD, </a:t>
            </a:r>
            <a:r>
              <a:rPr lang="en-US" dirty="0" smtClean="0"/>
              <a:t>2016</a:t>
            </a: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spTree>
    <p:extLst>
      <p:ext uri="{BB962C8B-B14F-4D97-AF65-F5344CB8AC3E}">
        <p14:creationId xmlns:p14="http://schemas.microsoft.com/office/powerpoint/2010/main" val="1287997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ert Title (1st blue color)</a:t>
            </a:r>
            <a:br>
              <a:rPr lang="en-US" dirty="0"/>
            </a:br>
            <a:r>
              <a:rPr lang="en-US" dirty="0">
                <a:solidFill>
                  <a:schemeClr val="accent1"/>
                </a:solidFill>
              </a:rPr>
              <a:t>Insert Subtitle (2nd blue color)</a:t>
            </a:r>
            <a:endParaRPr lang="de-DE" dirty="0">
              <a:solidFill>
                <a:schemeClr val="accent1"/>
              </a:solidFill>
            </a:endParaRPr>
          </a:p>
        </p:txBody>
      </p:sp>
      <p:sp>
        <p:nvSpPr>
          <p:cNvPr id="3" name="Text Placeholder 2"/>
          <p:cNvSpPr>
            <a:spLocks noGrp="1"/>
          </p:cNvSpPr>
          <p:nvPr>
            <p:ph type="body" sz="quarter" idx="10"/>
          </p:nvPr>
        </p:nvSpPr>
        <p:spPr/>
        <p:txBody>
          <a:bodyPr/>
          <a:lstStyle/>
          <a:p>
            <a:r>
              <a:rPr lang="en-US" dirty="0"/>
              <a:t>(First list level for </a:t>
            </a:r>
            <a:r>
              <a:rPr lang="en-US" dirty="0" err="1"/>
              <a:t>Bulletpoint</a:t>
            </a:r>
            <a:r>
              <a:rPr lang="en-US" dirty="0"/>
              <a:t> 01), Arial 18pt</a:t>
            </a:r>
          </a:p>
          <a:p>
            <a:pPr lvl="1"/>
            <a:r>
              <a:rPr lang="en-US" dirty="0"/>
              <a:t>(Second list level for </a:t>
            </a:r>
            <a:r>
              <a:rPr lang="en-US" dirty="0" err="1"/>
              <a:t>Bulletpoint</a:t>
            </a:r>
            <a:r>
              <a:rPr lang="en-US" dirty="0"/>
              <a:t> 02), Arial 18pt</a:t>
            </a:r>
          </a:p>
          <a:p>
            <a:pPr lvl="2"/>
            <a:r>
              <a:rPr lang="en-US" dirty="0"/>
              <a:t>(Third list level for </a:t>
            </a:r>
            <a:r>
              <a:rPr lang="en-US" dirty="0" err="1"/>
              <a:t>Bulletpoint</a:t>
            </a:r>
            <a:r>
              <a:rPr lang="en-US" dirty="0"/>
              <a:t> 03), Arial 16pt</a:t>
            </a:r>
          </a:p>
          <a:p>
            <a:pPr lvl="3"/>
            <a:r>
              <a:rPr lang="en-US" dirty="0"/>
              <a:t>(Fourth level for running text), Arial 18pt</a:t>
            </a:r>
          </a:p>
          <a:p>
            <a:pPr lvl="4"/>
            <a:r>
              <a:rPr lang="en-US" dirty="0"/>
              <a:t>Highlight 01 (Fifth list level), Arial 18pt, bold</a:t>
            </a:r>
          </a:p>
          <a:p>
            <a:pPr lvl="5"/>
            <a:r>
              <a:rPr lang="en-US" dirty="0"/>
              <a:t>Highlight 02 (Sixth list level) Arial 18pt, bold, 2nd blue</a:t>
            </a:r>
            <a:br>
              <a:rPr lang="en-US" dirty="0"/>
            </a:br>
            <a:endParaRPr lang="en-US" dirty="0"/>
          </a:p>
        </p:txBody>
      </p:sp>
      <p:sp>
        <p:nvSpPr>
          <p:cNvPr id="4" name="Date Placeholder 3"/>
          <p:cNvSpPr>
            <a:spLocks noGrp="1"/>
          </p:cNvSpPr>
          <p:nvPr>
            <p:ph type="dt" sz="half" idx="11"/>
          </p:nvPr>
        </p:nvSpPr>
        <p:spPr/>
        <p:txBody>
          <a:bodyPr/>
          <a:lstStyle/>
          <a:p>
            <a:r>
              <a:rPr lang="de-DE" smtClean="0"/>
              <a:t>Month DD, YYYY</a:t>
            </a:r>
            <a:endParaRPr lang="en-US" dirty="0"/>
          </a:p>
        </p:txBody>
      </p:sp>
      <p:grpSp>
        <p:nvGrpSpPr>
          <p:cNvPr id="5" name="Gruppieren 9"/>
          <p:cNvGrpSpPr/>
          <p:nvPr/>
        </p:nvGrpSpPr>
        <p:grpSpPr>
          <a:xfrm>
            <a:off x="6034791" y="4808920"/>
            <a:ext cx="481425" cy="276264"/>
            <a:chOff x="6588224" y="4797152"/>
            <a:chExt cx="481425" cy="276264"/>
          </a:xfrm>
          <a:effectLst>
            <a:outerShdw blurRad="63500" sx="102000" sy="102000" algn="ctr" rotWithShape="0">
              <a:prstClr val="black">
                <a:alpha val="40000"/>
              </a:prstClr>
            </a:outerShdw>
          </a:effectLst>
        </p:grpSpPr>
        <p:pic>
          <p:nvPicPr>
            <p:cNvPr id="6" name="Grafik 7" descr="Bildschirmausschnitt"/>
            <p:cNvPicPr>
              <a:picLocks noChangeAspect="1"/>
            </p:cNvPicPr>
            <p:nvPr/>
          </p:nvPicPr>
          <p:blipFill rotWithShape="1">
            <a:blip r:embed="rId2">
              <a:extLst>
                <a:ext uri="{28A0092B-C50C-407E-A947-70E740481C1C}">
                  <a14:useLocalDpi xmlns:a14="http://schemas.microsoft.com/office/drawing/2010/main" val="0"/>
                </a:ext>
              </a:extLst>
            </a:blip>
            <a:srcRect r="50000"/>
            <a:stretch/>
          </p:blipFill>
          <p:spPr>
            <a:xfrm>
              <a:off x="6588224"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pic>
          <p:nvPicPr>
            <p:cNvPr id="7" name="Grafik 8" descr="Bildschirmausschnitt"/>
            <p:cNvPicPr>
              <a:picLocks noChangeAspect="1"/>
            </p:cNvPicPr>
            <p:nvPr/>
          </p:nvPicPr>
          <p:blipFill rotWithShape="1">
            <a:blip r:embed="rId2">
              <a:extLst>
                <a:ext uri="{28A0092B-C50C-407E-A947-70E740481C1C}">
                  <a14:useLocalDpi xmlns:a14="http://schemas.microsoft.com/office/drawing/2010/main" val="0"/>
                </a:ext>
              </a:extLst>
            </a:blip>
            <a:srcRect l="50000"/>
            <a:stretch/>
          </p:blipFill>
          <p:spPr>
            <a:xfrm>
              <a:off x="6831491" y="4797152"/>
              <a:ext cx="238158" cy="276264"/>
            </a:xfrm>
            <a:prstGeom prst="roundRect">
              <a:avLst>
                <a:gd name="adj" fmla="val 0"/>
              </a:avLst>
            </a:prstGeom>
            <a:solidFill>
              <a:srgbClr val="FFFFFF">
                <a:shade val="85000"/>
              </a:srgbClr>
            </a:solidFill>
            <a:ln>
              <a:solidFill>
                <a:schemeClr val="bg2">
                  <a:lumMod val="20000"/>
                  <a:lumOff val="80000"/>
                </a:schemeClr>
              </a:solidFill>
            </a:ln>
            <a:effectLst/>
          </p:spPr>
        </p:pic>
      </p:grpSp>
    </p:spTree>
    <p:extLst>
      <p:ext uri="{BB962C8B-B14F-4D97-AF65-F5344CB8AC3E}">
        <p14:creationId xmlns:p14="http://schemas.microsoft.com/office/powerpoint/2010/main" val="1360641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3"/>
          <p:cNvSpPr txBox="1">
            <a:spLocks noChangeArrowheads="1"/>
          </p:cNvSpPr>
          <p:nvPr/>
        </p:nvSpPr>
        <p:spPr bwMode="gray">
          <a:xfrm>
            <a:off x="3161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br>
              <a:rPr lang="en-US" sz="1200" dirty="0" smtClean="0"/>
            </a:br>
            <a:r>
              <a:rPr lang="en-US" sz="1200" dirty="0" smtClean="0"/>
              <a:t>on 2 lines</a:t>
            </a:r>
          </a:p>
          <a:p>
            <a:pPr>
              <a:spcBef>
                <a:spcPts val="600"/>
              </a:spcBef>
            </a:pPr>
            <a:r>
              <a:rPr lang="en-US" sz="1200" dirty="0" smtClean="0"/>
              <a:t>Text</a:t>
            </a:r>
            <a:br>
              <a:rPr lang="en-US" sz="1200" dirty="0" smtClean="0"/>
            </a:br>
            <a:r>
              <a:rPr lang="en-US" sz="1200" dirty="0" smtClean="0"/>
              <a:t>continued</a:t>
            </a:r>
            <a:br>
              <a:rPr lang="en-US" sz="1200" dirty="0" smtClean="0"/>
            </a:br>
            <a:r>
              <a:rPr lang="en-US" sz="1200" dirty="0" smtClean="0"/>
              <a:t>on 3 lines</a:t>
            </a:r>
          </a:p>
        </p:txBody>
      </p:sp>
      <p:sp>
        <p:nvSpPr>
          <p:cNvPr id="2" name="Title 1"/>
          <p:cNvSpPr>
            <a:spLocks noGrp="1"/>
          </p:cNvSpPr>
          <p:nvPr>
            <p:ph type="title"/>
          </p:nvPr>
        </p:nvSpPr>
        <p:spPr/>
        <p:txBody>
          <a:bodyPr/>
          <a:lstStyle/>
          <a:p>
            <a:r>
              <a:rPr lang="de-DE" dirty="0" smtClean="0"/>
              <a:t>Headline</a:t>
            </a:r>
            <a:endParaRPr lang="de-DE" dirty="0"/>
          </a:p>
        </p:txBody>
      </p:sp>
      <p:sp>
        <p:nvSpPr>
          <p:cNvPr id="26" name="Picture Placeholder 25"/>
          <p:cNvSpPr>
            <a:spLocks noGrp="1"/>
          </p:cNvSpPr>
          <p:nvPr>
            <p:ph type="pic" sz="quarter" idx="13"/>
          </p:nvPr>
        </p:nvSpPr>
        <p:spPr>
          <a:xfrm>
            <a:off x="209550" y="1592263"/>
            <a:ext cx="2808000" cy="2232000"/>
          </a:xfrm>
        </p:spPr>
      </p:sp>
      <p:sp>
        <p:nvSpPr>
          <p:cNvPr id="28" name="Picture Placeholder 27"/>
          <p:cNvSpPr>
            <a:spLocks noGrp="1"/>
          </p:cNvSpPr>
          <p:nvPr>
            <p:ph type="pic" sz="quarter" idx="14"/>
          </p:nvPr>
        </p:nvSpPr>
        <p:spPr>
          <a:xfrm>
            <a:off x="3161550" y="1592263"/>
            <a:ext cx="2808000" cy="2232000"/>
          </a:xfrm>
        </p:spPr>
      </p:sp>
      <p:sp>
        <p:nvSpPr>
          <p:cNvPr id="30" name="Picture Placeholder 29"/>
          <p:cNvSpPr>
            <a:spLocks noGrp="1"/>
          </p:cNvSpPr>
          <p:nvPr>
            <p:ph type="pic" sz="quarter" idx="15"/>
          </p:nvPr>
        </p:nvSpPr>
        <p:spPr>
          <a:xfrm>
            <a:off x="6113550" y="1592263"/>
            <a:ext cx="2808000" cy="2232000"/>
          </a:xfrm>
        </p:spPr>
      </p:sp>
      <p:sp>
        <p:nvSpPr>
          <p:cNvPr id="3" name="Date Placeholder 2"/>
          <p:cNvSpPr>
            <a:spLocks noGrp="1"/>
          </p:cNvSpPr>
          <p:nvPr>
            <p:ph type="dt" sz="half" idx="19"/>
          </p:nvPr>
        </p:nvSpPr>
        <p:spPr/>
        <p:txBody>
          <a:bodyPr/>
          <a:lstStyle/>
          <a:p>
            <a:r>
              <a:rPr lang="de-DE" smtClean="0"/>
              <a:t>Month DD, YYYY</a:t>
            </a:r>
            <a:endParaRPr lang="en-US" dirty="0"/>
          </a:p>
        </p:txBody>
      </p:sp>
      <p:sp>
        <p:nvSpPr>
          <p:cNvPr id="10" name="Rectangle 9"/>
          <p:cNvSpPr>
            <a:spLocks noChangeArrowheads="1"/>
          </p:cNvSpPr>
          <p:nvPr/>
        </p:nvSpPr>
        <p:spPr bwMode="auto">
          <a:xfrm>
            <a:off x="209550" y="3968263"/>
            <a:ext cx="2808000" cy="441325"/>
          </a:xfrm>
          <a:prstGeom prst="rect">
            <a:avLst/>
          </a:prstGeom>
          <a:solidFill>
            <a:schemeClr val="accent1"/>
          </a:solidFill>
          <a:ln>
            <a:noFill/>
          </a:ln>
          <a:effectLst/>
          <a:extLst/>
        </p:spPr>
        <p:txBody>
          <a:bodyPr wrap="non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4" name="Rectangle 13"/>
          <p:cNvSpPr>
            <a:spLocks noChangeArrowheads="1"/>
          </p:cNvSpPr>
          <p:nvPr/>
        </p:nvSpPr>
        <p:spPr bwMode="auto">
          <a:xfrm>
            <a:off x="3161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6" name="Rectangle 15"/>
          <p:cNvSpPr>
            <a:spLocks noChangeArrowheads="1"/>
          </p:cNvSpPr>
          <p:nvPr/>
        </p:nvSpPr>
        <p:spPr bwMode="auto">
          <a:xfrm>
            <a:off x="6113550" y="3968263"/>
            <a:ext cx="2808000" cy="441325"/>
          </a:xfrm>
          <a:prstGeom prst="rect">
            <a:avLst/>
          </a:prstGeom>
          <a:solidFill>
            <a:schemeClr val="accent1"/>
          </a:solidFill>
          <a:ln>
            <a:noFill/>
          </a:ln>
          <a:effectLst/>
          <a:extLst/>
        </p:spPr>
        <p:txBody>
          <a:bodyPr wrap="square" lIns="108000" tIns="72000" rIns="108000" bIns="72000" anchor="ctr"/>
          <a:lstStyle/>
          <a:p>
            <a:pPr>
              <a:spcBef>
                <a:spcPct val="0"/>
              </a:spcBef>
              <a:buClrTx/>
              <a:buSzTx/>
              <a:buFontTx/>
              <a:buNone/>
            </a:pPr>
            <a:r>
              <a:rPr lang="de-DE" altLang="de-DE" sz="1200" b="1" dirty="0" smtClean="0">
                <a:solidFill>
                  <a:schemeClr val="bg1"/>
                </a:solidFill>
              </a:rPr>
              <a:t>Title</a:t>
            </a:r>
            <a:endParaRPr lang="de-DE" altLang="de-DE" sz="1200" b="1" dirty="0">
              <a:solidFill>
                <a:schemeClr val="bg1"/>
              </a:solidFill>
            </a:endParaRPr>
          </a:p>
        </p:txBody>
      </p:sp>
      <p:sp>
        <p:nvSpPr>
          <p:cNvPr id="17" name="Rectangle 3"/>
          <p:cNvSpPr txBox="1">
            <a:spLocks noChangeArrowheads="1"/>
          </p:cNvSpPr>
          <p:nvPr/>
        </p:nvSpPr>
        <p:spPr bwMode="gray">
          <a:xfrm>
            <a:off x="209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a:p>
            <a:pPr>
              <a:spcBef>
                <a:spcPts val="600"/>
              </a:spcBef>
            </a:pPr>
            <a:r>
              <a:rPr lang="en-US" sz="1200" dirty="0" smtClean="0"/>
              <a:t>Text</a:t>
            </a:r>
          </a:p>
        </p:txBody>
      </p:sp>
      <p:sp>
        <p:nvSpPr>
          <p:cNvPr id="20" name="Rectangle 3"/>
          <p:cNvSpPr txBox="1">
            <a:spLocks noChangeArrowheads="1"/>
          </p:cNvSpPr>
          <p:nvPr/>
        </p:nvSpPr>
        <p:spPr bwMode="gray">
          <a:xfrm>
            <a:off x="6113550" y="4410075"/>
            <a:ext cx="2808000" cy="1790699"/>
          </a:xfrm>
          <a:prstGeom prst="rect">
            <a:avLst/>
          </a:prstGeom>
          <a:noFill/>
          <a:ln w="12700">
            <a:noFill/>
          </a:ln>
          <a:effectLst/>
        </p:spPr>
        <p:txBody>
          <a:bodyPr vert="horz" lIns="108000" tIns="72000" rIns="108000" bIns="7200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200" dirty="0" smtClean="0"/>
              <a:t>Text</a:t>
            </a:r>
          </a:p>
          <a:p>
            <a:pPr lvl="1">
              <a:spcBef>
                <a:spcPts val="600"/>
              </a:spcBef>
            </a:pPr>
            <a:r>
              <a:rPr lang="en-US" sz="1200" dirty="0" smtClean="0"/>
              <a:t>Text</a:t>
            </a:r>
          </a:p>
          <a:p>
            <a:pPr>
              <a:spcBef>
                <a:spcPts val="600"/>
              </a:spcBef>
            </a:pPr>
            <a:r>
              <a:rPr lang="en-US" sz="1200" dirty="0" smtClean="0"/>
              <a:t>Text</a:t>
            </a:r>
          </a:p>
          <a:p>
            <a:pPr lvl="1">
              <a:spcBef>
                <a:spcPts val="600"/>
              </a:spcBef>
            </a:pPr>
            <a:r>
              <a:rPr lang="en-US" sz="1200" dirty="0" smtClean="0"/>
              <a:t>Text</a:t>
            </a:r>
            <a:br>
              <a:rPr lang="en-US" sz="1200" dirty="0" smtClean="0"/>
            </a:br>
            <a:r>
              <a:rPr lang="en-US" sz="1200" dirty="0" smtClean="0"/>
              <a:t>on 2 lines</a:t>
            </a:r>
          </a:p>
        </p:txBody>
      </p:sp>
    </p:spTree>
    <p:extLst>
      <p:ext uri="{BB962C8B-B14F-4D97-AF65-F5344CB8AC3E}">
        <p14:creationId xmlns:p14="http://schemas.microsoft.com/office/powerpoint/2010/main" val="3178576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icture + Text</a:t>
            </a:r>
          </a:p>
        </p:txBody>
      </p:sp>
      <p:sp>
        <p:nvSpPr>
          <p:cNvPr id="9" name="Picture Placeholder 8"/>
          <p:cNvSpPr>
            <a:spLocks noGrp="1"/>
          </p:cNvSpPr>
          <p:nvPr>
            <p:ph type="pic" sz="quarter" idx="13"/>
          </p:nvPr>
        </p:nvSpPr>
        <p:spPr>
          <a:xfrm>
            <a:off x="1469550" y="1592262"/>
            <a:ext cx="3024000" cy="1646676"/>
          </a:xfrm>
        </p:spPr>
      </p:sp>
      <p:sp>
        <p:nvSpPr>
          <p:cNvPr id="11" name="Picture Placeholder 10"/>
          <p:cNvSpPr>
            <a:spLocks noGrp="1"/>
          </p:cNvSpPr>
          <p:nvPr>
            <p:ph type="pic" sz="quarter" idx="14"/>
          </p:nvPr>
        </p:nvSpPr>
        <p:spPr>
          <a:xfrm>
            <a:off x="1469550" y="3968750"/>
            <a:ext cx="3024000" cy="1646188"/>
          </a:xfrm>
        </p:spPr>
      </p:sp>
      <p:sp>
        <p:nvSpPr>
          <p:cNvPr id="12" name="Picture Placeholder 11"/>
          <p:cNvSpPr>
            <a:spLocks noGrp="1"/>
          </p:cNvSpPr>
          <p:nvPr>
            <p:ph type="pic" sz="quarter" idx="15"/>
          </p:nvPr>
        </p:nvSpPr>
        <p:spPr>
          <a:xfrm>
            <a:off x="4637550" y="1592263"/>
            <a:ext cx="3024000" cy="1646675"/>
          </a:xfrm>
        </p:spPr>
      </p:sp>
      <p:sp>
        <p:nvSpPr>
          <p:cNvPr id="18" name="Picture Placeholder 17"/>
          <p:cNvSpPr>
            <a:spLocks noGrp="1"/>
          </p:cNvSpPr>
          <p:nvPr>
            <p:ph type="pic" sz="quarter" idx="16"/>
          </p:nvPr>
        </p:nvSpPr>
        <p:spPr>
          <a:xfrm>
            <a:off x="4637550" y="3968750"/>
            <a:ext cx="3024000" cy="1646188"/>
          </a:xfrm>
        </p:spPr>
      </p:sp>
      <p:sp>
        <p:nvSpPr>
          <p:cNvPr id="3" name="Date Placeholder 2"/>
          <p:cNvSpPr>
            <a:spLocks noGrp="1"/>
          </p:cNvSpPr>
          <p:nvPr>
            <p:ph type="dt" sz="half" idx="17"/>
          </p:nvPr>
        </p:nvSpPr>
        <p:spPr/>
        <p:txBody>
          <a:bodyPr/>
          <a:lstStyle/>
          <a:p>
            <a:r>
              <a:rPr lang="de-DE" smtClean="0"/>
              <a:t>Month DD, YYYY</a:t>
            </a:r>
            <a:endParaRPr lang="en-US" dirty="0"/>
          </a:p>
        </p:txBody>
      </p:sp>
      <p:sp>
        <p:nvSpPr>
          <p:cNvPr id="10" name="Rectangle 9"/>
          <p:cNvSpPr>
            <a:spLocks noChangeArrowheads="1"/>
          </p:cNvSpPr>
          <p:nvPr/>
        </p:nvSpPr>
        <p:spPr bwMode="auto">
          <a:xfrm>
            <a:off x="1469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1" name="Rectangle 30"/>
          <p:cNvSpPr>
            <a:spLocks noChangeArrowheads="1"/>
          </p:cNvSpPr>
          <p:nvPr/>
        </p:nvSpPr>
        <p:spPr bwMode="auto">
          <a:xfrm>
            <a:off x="4637550" y="3382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2" name="Rectangle 31"/>
          <p:cNvSpPr>
            <a:spLocks noChangeArrowheads="1"/>
          </p:cNvSpPr>
          <p:nvPr/>
        </p:nvSpPr>
        <p:spPr bwMode="auto">
          <a:xfrm>
            <a:off x="4637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
        <p:nvSpPr>
          <p:cNvPr id="34" name="Rectangle 33"/>
          <p:cNvSpPr>
            <a:spLocks noChangeArrowheads="1"/>
          </p:cNvSpPr>
          <p:nvPr/>
        </p:nvSpPr>
        <p:spPr bwMode="auto">
          <a:xfrm>
            <a:off x="1469550" y="5758938"/>
            <a:ext cx="3024000" cy="441325"/>
          </a:xfrm>
          <a:prstGeom prst="rect">
            <a:avLst/>
          </a:prstGeom>
          <a:solidFill>
            <a:schemeClr val="accent1"/>
          </a:solidFill>
          <a:ln>
            <a:noFill/>
          </a:ln>
          <a:effectLst/>
          <a:extLst/>
        </p:spPr>
        <p:txBody>
          <a:bodyPr wrap="square" lIns="108000" tIns="72000" rIns="108000" bIns="72000" anchor="ctr"/>
          <a:lstStyle/>
          <a:p>
            <a:pPr algn="ctr">
              <a:spcBef>
                <a:spcPct val="0"/>
              </a:spcBef>
              <a:buClrTx/>
              <a:buSzTx/>
              <a:buFontTx/>
              <a:buNone/>
            </a:pPr>
            <a:r>
              <a:rPr lang="de-DE" altLang="de-DE" sz="1200" b="1" dirty="0">
                <a:solidFill>
                  <a:schemeClr val="bg1"/>
                </a:solidFill>
              </a:rPr>
              <a:t>Title</a:t>
            </a:r>
          </a:p>
        </p:txBody>
      </p:sp>
    </p:spTree>
    <p:extLst>
      <p:ext uri="{BB962C8B-B14F-4D97-AF65-F5344CB8AC3E}">
        <p14:creationId xmlns:p14="http://schemas.microsoft.com/office/powerpoint/2010/main" val="909674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Table 4"/>
          <p:cNvGraphicFramePr>
            <a:graphicFrameLocks noGrp="1"/>
          </p:cNvGraphicFramePr>
          <p:nvPr>
            <p:extLst/>
          </p:nvPr>
        </p:nvGraphicFramePr>
        <p:xfrm>
          <a:off x="208800" y="1592263"/>
          <a:ext cx="8712587" cy="4608000"/>
        </p:xfrm>
        <a:graphic>
          <a:graphicData uri="http://schemas.openxmlformats.org/drawingml/2006/table">
            <a:tbl>
              <a:tblPr firstRow="1" firstCol="1" bandRow="1">
                <a:tableStyleId>{69012ECD-51FC-41F1-AA8D-1B2483CD663E}</a:tableStyleId>
              </a:tblPr>
              <a:tblGrid>
                <a:gridCol w="670199"/>
                <a:gridCol w="670199"/>
                <a:gridCol w="670199"/>
                <a:gridCol w="670199"/>
                <a:gridCol w="670199"/>
                <a:gridCol w="670199"/>
                <a:gridCol w="670199"/>
                <a:gridCol w="670199"/>
                <a:gridCol w="670199"/>
                <a:gridCol w="670199"/>
                <a:gridCol w="670199"/>
                <a:gridCol w="670199"/>
                <a:gridCol w="670199"/>
              </a:tblGrid>
              <a:tr h="576000">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de-DE" sz="1100" dirty="0" smtClean="0">
                          <a:solidFill>
                            <a:schemeClr val="bg1"/>
                          </a:solidFill>
                        </a:rPr>
                        <a:t>Text</a:t>
                      </a:r>
                      <a:endParaRPr lang="de-DE" sz="1100" dirty="0">
                        <a:solidFill>
                          <a:schemeClr val="bg1"/>
                        </a:solidFill>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solidFill>
                            <a:schemeClr val="bg1"/>
                          </a:solidFill>
                        </a:rPr>
                        <a:t>Text</a:t>
                      </a:r>
                    </a:p>
                  </a:txBody>
                  <a:tcPr marL="72000" marR="72000" marT="36000" marB="36000"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Text</a:t>
                      </a:r>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576000">
                <a:tc>
                  <a:txBody>
                    <a:bodyPr/>
                    <a:lstStyle/>
                    <a:p>
                      <a:pPr algn="ctr"/>
                      <a:r>
                        <a:rPr lang="de-DE" sz="1100" dirty="0" smtClean="0">
                          <a:solidFill>
                            <a:schemeClr val="tx1"/>
                          </a:solidFill>
                        </a:rPr>
                        <a:t>Text</a:t>
                      </a:r>
                      <a:endParaRPr lang="de-DE" sz="1100" dirty="0">
                        <a:solidFill>
                          <a:schemeClr val="tx1"/>
                        </a:solidFill>
                      </a:endParaRPr>
                    </a:p>
                  </a:txBody>
                  <a:tcPr marL="72000" marR="72000" marT="36000" marB="36000" anchor="ctr">
                    <a:lnL w="38100" cap="flat" cmpd="sng" algn="ctr">
                      <a:noFill/>
                      <a:prstDash val="solid"/>
                      <a:round/>
                      <a:headEnd type="none" w="med" len="med"/>
                      <a:tailEnd type="none" w="med" len="med"/>
                    </a:lnL>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noFill/>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c>
                  <a:txBody>
                    <a:bodyPr/>
                    <a:lstStyle/>
                    <a:p>
                      <a:pPr algn="ctr"/>
                      <a:r>
                        <a:rPr lang="de-DE" sz="1100" dirty="0" smtClean="0"/>
                        <a:t>Text</a:t>
                      </a:r>
                      <a:endParaRPr lang="de-DE" sz="1100" dirty="0"/>
                    </a:p>
                  </a:txBody>
                  <a:tcPr marL="72000" marR="72000" marT="36000" marB="36000" anchor="ctr">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58723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Table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5" name="Group 135"/>
          <p:cNvGraphicFramePr>
            <a:graphicFrameLocks noGrp="1"/>
          </p:cNvGraphicFramePr>
          <p:nvPr>
            <p:extLst/>
          </p:nvPr>
        </p:nvGraphicFramePr>
        <p:xfrm>
          <a:off x="1476375" y="1592263"/>
          <a:ext cx="6191250" cy="4593384"/>
        </p:xfrm>
        <a:graphic>
          <a:graphicData uri="http://schemas.openxmlformats.org/drawingml/2006/table">
            <a:tbl>
              <a:tblPr/>
              <a:tblGrid>
                <a:gridCol w="1547813"/>
                <a:gridCol w="1547812"/>
                <a:gridCol w="1547813"/>
                <a:gridCol w="1547812"/>
              </a:tblGrid>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chemeClr val="bg1"/>
                        </a:solidFill>
                        <a:effectLst/>
                        <a:latin typeface="Arial" pitchFamily="34" charset="0"/>
                      </a:endParaRPr>
                    </a:p>
                  </a:txBody>
                  <a:tcPr marL="72000" marR="72000" marT="36000" marB="36000" anchor="ctr" horzOverflow="overflow">
                    <a:lnL cap="flat">
                      <a:noFill/>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1" i="0" u="none" strike="noStrike" cap="none" normalizeH="0" baseline="0" dirty="0" smtClean="0">
                          <a:ln>
                            <a:noFill/>
                          </a:ln>
                          <a:solidFill>
                            <a:schemeClr val="bg1"/>
                          </a:solidFill>
                          <a:effectLst/>
                          <a:latin typeface="Arial" pitchFamily="34" charset="0"/>
                        </a:rPr>
                        <a:t>Text</a:t>
                      </a:r>
                    </a:p>
                  </a:txBody>
                  <a:tcPr marL="72000" marR="72000" marT="36000" marB="36000"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cap="flat">
                      <a:noFill/>
                    </a:lnT>
                    <a:lnB w="9525" cap="flat" cmpd="sng" algn="ctr">
                      <a:noFill/>
                      <a:prstDash val="solid"/>
                      <a:round/>
                      <a:headEnd type="none" w="med" len="med"/>
                      <a:tailEnd type="none" w="med" len="med"/>
                    </a:lnB>
                    <a:lnTlToBr>
                      <a:noFill/>
                    </a:lnTlToBr>
                    <a:lnBlToTr>
                      <a:noFill/>
                    </a:lnBlToTr>
                    <a:solidFill>
                      <a:schemeClr val="accent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ru-RU"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lvl1pPr algn="l">
                        <a:defRPr sz="1400">
                          <a:solidFill>
                            <a:srgbClr val="000000"/>
                          </a:solidFill>
                          <a:latin typeface="Arial" pitchFamily="34" charset="0"/>
                        </a:defRPr>
                      </a:lvl1pPr>
                      <a:lvl2pPr marL="361950" algn="l">
                        <a:defRPr sz="1400">
                          <a:solidFill>
                            <a:srgbClr val="000000"/>
                          </a:solidFill>
                          <a:latin typeface="Arial" pitchFamily="34" charset="0"/>
                        </a:defRPr>
                      </a:lvl2pPr>
                      <a:lvl3pPr marL="719138" algn="l">
                        <a:defRPr sz="1400">
                          <a:solidFill>
                            <a:srgbClr val="000000"/>
                          </a:solidFill>
                          <a:latin typeface="Arial" pitchFamily="34" charset="0"/>
                        </a:defRPr>
                      </a:lvl3pPr>
                      <a:lvl4pPr marL="1079500" algn="l">
                        <a:defRPr sz="1400">
                          <a:solidFill>
                            <a:srgbClr val="000000"/>
                          </a:solidFill>
                          <a:latin typeface="Arial" pitchFamily="34" charset="0"/>
                        </a:defRPr>
                      </a:lvl4pPr>
                      <a:lvl5pPr marL="1436688" algn="l">
                        <a:defRPr sz="1400">
                          <a:solidFill>
                            <a:srgbClr val="000000"/>
                          </a:solidFill>
                          <a:latin typeface="Arial" pitchFamily="34" charset="0"/>
                        </a:defRPr>
                      </a:lvl5pPr>
                      <a:lvl6pPr marL="18938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6pPr>
                      <a:lvl7pPr marL="23510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7pPr>
                      <a:lvl8pPr marL="28082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8pPr>
                      <a:lvl9pPr marL="3265488" fontAlgn="base">
                        <a:spcBef>
                          <a:spcPct val="50000"/>
                        </a:spcBef>
                        <a:spcAft>
                          <a:spcPct val="0"/>
                        </a:spcAft>
                        <a:buClr>
                          <a:schemeClr val="tx2"/>
                        </a:buClr>
                        <a:buSzPct val="70000"/>
                        <a:buFont typeface="Wingdings" pitchFamily="2" charset="2"/>
                        <a:defRPr sz="1400">
                          <a:solidFill>
                            <a:srgbClr val="000000"/>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510376">
                <a:tc>
                  <a:txBody>
                    <a:bodyPr/>
                    <a:lstStyle/>
                    <a:p>
                      <a:pPr marL="0" marR="0" lvl="0" indent="0" algn="l"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r>
                        <a:rPr kumimoji="0" lang="en-US" altLang="de-DE" sz="1400" b="0" i="0" u="none" strike="noStrike" cap="none" normalizeH="0" baseline="0" dirty="0" smtClean="0">
                          <a:ln>
                            <a:noFill/>
                          </a:ln>
                          <a:solidFill>
                            <a:srgbClr val="000000"/>
                          </a:solidFill>
                          <a:effectLst/>
                          <a:latin typeface="Arial" pitchFamily="34" charset="0"/>
                        </a:rPr>
                        <a:t>Text</a:t>
                      </a:r>
                    </a:p>
                  </a:txBody>
                  <a:tcPr marL="72000" marR="72000" marT="36000" marB="36000" anchor="ctr" horzOverflow="overflow">
                    <a:lnL cap="flat">
                      <a:noFill/>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50000"/>
                        </a:spcBef>
                        <a:spcAft>
                          <a:spcPct val="0"/>
                        </a:spcAft>
                        <a:buClr>
                          <a:schemeClr val="tx2"/>
                        </a:buClr>
                        <a:buSzPct val="70000"/>
                        <a:buFont typeface="Wingdings" pitchFamily="2" charset="2"/>
                        <a:buNone/>
                        <a:tabLst/>
                      </a:pPr>
                      <a:endParaRPr kumimoji="0" lang="en-US" altLang="de-DE" sz="1400" b="1" i="0" u="none" strike="noStrike" cap="none" normalizeH="0" baseline="0" dirty="0" smtClean="0">
                        <a:ln>
                          <a:noFill/>
                        </a:ln>
                        <a:solidFill>
                          <a:srgbClr val="000000"/>
                        </a:solidFill>
                        <a:effectLst/>
                        <a:latin typeface="Arial" pitchFamily="34" charset="0"/>
                      </a:endParaRPr>
                    </a:p>
                  </a:txBody>
                  <a:tcPr marL="72000" marR="72000" marT="36000" marB="36000" anchor="ctr" horzOverflow="overflow">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817573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a:t>
            </a:r>
            <a:endParaRPr lang="en-US" dirty="0"/>
          </a:p>
        </p:txBody>
      </p:sp>
      <p:sp>
        <p:nvSpPr>
          <p:cNvPr id="35" name="Picture Placeholder 34"/>
          <p:cNvSpPr>
            <a:spLocks noGrp="1"/>
          </p:cNvSpPr>
          <p:nvPr>
            <p:ph type="pic" sz="quarter" idx="13"/>
          </p:nvPr>
        </p:nvSpPr>
        <p:spPr/>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38" name="Table 37"/>
          <p:cNvGraphicFramePr>
            <a:graphicFrameLocks noGrp="1"/>
          </p:cNvGraphicFramePr>
          <p:nvPr>
            <p:extLst/>
          </p:nvPr>
        </p:nvGraphicFramePr>
        <p:xfrm>
          <a:off x="1476373" y="1592262"/>
          <a:ext cx="6179486" cy="4608513"/>
        </p:xfrm>
        <a:graphic>
          <a:graphicData uri="http://schemas.openxmlformats.org/drawingml/2006/table">
            <a:tbl>
              <a:tblPr firstRow="1" bandRow="1">
                <a:tableStyleId>{5C22544A-7EE6-4342-B048-85BDC9FD1C3A}</a:tableStyleId>
              </a:tblPr>
              <a:tblGrid>
                <a:gridCol w="1174256"/>
                <a:gridCol w="5005230"/>
              </a:tblGrid>
              <a:tr h="512057">
                <a:tc>
                  <a:txBody>
                    <a:bodyPr/>
                    <a:lstStyle/>
                    <a:p>
                      <a:r>
                        <a:rPr lang="en-US" sz="1200" b="1" dirty="0" smtClean="0">
                          <a:solidFill>
                            <a:schemeClr val="accent1"/>
                          </a:solidFill>
                        </a:rPr>
                        <a:t>Text </a:t>
                      </a:r>
                      <a:endParaRPr lang="en-US" sz="1200" b="1" dirty="0">
                        <a:solidFill>
                          <a:schemeClr val="accent1"/>
                        </a:solidFill>
                      </a:endParaRP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r>
                        <a:rPr lang="en-US" sz="1000" b="0" dirty="0" smtClean="0">
                          <a:solidFill>
                            <a:schemeClr val="tx1"/>
                          </a:solidFill>
                        </a:rPr>
                        <a:t>Text</a:t>
                      </a:r>
                      <a:endParaRPr lang="en-US" sz="1000" b="0" dirty="0">
                        <a:solidFill>
                          <a:schemeClr val="tx1"/>
                        </a:solidFill>
                      </a:endParaRP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5120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ext</a:t>
                      </a:r>
                    </a:p>
                  </a:txBody>
                  <a:tcPr marL="72000" marR="72000" marT="72000" marB="72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Text</a:t>
                      </a:r>
                    </a:p>
                  </a:txBody>
                  <a:tcPr marL="72000" marR="72000" marT="72000" marB="72000">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89619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9" name="Inhaltsplatzhalter 7"/>
          <p:cNvGraphicFramePr>
            <a:graphicFrameLocks/>
          </p:cNvGraphicFramePr>
          <p:nvPr>
            <p:extLst/>
          </p:nvPr>
        </p:nvGraphicFramePr>
        <p:xfrm>
          <a:off x="1331913" y="2314563"/>
          <a:ext cx="7596187" cy="398762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50"/>
          <p:cNvSpPr>
            <a:spLocks noChangeArrowheads="1"/>
          </p:cNvSpPr>
          <p:nvPr/>
        </p:nvSpPr>
        <p:spPr bwMode="auto">
          <a:xfrm>
            <a:off x="1562251" y="3911575"/>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362</a:t>
            </a:r>
          </a:p>
        </p:txBody>
      </p:sp>
      <p:sp>
        <p:nvSpPr>
          <p:cNvPr id="12" name="Rectangle 54"/>
          <p:cNvSpPr>
            <a:spLocks noChangeArrowheads="1"/>
          </p:cNvSpPr>
          <p:nvPr/>
        </p:nvSpPr>
        <p:spPr bwMode="auto">
          <a:xfrm>
            <a:off x="2126867" y="3764269"/>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610</a:t>
            </a:r>
          </a:p>
        </p:txBody>
      </p:sp>
      <p:sp>
        <p:nvSpPr>
          <p:cNvPr id="13" name="Rectangle 58"/>
          <p:cNvSpPr>
            <a:spLocks noChangeArrowheads="1"/>
          </p:cNvSpPr>
          <p:nvPr/>
        </p:nvSpPr>
        <p:spPr bwMode="auto">
          <a:xfrm>
            <a:off x="2691483" y="3589129"/>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74</a:t>
            </a:r>
          </a:p>
        </p:txBody>
      </p:sp>
      <p:sp>
        <p:nvSpPr>
          <p:cNvPr id="14" name="Rectangle 62"/>
          <p:cNvSpPr>
            <a:spLocks noChangeArrowheads="1"/>
          </p:cNvSpPr>
          <p:nvPr/>
        </p:nvSpPr>
        <p:spPr bwMode="auto">
          <a:xfrm>
            <a:off x="3256099" y="3502596"/>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43</a:t>
            </a:r>
          </a:p>
        </p:txBody>
      </p:sp>
      <p:sp>
        <p:nvSpPr>
          <p:cNvPr id="15" name="Rectangle 66"/>
          <p:cNvSpPr>
            <a:spLocks noChangeArrowheads="1"/>
          </p:cNvSpPr>
          <p:nvPr/>
        </p:nvSpPr>
        <p:spPr bwMode="auto">
          <a:xfrm>
            <a:off x="3820715" y="3633834"/>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2'825</a:t>
            </a:r>
          </a:p>
        </p:txBody>
      </p:sp>
      <p:sp>
        <p:nvSpPr>
          <p:cNvPr id="16" name="Rectangle 70"/>
          <p:cNvSpPr>
            <a:spLocks noChangeArrowheads="1"/>
          </p:cNvSpPr>
          <p:nvPr/>
        </p:nvSpPr>
        <p:spPr bwMode="auto">
          <a:xfrm>
            <a:off x="4385331" y="3489896"/>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059</a:t>
            </a:r>
          </a:p>
        </p:txBody>
      </p:sp>
      <p:sp>
        <p:nvSpPr>
          <p:cNvPr id="17" name="Rectangle 74"/>
          <p:cNvSpPr>
            <a:spLocks noChangeArrowheads="1"/>
          </p:cNvSpPr>
          <p:nvPr/>
        </p:nvSpPr>
        <p:spPr bwMode="auto">
          <a:xfrm>
            <a:off x="4949947" y="3344722"/>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302</a:t>
            </a:r>
          </a:p>
        </p:txBody>
      </p:sp>
      <p:sp>
        <p:nvSpPr>
          <p:cNvPr id="18" name="Rectangle 78"/>
          <p:cNvSpPr>
            <a:spLocks noChangeArrowheads="1"/>
          </p:cNvSpPr>
          <p:nvPr/>
        </p:nvSpPr>
        <p:spPr bwMode="auto">
          <a:xfrm>
            <a:off x="5514563" y="3179106"/>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542</a:t>
            </a:r>
          </a:p>
        </p:txBody>
      </p:sp>
      <p:sp>
        <p:nvSpPr>
          <p:cNvPr id="19" name="Rectangle 82"/>
          <p:cNvSpPr>
            <a:spLocks noChangeArrowheads="1"/>
          </p:cNvSpPr>
          <p:nvPr/>
        </p:nvSpPr>
        <p:spPr bwMode="auto">
          <a:xfrm>
            <a:off x="6074417" y="3015336"/>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3'805</a:t>
            </a:r>
          </a:p>
        </p:txBody>
      </p:sp>
      <p:sp>
        <p:nvSpPr>
          <p:cNvPr id="20" name="Rectangle 86"/>
          <p:cNvSpPr>
            <a:spLocks noChangeArrowheads="1"/>
          </p:cNvSpPr>
          <p:nvPr/>
        </p:nvSpPr>
        <p:spPr bwMode="auto">
          <a:xfrm>
            <a:off x="6639033" y="2830391"/>
            <a:ext cx="376706" cy="18466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spAutoFit/>
          </a:bodyPr>
          <a:lstStyle/>
          <a:p>
            <a:r>
              <a:rPr lang="en-GB" altLang="de-DE" sz="1200" b="1" dirty="0">
                <a:solidFill>
                  <a:srgbClr val="000000"/>
                </a:solidFill>
              </a:rPr>
              <a:t>4'072</a:t>
            </a:r>
          </a:p>
        </p:txBody>
      </p:sp>
      <p:sp>
        <p:nvSpPr>
          <p:cNvPr id="21" name="Rectangle 90"/>
          <p:cNvSpPr>
            <a:spLocks noChangeArrowheads="1"/>
          </p:cNvSpPr>
          <p:nvPr/>
        </p:nvSpPr>
        <p:spPr bwMode="auto">
          <a:xfrm>
            <a:off x="7203653" y="2681384"/>
            <a:ext cx="376706"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GB" altLang="de-DE" sz="1200" b="1" dirty="0">
                <a:solidFill>
                  <a:srgbClr val="000000"/>
                </a:solidFill>
              </a:rPr>
              <a:t>4'316</a:t>
            </a:r>
            <a:endParaRPr lang="en-GB" altLang="de-DE" sz="1200" b="1" dirty="0"/>
          </a:p>
        </p:txBody>
      </p:sp>
      <p:cxnSp>
        <p:nvCxnSpPr>
          <p:cNvPr id="22" name="Straight Arrow Connector 21"/>
          <p:cNvCxnSpPr/>
          <p:nvPr/>
        </p:nvCxnSpPr>
        <p:spPr bwMode="gray">
          <a:xfrm flipV="1">
            <a:off x="1562251" y="2860560"/>
            <a:ext cx="3024415" cy="318546"/>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gray">
          <a:xfrm>
            <a:off x="2678458" y="2875833"/>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a:t>
            </a:r>
            <a:r>
              <a:rPr lang="en-US" sz="1200" b="1" dirty="0" smtClean="0">
                <a:solidFill>
                  <a:schemeClr val="bg1"/>
                </a:solidFill>
                <a:latin typeface="Arial" pitchFamily="34" charset="0"/>
                <a:cs typeface="Arial" pitchFamily="34" charset="0"/>
              </a:rPr>
              <a:t>5.3% pa</a:t>
            </a:r>
            <a:endParaRPr lang="en-US" sz="1200" b="1" dirty="0">
              <a:solidFill>
                <a:schemeClr val="bg1"/>
              </a:solidFill>
              <a:latin typeface="Arial" pitchFamily="34" charset="0"/>
              <a:cs typeface="Arial" pitchFamily="34" charset="0"/>
            </a:endParaRPr>
          </a:p>
        </p:txBody>
      </p:sp>
      <p:cxnSp>
        <p:nvCxnSpPr>
          <p:cNvPr id="24" name="Straight Arrow Connector 23"/>
          <p:cNvCxnSpPr/>
          <p:nvPr/>
        </p:nvCxnSpPr>
        <p:spPr bwMode="gray">
          <a:xfrm flipV="1">
            <a:off x="4643438" y="2556418"/>
            <a:ext cx="2936921" cy="288032"/>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Oval 25"/>
          <p:cNvSpPr>
            <a:spLocks noChangeArrowheads="1"/>
          </p:cNvSpPr>
          <p:nvPr/>
        </p:nvSpPr>
        <p:spPr bwMode="auto">
          <a:xfrm>
            <a:off x="1480071" y="1773238"/>
            <a:ext cx="2155825" cy="396000"/>
          </a:xfrm>
          <a:prstGeom prst="homePlate">
            <a:avLst>
              <a:gd name="adj" fmla="val 30183"/>
            </a:avLst>
          </a:prstGeom>
          <a:solidFill>
            <a:schemeClr val="tx2"/>
          </a:solidFill>
          <a:ln w="9525">
            <a:noFill/>
            <a:round/>
            <a:headEnd/>
            <a:tailEnd/>
          </a:ln>
        </p:spPr>
        <p:txBody>
          <a:bodyPr wrap="none" lIns="108014" tIns="72009" rIns="108014" bIns="72009" anchor="ctr"/>
          <a:lstStyle/>
          <a:p>
            <a:pPr>
              <a:buClrTx/>
              <a:defRPr/>
            </a:pPr>
            <a:r>
              <a:rPr lang="de-CH" sz="1200" b="1" dirty="0">
                <a:solidFill>
                  <a:schemeClr val="bg1"/>
                </a:solidFill>
                <a:latin typeface="Arial" charset="0"/>
                <a:cs typeface="Arial" charset="0"/>
              </a:rPr>
              <a:t>CAGR 2005-08: +8.8% </a:t>
            </a:r>
          </a:p>
        </p:txBody>
      </p:sp>
      <p:sp>
        <p:nvSpPr>
          <p:cNvPr id="26" name="Rectangle 25"/>
          <p:cNvSpPr/>
          <p:nvPr/>
        </p:nvSpPr>
        <p:spPr bwMode="gray">
          <a:xfrm>
            <a:off x="5715898" y="2556434"/>
            <a:ext cx="792000" cy="28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spcBef>
                <a:spcPts val="1100"/>
              </a:spcBef>
              <a:buClr>
                <a:schemeClr val="tx2"/>
              </a:buClr>
              <a:buSzPct val="70000"/>
            </a:pPr>
            <a:r>
              <a:rPr lang="en-US" sz="1200" b="1" dirty="0">
                <a:solidFill>
                  <a:schemeClr val="bg1"/>
                </a:solidFill>
                <a:latin typeface="Arial" pitchFamily="34" charset="0"/>
                <a:cs typeface="Arial" pitchFamily="34" charset="0"/>
              </a:rPr>
              <a:t>+7.1% pa</a:t>
            </a:r>
          </a:p>
        </p:txBody>
      </p:sp>
    </p:spTree>
    <p:extLst>
      <p:ext uri="{BB962C8B-B14F-4D97-AF65-F5344CB8AC3E}">
        <p14:creationId xmlns:p14="http://schemas.microsoft.com/office/powerpoint/2010/main" val="4199597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s</a:t>
            </a:r>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27" name="Inhaltsplatzhalter 6"/>
          <p:cNvGraphicFramePr>
            <a:graphicFrameLocks/>
          </p:cNvGraphicFramePr>
          <p:nvPr>
            <p:extLst/>
          </p:nvPr>
        </p:nvGraphicFramePr>
        <p:xfrm>
          <a:off x="1331913" y="1620836"/>
          <a:ext cx="7451725" cy="48409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5131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ram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8" name="Rectangle 7"/>
          <p:cNvSpPr/>
          <p:nvPr/>
        </p:nvSpPr>
        <p:spPr bwMode="gray">
          <a:xfrm>
            <a:off x="4643438" y="2249470"/>
            <a:ext cx="3024188" cy="7232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de-DE" sz="1400" dirty="0" smtClean="0">
                <a:solidFill>
                  <a:schemeClr val="tx1"/>
                </a:solidFill>
                <a:latin typeface="Arial" pitchFamily="34" charset="0"/>
                <a:cs typeface="Arial" pitchFamily="34" charset="0"/>
              </a:rPr>
              <a:t>Text</a:t>
            </a:r>
            <a:endParaRPr lang="en-US" sz="1400" dirty="0" err="1" smtClean="0">
              <a:solidFill>
                <a:schemeClr val="tx1"/>
              </a:solidFill>
              <a:latin typeface="Arial" pitchFamily="34" charset="0"/>
              <a:cs typeface="Arial" pitchFamily="34" charset="0"/>
            </a:endParaRPr>
          </a:p>
        </p:txBody>
      </p:sp>
      <p:graphicFrame>
        <p:nvGraphicFramePr>
          <p:cNvPr id="14" name="Chart 13"/>
          <p:cNvGraphicFramePr/>
          <p:nvPr>
            <p:extLst/>
          </p:nvPr>
        </p:nvGraphicFramePr>
        <p:xfrm>
          <a:off x="1514302" y="1928813"/>
          <a:ext cx="3024188" cy="4150995"/>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bwMode="gray">
          <a:xfrm>
            <a:off x="4643437"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8" name="Straight Connector 17"/>
          <p:cNvCxnSpPr/>
          <p:nvPr/>
        </p:nvCxnSpPr>
        <p:spPr bwMode="gray">
          <a:xfrm>
            <a:off x="4643437"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gray">
          <a:xfrm>
            <a:off x="1476375" y="1592263"/>
            <a:ext cx="3024188"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p>
        </p:txBody>
      </p:sp>
      <p:cxnSp>
        <p:nvCxnSpPr>
          <p:cNvPr id="15" name="Straight Connector 14"/>
          <p:cNvCxnSpPr/>
          <p:nvPr/>
        </p:nvCxnSpPr>
        <p:spPr bwMode="gray">
          <a:xfrm>
            <a:off x="1476375" y="1928813"/>
            <a:ext cx="30241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8711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1" name="Rectangle 40"/>
          <p:cNvSpPr/>
          <p:nvPr/>
        </p:nvSpPr>
        <p:spPr bwMode="gray">
          <a:xfrm>
            <a:off x="7516757"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a:t>Schematic drawings</a:t>
            </a:r>
            <a:endParaRPr lang="de-DE" dirty="0"/>
          </a:p>
        </p:txBody>
      </p:sp>
      <p:sp>
        <p:nvSpPr>
          <p:cNvPr id="3" name="Date Placeholder 2"/>
          <p:cNvSpPr>
            <a:spLocks noGrp="1"/>
          </p:cNvSpPr>
          <p:nvPr>
            <p:ph type="dt" sz="half" idx="10"/>
          </p:nvPr>
        </p:nvSpPr>
        <p:spPr/>
        <p:txBody>
          <a:bodyPr/>
          <a:lstStyle/>
          <a:p>
            <a:r>
              <a:rPr lang="de-DE" smtClean="0"/>
              <a:t>Month DD, YYYY</a:t>
            </a:r>
            <a:endParaRPr lang="de-DE" dirty="0"/>
          </a:p>
        </p:txBody>
      </p:sp>
      <p:sp>
        <p:nvSpPr>
          <p:cNvPr id="9" name="Rectangle 8"/>
          <p:cNvSpPr/>
          <p:nvPr/>
        </p:nvSpPr>
        <p:spPr bwMode="gray">
          <a:xfrm>
            <a:off x="2087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17" name="Rectangle 16"/>
          <p:cNvSpPr/>
          <p:nvPr/>
        </p:nvSpPr>
        <p:spPr bwMode="gray">
          <a:xfrm>
            <a:off x="3131956" y="2734826"/>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30" name="Rectangle 29"/>
          <p:cNvSpPr/>
          <p:nvPr/>
        </p:nvSpPr>
        <p:spPr bwMode="gray">
          <a:xfrm>
            <a:off x="45935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cxnSp>
        <p:nvCxnSpPr>
          <p:cNvPr id="11" name="Straight Connector 10"/>
          <p:cNvCxnSpPr/>
          <p:nvPr/>
        </p:nvCxnSpPr>
        <p:spPr bwMode="gray">
          <a:xfrm>
            <a:off x="208756" y="1952264"/>
            <a:ext cx="871200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bwMode="gray">
          <a:xfrm>
            <a:off x="208755" y="1592263"/>
            <a:ext cx="8712001"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spcAft>
                <a:spcPct val="0"/>
              </a:spcAft>
              <a:buClr>
                <a:schemeClr val="tx2"/>
              </a:buClr>
              <a:buSzPct val="70000"/>
            </a:pPr>
            <a:r>
              <a:rPr lang="de-DE" sz="1000" b="1" dirty="0" smtClean="0">
                <a:solidFill>
                  <a:schemeClr val="accent1"/>
                </a:solidFill>
                <a:latin typeface="Arial" pitchFamily="34" charset="0"/>
                <a:cs typeface="Arial" pitchFamily="34" charset="0"/>
              </a:rPr>
              <a:t>Text</a:t>
            </a:r>
            <a:br>
              <a:rPr lang="de-DE" sz="1000" b="1" dirty="0" smtClean="0">
                <a:solidFill>
                  <a:schemeClr val="accent1"/>
                </a:solidFill>
                <a:latin typeface="Arial" pitchFamily="34" charset="0"/>
                <a:cs typeface="Arial" pitchFamily="34" charset="0"/>
              </a:rPr>
            </a:br>
            <a:r>
              <a:rPr lang="de-DE" sz="1000" dirty="0" err="1" smtClean="0">
                <a:solidFill>
                  <a:schemeClr val="accent1"/>
                </a:solidFill>
                <a:latin typeface="Arial" pitchFamily="34" charset="0"/>
                <a:cs typeface="Arial" pitchFamily="34" charset="0"/>
              </a:rPr>
              <a:t>Text</a:t>
            </a:r>
            <a:endParaRPr lang="de-DE" sz="1000" dirty="0">
              <a:solidFill>
                <a:schemeClr val="accent1"/>
              </a:solidFill>
              <a:latin typeface="Arial" pitchFamily="34" charset="0"/>
              <a:cs typeface="Arial" pitchFamily="34" charset="0"/>
            </a:endParaRPr>
          </a:p>
        </p:txBody>
      </p:sp>
      <p:sp>
        <p:nvSpPr>
          <p:cNvPr id="37" name="Rectangle 36"/>
          <p:cNvSpPr/>
          <p:nvPr/>
        </p:nvSpPr>
        <p:spPr bwMode="gray">
          <a:xfrm>
            <a:off x="16703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8" name="Rectangle 37"/>
          <p:cNvSpPr/>
          <p:nvPr/>
        </p:nvSpPr>
        <p:spPr bwMode="gray">
          <a:xfrm>
            <a:off x="31319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39" name="Rectangle 38"/>
          <p:cNvSpPr/>
          <p:nvPr/>
        </p:nvSpPr>
        <p:spPr bwMode="gray">
          <a:xfrm>
            <a:off x="45935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0" name="Rectangle 39"/>
          <p:cNvSpPr/>
          <p:nvPr/>
        </p:nvSpPr>
        <p:spPr bwMode="gray">
          <a:xfrm>
            <a:off x="6055156" y="2026745"/>
            <a:ext cx="1404000" cy="6336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a:t>
            </a:r>
            <a:endParaRPr lang="de-DE" sz="900" dirty="0">
              <a:solidFill>
                <a:schemeClr val="bg1"/>
              </a:solidFill>
              <a:latin typeface="Arial" pitchFamily="34" charset="0"/>
              <a:cs typeface="Arial" pitchFamily="34" charset="0"/>
            </a:endParaRPr>
          </a:p>
        </p:txBody>
      </p:sp>
      <p:sp>
        <p:nvSpPr>
          <p:cNvPr id="42" name="Rectangle 41"/>
          <p:cNvSpPr/>
          <p:nvPr/>
        </p:nvSpPr>
        <p:spPr bwMode="gray">
          <a:xfrm>
            <a:off x="3131956" y="3442907"/>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3" name="Rectangle 42"/>
          <p:cNvSpPr/>
          <p:nvPr/>
        </p:nvSpPr>
        <p:spPr bwMode="gray">
          <a:xfrm>
            <a:off x="3131956" y="4150988"/>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4" name="Rectangle 43"/>
          <p:cNvSpPr/>
          <p:nvPr/>
        </p:nvSpPr>
        <p:spPr bwMode="gray">
          <a:xfrm>
            <a:off x="3131956" y="4859069"/>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5" name="Rectangle 44"/>
          <p:cNvSpPr/>
          <p:nvPr/>
        </p:nvSpPr>
        <p:spPr bwMode="gray">
          <a:xfrm>
            <a:off x="3131956" y="5567150"/>
            <a:ext cx="1404000" cy="6336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bg1"/>
                </a:solidFill>
                <a:latin typeface="Arial" pitchFamily="34" charset="0"/>
                <a:cs typeface="Arial" pitchFamily="34" charset="0"/>
              </a:rPr>
              <a:t>Text</a:t>
            </a:r>
          </a:p>
          <a:p>
            <a:pPr>
              <a:spcBef>
                <a:spcPts val="200"/>
              </a:spcBef>
              <a:buClr>
                <a:schemeClr val="tx2"/>
              </a:buClr>
              <a:buSzPct val="70000"/>
            </a:pPr>
            <a:r>
              <a:rPr lang="de-DE" sz="900" dirty="0" smtClean="0">
                <a:solidFill>
                  <a:schemeClr val="bg1"/>
                </a:solidFill>
                <a:latin typeface="Arial" pitchFamily="34" charset="0"/>
                <a:cs typeface="Arial" pitchFamily="34" charset="0"/>
              </a:rPr>
              <a:t>Text </a:t>
            </a:r>
            <a:endParaRPr lang="de-DE" sz="900" dirty="0">
              <a:solidFill>
                <a:schemeClr val="bg1"/>
              </a:solidFill>
              <a:latin typeface="Arial" pitchFamily="34" charset="0"/>
              <a:cs typeface="Arial" pitchFamily="34" charset="0"/>
            </a:endParaRPr>
          </a:p>
        </p:txBody>
      </p:sp>
      <p:sp>
        <p:nvSpPr>
          <p:cNvPr id="47" name="Rectangle 46"/>
          <p:cNvSpPr/>
          <p:nvPr/>
        </p:nvSpPr>
        <p:spPr bwMode="gray">
          <a:xfrm>
            <a:off x="60551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8" name="Rectangle 47"/>
          <p:cNvSpPr/>
          <p:nvPr/>
        </p:nvSpPr>
        <p:spPr bwMode="gray">
          <a:xfrm>
            <a:off x="7516757"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49" name="Rectangle 48"/>
          <p:cNvSpPr/>
          <p:nvPr/>
        </p:nvSpPr>
        <p:spPr bwMode="gray">
          <a:xfrm>
            <a:off x="7516757"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0" name="Rectangle 49"/>
          <p:cNvSpPr/>
          <p:nvPr/>
        </p:nvSpPr>
        <p:spPr bwMode="gray">
          <a:xfrm>
            <a:off x="7516757" y="3968750"/>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1" name="Rectangle 50"/>
          <p:cNvSpPr/>
          <p:nvPr/>
        </p:nvSpPr>
        <p:spPr bwMode="gray">
          <a:xfrm>
            <a:off x="7516757"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2" name="Rectangle 51"/>
          <p:cNvSpPr/>
          <p:nvPr/>
        </p:nvSpPr>
        <p:spPr bwMode="gray">
          <a:xfrm>
            <a:off x="208755"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3" name="Rectangle 52"/>
          <p:cNvSpPr/>
          <p:nvPr/>
        </p:nvSpPr>
        <p:spPr bwMode="gray">
          <a:xfrm>
            <a:off x="1670356" y="2734826"/>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4" name="Rectangle 53"/>
          <p:cNvSpPr/>
          <p:nvPr/>
        </p:nvSpPr>
        <p:spPr bwMode="gray">
          <a:xfrm>
            <a:off x="208755"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5" name="Rectangle 54"/>
          <p:cNvSpPr/>
          <p:nvPr/>
        </p:nvSpPr>
        <p:spPr bwMode="gray">
          <a:xfrm>
            <a:off x="1670356" y="3442907"/>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6" name="Rectangle 55"/>
          <p:cNvSpPr/>
          <p:nvPr/>
        </p:nvSpPr>
        <p:spPr bwMode="gray">
          <a:xfrm>
            <a:off x="208755"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7" name="Rectangle 56"/>
          <p:cNvSpPr/>
          <p:nvPr/>
        </p:nvSpPr>
        <p:spPr bwMode="gray">
          <a:xfrm>
            <a:off x="1670356" y="4150988"/>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8" name="Rectangle 57"/>
          <p:cNvSpPr/>
          <p:nvPr/>
        </p:nvSpPr>
        <p:spPr bwMode="gray">
          <a:xfrm>
            <a:off x="208755"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
        <p:nvSpPr>
          <p:cNvPr id="59" name="Rectangle 58"/>
          <p:cNvSpPr/>
          <p:nvPr/>
        </p:nvSpPr>
        <p:spPr bwMode="gray">
          <a:xfrm>
            <a:off x="1670356" y="4859069"/>
            <a:ext cx="1404000" cy="6336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t" anchorCtr="0" forceAA="0" compatLnSpc="1">
            <a:prstTxWarp prst="textNoShape">
              <a:avLst/>
            </a:prstTxWarp>
            <a:noAutofit/>
          </a:bodyPr>
          <a:lstStyle/>
          <a:p>
            <a:pPr>
              <a:spcBef>
                <a:spcPts val="200"/>
              </a:spcBef>
              <a:buClr>
                <a:schemeClr val="tx2"/>
              </a:buClr>
              <a:buSzPct val="70000"/>
            </a:pPr>
            <a:r>
              <a:rPr lang="de-DE" sz="900" b="1" dirty="0" smtClean="0">
                <a:solidFill>
                  <a:schemeClr val="tx1"/>
                </a:solidFill>
                <a:latin typeface="Arial" pitchFamily="34" charset="0"/>
                <a:cs typeface="Arial" pitchFamily="34" charset="0"/>
              </a:rPr>
              <a:t>Text</a:t>
            </a:r>
          </a:p>
          <a:p>
            <a:pPr>
              <a:spcBef>
                <a:spcPts val="200"/>
              </a:spcBef>
              <a:buClr>
                <a:schemeClr val="tx2"/>
              </a:buClr>
              <a:buSzPct val="70000"/>
            </a:pPr>
            <a:r>
              <a:rPr lang="de-DE" sz="900" dirty="0" smtClean="0">
                <a:solidFill>
                  <a:schemeClr val="tx1"/>
                </a:solidFill>
                <a:latin typeface="Arial" pitchFamily="34" charset="0"/>
                <a:cs typeface="Arial" pitchFamily="34" charset="0"/>
              </a:rPr>
              <a:t>Text</a:t>
            </a:r>
            <a:endParaRPr lang="de-DE" sz="9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255321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tle of presentation</a:t>
            </a:r>
            <a:br>
              <a:rPr lang="en-US" dirty="0" smtClean="0"/>
            </a:br>
            <a:r>
              <a:rPr lang="en-US" dirty="0" smtClean="0">
                <a:solidFill>
                  <a:schemeClr val="accent1"/>
                </a:solidFill>
              </a:rPr>
              <a:t>Presenters</a:t>
            </a:r>
            <a:endParaRPr lang="en-US"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4" name="Picture Placeholder 3"/>
          <p:cNvSpPr>
            <a:spLocks noGrp="1"/>
          </p:cNvSpPr>
          <p:nvPr>
            <p:ph type="pic" sz="quarter" idx="13"/>
          </p:nvPr>
        </p:nvSpPr>
        <p:spPr/>
      </p:sp>
      <p:sp>
        <p:nvSpPr>
          <p:cNvPr id="5" name="Picture Placeholder 4"/>
          <p:cNvSpPr>
            <a:spLocks noGrp="1"/>
          </p:cNvSpPr>
          <p:nvPr>
            <p:ph type="pic" sz="quarter" idx="14"/>
          </p:nvPr>
        </p:nvSpPr>
        <p:spPr/>
      </p:sp>
      <p:sp>
        <p:nvSpPr>
          <p:cNvPr id="6" name="Text Placeholder 5"/>
          <p:cNvSpPr>
            <a:spLocks noGrp="1"/>
          </p:cNvSpPr>
          <p:nvPr>
            <p:ph type="body" sz="quarter" idx="15"/>
          </p:nvPr>
        </p:nvSpPr>
        <p:spPr>
          <a:xfrm>
            <a:off x="2879812" y="1604520"/>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7" name="Text Placeholder 6"/>
          <p:cNvSpPr>
            <a:spLocks noGrp="1"/>
          </p:cNvSpPr>
          <p:nvPr>
            <p:ph type="body" sz="quarter" idx="16"/>
          </p:nvPr>
        </p:nvSpPr>
        <p:spPr>
          <a:xfrm>
            <a:off x="2879812" y="3605915"/>
            <a:ext cx="5256584" cy="1836738"/>
          </a:xfrm>
        </p:spPr>
        <p:txBody>
          <a:bodyPr/>
          <a:lstStyle/>
          <a:p>
            <a:pPr>
              <a:spcBef>
                <a:spcPts val="600"/>
              </a:spcBef>
              <a:spcAft>
                <a:spcPts val="600"/>
              </a:spcAft>
            </a:pPr>
            <a:r>
              <a:rPr lang="en-US" dirty="0">
                <a:latin typeface="Arial" charset="0"/>
              </a:rPr>
              <a:t>Speaker name:		Name here</a:t>
            </a:r>
          </a:p>
          <a:p>
            <a:pPr>
              <a:spcBef>
                <a:spcPts val="600"/>
              </a:spcBef>
              <a:spcAft>
                <a:spcPts val="600"/>
              </a:spcAft>
            </a:pPr>
            <a:r>
              <a:rPr lang="en-US" dirty="0">
                <a:latin typeface="Arial" charset="0"/>
              </a:rPr>
              <a:t>Speaker title:		Title here</a:t>
            </a:r>
          </a:p>
          <a:p>
            <a:pPr>
              <a:spcBef>
                <a:spcPts val="600"/>
              </a:spcBef>
              <a:spcAft>
                <a:spcPts val="600"/>
              </a:spcAft>
            </a:pPr>
            <a:r>
              <a:rPr lang="en-US" dirty="0">
                <a:latin typeface="Arial" charset="0"/>
              </a:rPr>
              <a:t>Company name:	Company name</a:t>
            </a:r>
          </a:p>
          <a:p>
            <a:pPr>
              <a:spcBef>
                <a:spcPts val="600"/>
              </a:spcBef>
              <a:spcAft>
                <a:spcPts val="600"/>
              </a:spcAft>
            </a:pPr>
            <a:r>
              <a:rPr lang="en-US" dirty="0">
                <a:latin typeface="Arial" charset="0"/>
              </a:rPr>
              <a:t>Location:		Location</a:t>
            </a:r>
          </a:p>
          <a:p>
            <a:endParaRPr lang="en-US" dirty="0"/>
          </a:p>
        </p:txBody>
      </p:sp>
      <p:sp>
        <p:nvSpPr>
          <p:cNvPr id="9" name="Rectangle 8"/>
          <p:cNvSpPr/>
          <p:nvPr/>
        </p:nvSpPr>
        <p:spPr bwMode="gray">
          <a:xfrm rot="21042491">
            <a:off x="977460" y="2982609"/>
            <a:ext cx="1678897"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Speaker photos</a:t>
            </a:r>
          </a:p>
        </p:txBody>
      </p:sp>
    </p:spTree>
    <p:extLst>
      <p:ext uri="{BB962C8B-B14F-4D97-AF65-F5344CB8AC3E}">
        <p14:creationId xmlns:p14="http://schemas.microsoft.com/office/powerpoint/2010/main" val="3152539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graphicFrame>
        <p:nvGraphicFramePr>
          <p:cNvPr id="43" name="Table 42"/>
          <p:cNvGraphicFramePr>
            <a:graphicFrameLocks noGrp="1"/>
          </p:cNvGraphicFramePr>
          <p:nvPr>
            <p:extLst/>
          </p:nvPr>
        </p:nvGraphicFramePr>
        <p:xfrm>
          <a:off x="1476376" y="4389710"/>
          <a:ext cx="6191249" cy="1821375"/>
        </p:xfrm>
        <a:graphic>
          <a:graphicData uri="http://schemas.openxmlformats.org/drawingml/2006/table">
            <a:tbl>
              <a:tblPr firstRow="1" bandRow="1">
                <a:tableStyleId>{5C22544A-7EE6-4342-B048-85BDC9FD1C3A}</a:tableStyleId>
              </a:tblPr>
              <a:tblGrid>
                <a:gridCol w="6191249"/>
              </a:tblGrid>
              <a:tr h="364275">
                <a:tc>
                  <a:txBody>
                    <a:bodyPr/>
                    <a:lstStyle/>
                    <a:p>
                      <a:pPr marL="0" marR="0" indent="0" algn="l" defTabSz="914400" rtl="0" eaLnBrk="1" fontAlgn="auto" latinLnBrk="0" hangingPunct="1">
                        <a:lnSpc>
                          <a:spcPct val="100000"/>
                        </a:lnSpc>
                        <a:spcBef>
                          <a:spcPts val="300"/>
                        </a:spcBef>
                        <a:spcAft>
                          <a:spcPts val="0"/>
                        </a:spcAft>
                        <a:buClr>
                          <a:schemeClr val="tx2"/>
                        </a:buClr>
                        <a:buSzPct val="70000"/>
                        <a:buFont typeface="Wingdings" pitchFamily="2" charset="2"/>
                        <a:buNone/>
                        <a:tabLst/>
                        <a:defRPr/>
                      </a:pPr>
                      <a:r>
                        <a:rPr lang="en-US" sz="1400" b="1" dirty="0" smtClean="0">
                          <a:solidFill>
                            <a:schemeClr val="bg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de-DE" sz="1200" b="0" dirty="0" smtClean="0">
                          <a:solidFill>
                            <a:schemeClr val="tx1"/>
                          </a:solidFill>
                        </a:rPr>
                        <a:t>Text</a:t>
                      </a:r>
                      <a:endParaRPr lang="en-US" sz="1200" b="0" dirty="0" smtClean="0">
                        <a:solidFill>
                          <a:schemeClr val="tx1"/>
                        </a:solidFill>
                      </a:endParaRP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r>
              <a:tr h="364275">
                <a:tc>
                  <a:txBody>
                    <a:bodyPr/>
                    <a:lstStyle/>
                    <a:p>
                      <a:pPr marL="180000" marR="0" indent="-180000" algn="l" defTabSz="914400" rtl="0" eaLnBrk="1" fontAlgn="auto" latinLnBrk="0" hangingPunct="1">
                        <a:lnSpc>
                          <a:spcPct val="100000"/>
                        </a:lnSpc>
                        <a:spcBef>
                          <a:spcPts val="300"/>
                        </a:spcBef>
                        <a:spcAft>
                          <a:spcPts val="0"/>
                        </a:spcAft>
                        <a:buClr>
                          <a:schemeClr val="tx2"/>
                        </a:buClr>
                        <a:buSzPct val="70000"/>
                        <a:buFont typeface="Wingdings" pitchFamily="2" charset="2"/>
                        <a:buChar char="§"/>
                        <a:tabLst/>
                        <a:defRPr/>
                      </a:pPr>
                      <a:r>
                        <a:rPr lang="en-US" sz="1200" b="0" dirty="0" smtClean="0">
                          <a:solidFill>
                            <a:schemeClr val="tx1"/>
                          </a:solidFill>
                        </a:rPr>
                        <a:t>Text</a:t>
                      </a:r>
                    </a:p>
                  </a:txBody>
                  <a:tcPr marL="72000" marR="72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8100" cap="flat" cmpd="sng" algn="ctr">
                      <a:solidFill>
                        <a:schemeClr val="accent4"/>
                      </a:solidFill>
                      <a:prstDash val="solid"/>
                      <a:round/>
                      <a:headEnd type="none" w="med" len="med"/>
                      <a:tailEnd type="none" w="med" len="med"/>
                    </a:lnB>
                    <a:solidFill>
                      <a:schemeClr val="bg1"/>
                    </a:solidFill>
                  </a:tcPr>
                </a:tc>
              </a:tr>
            </a:tbl>
          </a:graphicData>
        </a:graphic>
      </p:graphicFrame>
      <p:sp>
        <p:nvSpPr>
          <p:cNvPr id="10" name="Snip Diagonal Corner Rectangle 9"/>
          <p:cNvSpPr>
            <a:spLocks noChangeAspect="1"/>
          </p:cNvSpPr>
          <p:nvPr/>
        </p:nvSpPr>
        <p:spPr bwMode="gray">
          <a:xfrm>
            <a:off x="147637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1" name="Snip Diagonal Corner Rectangle 10"/>
          <p:cNvSpPr>
            <a:spLocks noChangeAspect="1"/>
          </p:cNvSpPr>
          <p:nvPr/>
        </p:nvSpPr>
        <p:spPr bwMode="gray">
          <a:xfrm>
            <a:off x="350209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
        <p:nvSpPr>
          <p:cNvPr id="12" name="Snip Diagonal Corner Rectangle 11"/>
          <p:cNvSpPr>
            <a:spLocks noChangeAspect="1"/>
          </p:cNvSpPr>
          <p:nvPr/>
        </p:nvSpPr>
        <p:spPr bwMode="gray">
          <a:xfrm>
            <a:off x="5527816" y="1591200"/>
            <a:ext cx="2139809" cy="2700000"/>
          </a:xfrm>
          <a:prstGeom prst="snip2DiagRect">
            <a:avLst>
              <a:gd name="adj1" fmla="val 3074"/>
              <a:gd name="adj2" fmla="val 3259"/>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612000" rIns="252000" bIns="108000" numCol="1" spcCol="0" rtlCol="0" fromWordArt="0" anchor="t" anchorCtr="0" forceAA="0" compatLnSpc="1">
            <a:prstTxWarp prst="textNoShape">
              <a:avLst/>
            </a:prstTxWarp>
            <a:noAutofit/>
          </a:bodyPr>
          <a:lstStyle/>
          <a:p>
            <a:pPr marL="0" indent="0">
              <a:spcBef>
                <a:spcPts val="300"/>
              </a:spcBef>
              <a:buClr>
                <a:schemeClr val="tx2"/>
              </a:buClr>
              <a:buSzPct val="70000"/>
              <a:buFont typeface="Wingdings" pitchFamily="2" charset="2"/>
              <a:buNone/>
            </a:pPr>
            <a:r>
              <a:rPr lang="de-DE" sz="1400" b="1" dirty="0" smtClean="0">
                <a:solidFill>
                  <a:schemeClr val="accent1"/>
                </a:solidFill>
                <a:latin typeface="Arial" pitchFamily="34" charset="0"/>
                <a:cs typeface="Arial" pitchFamily="34" charset="0"/>
              </a:rPr>
              <a:t>Text</a:t>
            </a:r>
            <a:br>
              <a:rPr lang="de-DE" sz="1400" b="1" dirty="0" smtClean="0">
                <a:solidFill>
                  <a:schemeClr val="accent1"/>
                </a:solidFill>
                <a:latin typeface="Arial" pitchFamily="34" charset="0"/>
                <a:cs typeface="Arial" pitchFamily="34" charset="0"/>
              </a:rPr>
            </a:br>
            <a:r>
              <a:rPr lang="de-DE" sz="1400" dirty="0" smtClean="0">
                <a:solidFill>
                  <a:schemeClr val="accent1"/>
                </a:solidFill>
                <a:latin typeface="Arial" pitchFamily="34" charset="0"/>
                <a:cs typeface="Arial" pitchFamily="34" charset="0"/>
              </a:rPr>
              <a:t>(Text)</a:t>
            </a:r>
          </a:p>
          <a:p>
            <a:pPr marL="180000" indent="-180000">
              <a:spcBef>
                <a:spcPts val="18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a:solidFill>
                  <a:schemeClr val="tx1"/>
                </a:solidFill>
                <a:latin typeface="Arial" pitchFamily="34" charset="0"/>
                <a:cs typeface="Arial" pitchFamily="34" charset="0"/>
              </a:rPr>
              <a:t>Text</a:t>
            </a:r>
          </a:p>
          <a:p>
            <a:pPr marL="180000" indent="-180000">
              <a:spcBef>
                <a:spcPts val="300"/>
              </a:spcBef>
              <a:buClr>
                <a:schemeClr val="tx2"/>
              </a:buClr>
              <a:buSzPct val="70000"/>
              <a:buFont typeface="Wingdings" pitchFamily="2" charset="2"/>
              <a:buChar char="§"/>
            </a:pPr>
            <a:r>
              <a:rPr lang="en-US" sz="1200" dirty="0" smtClean="0">
                <a:solidFill>
                  <a:schemeClr val="tx1"/>
                </a:solidFill>
                <a:latin typeface="Arial" pitchFamily="34" charset="0"/>
                <a:cs typeface="Arial" pitchFamily="34" charset="0"/>
              </a:rPr>
              <a:t>Text</a:t>
            </a:r>
            <a:endParaRPr 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309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chematic drawings</a:t>
            </a:r>
          </a:p>
        </p:txBody>
      </p:sp>
      <p:sp>
        <p:nvSpPr>
          <p:cNvPr id="6" name="Picture Placeholder 5"/>
          <p:cNvSpPr>
            <a:spLocks noGrp="1"/>
          </p:cNvSpPr>
          <p:nvPr>
            <p:ph type="pic" sz="quarter" idx="13"/>
          </p:nvPr>
        </p:nvSpPr>
        <p:spPr>
          <a:xfrm>
            <a:off x="1476375" y="2060575"/>
            <a:ext cx="3024000" cy="1773271"/>
          </a:xfrm>
        </p:spPr>
      </p:sp>
      <p:sp>
        <p:nvSpPr>
          <p:cNvPr id="10" name="Picture Placeholder 9"/>
          <p:cNvSpPr>
            <a:spLocks noGrp="1"/>
          </p:cNvSpPr>
          <p:nvPr>
            <p:ph type="pic" sz="quarter" idx="15"/>
          </p:nvPr>
        </p:nvSpPr>
        <p:spPr>
          <a:xfrm>
            <a:off x="4643437" y="2060575"/>
            <a:ext cx="3024000" cy="1773271"/>
          </a:xfrm>
        </p:spPr>
      </p:sp>
      <p:sp>
        <p:nvSpPr>
          <p:cNvPr id="3" name="Date Placeholder 2"/>
          <p:cNvSpPr>
            <a:spLocks noGrp="1"/>
          </p:cNvSpPr>
          <p:nvPr>
            <p:ph type="dt" sz="half" idx="16"/>
          </p:nvPr>
        </p:nvSpPr>
        <p:spPr/>
        <p:txBody>
          <a:bodyPr/>
          <a:lstStyle/>
          <a:p>
            <a:r>
              <a:rPr lang="de-DE" smtClean="0"/>
              <a:t>Month DD, YYYY</a:t>
            </a:r>
            <a:endParaRPr lang="en-US" dirty="0"/>
          </a:p>
        </p:txBody>
      </p:sp>
      <p:sp>
        <p:nvSpPr>
          <p:cNvPr id="8" name="Rectangle 7"/>
          <p:cNvSpPr/>
          <p:nvPr/>
        </p:nvSpPr>
        <p:spPr bwMode="gray">
          <a:xfrm>
            <a:off x="4643437"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o…Text</a:t>
            </a:r>
          </a:p>
        </p:txBody>
      </p:sp>
      <p:cxnSp>
        <p:nvCxnSpPr>
          <p:cNvPr id="4" name="Straight Connector 3"/>
          <p:cNvCxnSpPr>
            <a:stCxn id="9" idx="2"/>
          </p:cNvCxnSpPr>
          <p:nvPr/>
        </p:nvCxnSpPr>
        <p:spPr bwMode="gray">
          <a:xfrm>
            <a:off x="4572000" y="1592262"/>
            <a:ext cx="0" cy="46085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gray">
          <a:xfrm>
            <a:off x="1476375" y="1592262"/>
            <a:ext cx="3024000" cy="36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Text…from…</a:t>
            </a:r>
          </a:p>
        </p:txBody>
      </p:sp>
      <p:sp>
        <p:nvSpPr>
          <p:cNvPr id="2" name="TextBox 1"/>
          <p:cNvSpPr txBox="1"/>
          <p:nvPr/>
        </p:nvSpPr>
        <p:spPr bwMode="gray">
          <a:xfrm>
            <a:off x="1476375"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p>
        </p:txBody>
      </p:sp>
      <p:sp>
        <p:nvSpPr>
          <p:cNvPr id="11" name="TextBox 10"/>
          <p:cNvSpPr txBox="1"/>
          <p:nvPr/>
        </p:nvSpPr>
        <p:spPr bwMode="gray">
          <a:xfrm>
            <a:off x="4643437" y="3968774"/>
            <a:ext cx="3024000" cy="2232000"/>
          </a:xfrm>
          <a:prstGeom prst="rect">
            <a:avLst/>
          </a:prstGeom>
          <a:noFill/>
          <a:ln w="12700">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400" kern="1200" dirty="0" smtClean="0">
                <a:solidFill>
                  <a:schemeClr val="tx1"/>
                </a:solidFill>
                <a:latin typeface="Arial" pitchFamily="34" charset="0"/>
                <a:ea typeface="+mn-ea"/>
                <a:cs typeface="Arial" pitchFamily="34" charset="0"/>
              </a:rPr>
              <a:t>Text</a:t>
            </a:r>
          </a:p>
          <a:p>
            <a:pPr marL="180975" indent="-180975" algn="l" rtl="0" fontAlgn="base">
              <a:spcBef>
                <a:spcPts val="300"/>
              </a:spcBef>
              <a:spcAft>
                <a:spcPct val="0"/>
              </a:spcAft>
              <a:buClr>
                <a:schemeClr val="tx2"/>
              </a:buClr>
              <a:buSzPct val="70000"/>
              <a:buFont typeface="Wingdings" pitchFamily="2" charset="2"/>
              <a:buChar char="§"/>
            </a:pPr>
            <a:r>
              <a:rPr lang="en-US" sz="1200" dirty="0" smtClean="0">
                <a:latin typeface="Arial" pitchFamily="34" charset="0"/>
                <a:cs typeface="Arial" pitchFamily="34" charset="0"/>
              </a:rPr>
              <a:t>Text</a:t>
            </a:r>
            <a:br>
              <a:rPr lang="en-US" sz="1200" dirty="0" smtClean="0">
                <a:latin typeface="Arial" pitchFamily="34" charset="0"/>
                <a:cs typeface="Arial" pitchFamily="34" charset="0"/>
              </a:rPr>
            </a:br>
            <a:r>
              <a:rPr lang="en-US" sz="1200" dirty="0" smtClean="0">
                <a:latin typeface="Arial" pitchFamily="34" charset="0"/>
                <a:cs typeface="Arial" pitchFamily="34" charset="0"/>
              </a:rPr>
              <a:t>on 2 lines</a:t>
            </a:r>
          </a:p>
          <a:p>
            <a:pPr marL="180975" indent="-180975" algn="l" rtl="0" fontAlgn="base">
              <a:spcBef>
                <a:spcPts val="300"/>
              </a:spcBef>
              <a:spcAft>
                <a:spcPct val="0"/>
              </a:spcAft>
              <a:buClr>
                <a:schemeClr val="tx2"/>
              </a:buClr>
              <a:buSzPct val="70000"/>
              <a:buFont typeface="Wingdings" pitchFamily="2" charset="2"/>
              <a:buChar char="§"/>
            </a:pPr>
            <a:r>
              <a:rPr lang="en-US" sz="1200" kern="1200" dirty="0" smtClean="0">
                <a:solidFill>
                  <a:schemeClr val="tx1"/>
                </a:solidFill>
                <a:latin typeface="Arial" pitchFamily="34" charset="0"/>
                <a:cs typeface="Arial" pitchFamily="34" charset="0"/>
              </a:rPr>
              <a:t>Text</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continued</a:t>
            </a:r>
            <a:br>
              <a:rPr lang="en-US" sz="1200" kern="1200" dirty="0" smtClean="0">
                <a:solidFill>
                  <a:schemeClr val="tx1"/>
                </a:solidFill>
                <a:latin typeface="Arial" pitchFamily="34" charset="0"/>
                <a:cs typeface="Arial" pitchFamily="34" charset="0"/>
              </a:rPr>
            </a:br>
            <a:r>
              <a:rPr lang="en-US" sz="1200" kern="1200" dirty="0" smtClean="0">
                <a:solidFill>
                  <a:schemeClr val="tx1"/>
                </a:solidFill>
                <a:latin typeface="Arial" pitchFamily="34" charset="0"/>
                <a:cs typeface="Arial" pitchFamily="34" charset="0"/>
              </a:rPr>
              <a:t>on 3 lines</a:t>
            </a:r>
          </a:p>
        </p:txBody>
      </p:sp>
    </p:spTree>
    <p:extLst>
      <p:ext uri="{BB962C8B-B14F-4D97-AF65-F5344CB8AC3E}">
        <p14:creationId xmlns:p14="http://schemas.microsoft.com/office/powerpoint/2010/main" val="1074124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hematic drawings</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
        <p:nvSpPr>
          <p:cNvPr id="9" name="TextBox 8"/>
          <p:cNvSpPr txBox="1"/>
          <p:nvPr/>
        </p:nvSpPr>
        <p:spPr bwMode="gray">
          <a:xfrm>
            <a:off x="1476374" y="1592262"/>
            <a:ext cx="6191251" cy="503237"/>
          </a:xfrm>
          <a:prstGeom prst="rect">
            <a:avLst/>
          </a:prstGeom>
          <a:solidFill>
            <a:schemeClr val="accent4"/>
          </a:solidFill>
          <a:ln w="9525">
            <a:noFill/>
            <a:miter lim="800000"/>
            <a:headEnd/>
            <a:tailEnd/>
          </a:ln>
        </p:spPr>
        <p:txBody>
          <a:bodyPr vert="horz" wrap="square" lIns="108000" tIns="72000" rIns="108000" bIns="72000" numCol="1" rtlCol="0" anchor="t" anchorCtr="0" compatLnSpc="1">
            <a:prstTxWarp prst="textNoShape">
              <a:avLst/>
            </a:prstTxWarp>
            <a:noAutofit/>
          </a:bodyPr>
          <a:lstStyle/>
          <a:p>
            <a:pPr marL="0" indent="0" algn="ctr" rtl="0" fontAlgn="base">
              <a:spcBef>
                <a:spcPts val="1100"/>
              </a:spcBef>
              <a:spcAft>
                <a:spcPct val="0"/>
              </a:spcAft>
              <a:buClr>
                <a:schemeClr val="tx2"/>
              </a:buClr>
              <a:buSzPct val="70000"/>
              <a:buFont typeface="Arial" pitchFamily="34" charset="0"/>
              <a:buNone/>
            </a:pPr>
            <a:r>
              <a:rPr lang="de-DE" sz="1200" b="1" kern="1200" dirty="0" smtClean="0">
                <a:solidFill>
                  <a:schemeClr val="bg1"/>
                </a:solidFill>
                <a:latin typeface="Arial" pitchFamily="34" charset="0"/>
                <a:ea typeface="+mn-ea"/>
                <a:cs typeface="Arial" pitchFamily="34" charset="0"/>
              </a:rPr>
              <a:t>Text</a:t>
            </a:r>
          </a:p>
        </p:txBody>
      </p:sp>
      <p:sp>
        <p:nvSpPr>
          <p:cNvPr id="59" name="Chevron 58"/>
          <p:cNvSpPr/>
          <p:nvPr/>
        </p:nvSpPr>
        <p:spPr bwMode="gray">
          <a:xfrm>
            <a:off x="4561767"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0" name="Chevron 59"/>
          <p:cNvSpPr/>
          <p:nvPr/>
        </p:nvSpPr>
        <p:spPr bwMode="gray">
          <a:xfrm>
            <a:off x="5590230"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1" name="Chevron 60"/>
          <p:cNvSpPr/>
          <p:nvPr/>
        </p:nvSpPr>
        <p:spPr bwMode="gray">
          <a:xfrm>
            <a:off x="6618694"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4" name="Chevron 63"/>
          <p:cNvSpPr/>
          <p:nvPr/>
        </p:nvSpPr>
        <p:spPr bwMode="gray">
          <a:xfrm>
            <a:off x="1476375"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5" name="Chevron 64"/>
          <p:cNvSpPr/>
          <p:nvPr/>
        </p:nvSpPr>
        <p:spPr bwMode="gray">
          <a:xfrm>
            <a:off x="2504839"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66" name="Chevron 65"/>
          <p:cNvSpPr/>
          <p:nvPr/>
        </p:nvSpPr>
        <p:spPr bwMode="gray">
          <a:xfrm>
            <a:off x="3533303" y="5113621"/>
            <a:ext cx="1048931" cy="1080010"/>
          </a:xfrm>
          <a:prstGeom prst="chevron">
            <a:avLst>
              <a:gd name="adj" fmla="val 13564"/>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000" dirty="0" smtClean="0">
                <a:solidFill>
                  <a:schemeClr val="tx1"/>
                </a:solidFill>
                <a:latin typeface="Arial" pitchFamily="34" charset="0"/>
                <a:cs typeface="Arial" pitchFamily="34" charset="0"/>
              </a:rPr>
              <a:t>Text</a:t>
            </a:r>
            <a:endParaRPr lang="en-US" sz="1000" dirty="0" err="1" smtClean="0">
              <a:solidFill>
                <a:schemeClr val="tx1"/>
              </a:solidFill>
              <a:latin typeface="Arial" pitchFamily="34" charset="0"/>
              <a:cs typeface="Arial" pitchFamily="34" charset="0"/>
            </a:endParaRPr>
          </a:p>
        </p:txBody>
      </p:sp>
      <p:sp>
        <p:nvSpPr>
          <p:cNvPr id="56" name="Pentagon 55"/>
          <p:cNvSpPr/>
          <p:nvPr/>
        </p:nvSpPr>
        <p:spPr bwMode="gray">
          <a:xfrm>
            <a:off x="1558433" y="2006600"/>
            <a:ext cx="1228017" cy="1080010"/>
          </a:xfrm>
          <a:prstGeom prst="homePlate">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3" name="Chevron 32"/>
          <p:cNvSpPr/>
          <p:nvPr/>
        </p:nvSpPr>
        <p:spPr bwMode="gray">
          <a:xfrm>
            <a:off x="2755600" y="2006600"/>
            <a:ext cx="1228017" cy="1080010"/>
          </a:xfrm>
          <a:prstGeom prst="chevron">
            <a:avLst>
              <a:gd name="adj" fmla="val 13564"/>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b="1" dirty="0" smtClean="0">
                <a:solidFill>
                  <a:schemeClr val="bg1"/>
                </a:solidFill>
                <a:latin typeface="Arial" pitchFamily="34" charset="0"/>
                <a:cs typeface="Arial" pitchFamily="34" charset="0"/>
              </a:rPr>
              <a:t>Text</a:t>
            </a:r>
            <a:endParaRPr lang="en-US" sz="1200" b="1" dirty="0" err="1" smtClean="0">
              <a:solidFill>
                <a:schemeClr val="bg1"/>
              </a:solidFill>
              <a:latin typeface="Arial" pitchFamily="34" charset="0"/>
              <a:cs typeface="Arial" pitchFamily="34" charset="0"/>
            </a:endParaRPr>
          </a:p>
        </p:txBody>
      </p:sp>
      <p:sp>
        <p:nvSpPr>
          <p:cNvPr id="34" name="Chevron 33"/>
          <p:cNvSpPr/>
          <p:nvPr/>
        </p:nvSpPr>
        <p:spPr bwMode="gray">
          <a:xfrm>
            <a:off x="3952768"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35" name="Chevron 34"/>
          <p:cNvSpPr/>
          <p:nvPr/>
        </p:nvSpPr>
        <p:spPr bwMode="gray">
          <a:xfrm>
            <a:off x="5149935" y="2006600"/>
            <a:ext cx="1228017" cy="1080010"/>
          </a:xfrm>
          <a:prstGeom prst="chevron">
            <a:avLst>
              <a:gd name="adj" fmla="val 13564"/>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sp>
        <p:nvSpPr>
          <p:cNvPr id="42" name="Pentagon 41"/>
          <p:cNvSpPr/>
          <p:nvPr/>
        </p:nvSpPr>
        <p:spPr bwMode="gray">
          <a:xfrm flipH="1">
            <a:off x="6347104" y="2006600"/>
            <a:ext cx="1228017" cy="1080010"/>
          </a:xfrm>
          <a:custGeom>
            <a:avLst/>
            <a:gdLst>
              <a:gd name="connsiteX0" fmla="*/ 0 w 1476000"/>
              <a:gd name="connsiteY0" fmla="*/ 0 h 720000"/>
              <a:gd name="connsiteX1" fmla="*/ 1283213 w 1476000"/>
              <a:gd name="connsiteY1" fmla="*/ 0 h 720000"/>
              <a:gd name="connsiteX2" fmla="*/ 1476000 w 1476000"/>
              <a:gd name="connsiteY2" fmla="*/ 360000 h 720000"/>
              <a:gd name="connsiteX3" fmla="*/ 1283213 w 1476000"/>
              <a:gd name="connsiteY3" fmla="*/ 720000 h 720000"/>
              <a:gd name="connsiteX4" fmla="*/ 0 w 1476000"/>
              <a:gd name="connsiteY4" fmla="*/ 720000 h 720000"/>
              <a:gd name="connsiteX5" fmla="*/ 0 w 1476000"/>
              <a:gd name="connsiteY5" fmla="*/ 0 h 720000"/>
              <a:gd name="connsiteX0" fmla="*/ 0 w 1283213"/>
              <a:gd name="connsiteY0" fmla="*/ 0 h 720000"/>
              <a:gd name="connsiteX1" fmla="*/ 1283213 w 1283213"/>
              <a:gd name="connsiteY1" fmla="*/ 0 h 720000"/>
              <a:gd name="connsiteX2" fmla="*/ 1085475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12388 w 1283213"/>
              <a:gd name="connsiteY2" fmla="*/ 355238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48272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9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73028 w 1283213"/>
              <a:gd name="connsiteY2" fmla="*/ 359410 h 720000"/>
              <a:gd name="connsiteX3" fmla="*/ 1283213 w 1283213"/>
              <a:gd name="connsiteY3" fmla="*/ 720000 h 720000"/>
              <a:gd name="connsiteX4" fmla="*/ 0 w 1283213"/>
              <a:gd name="connsiteY4" fmla="*/ 720000 h 720000"/>
              <a:gd name="connsiteX5" fmla="*/ 0 w 1283213"/>
              <a:gd name="connsiteY5" fmla="*/ 0 h 720000"/>
              <a:gd name="connsiteX0" fmla="*/ 0 w 1283213"/>
              <a:gd name="connsiteY0" fmla="*/ 0 h 720000"/>
              <a:gd name="connsiteX1" fmla="*/ 1283213 w 1283213"/>
              <a:gd name="connsiteY1" fmla="*/ 0 h 720000"/>
              <a:gd name="connsiteX2" fmla="*/ 1162418 w 1283213"/>
              <a:gd name="connsiteY2" fmla="*/ 356281 h 720000"/>
              <a:gd name="connsiteX3" fmla="*/ 1283213 w 1283213"/>
              <a:gd name="connsiteY3" fmla="*/ 720000 h 720000"/>
              <a:gd name="connsiteX4" fmla="*/ 0 w 1283213"/>
              <a:gd name="connsiteY4" fmla="*/ 720000 h 720000"/>
              <a:gd name="connsiteX5" fmla="*/ 0 w 1283213"/>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213" h="720000">
                <a:moveTo>
                  <a:pt x="0" y="0"/>
                </a:moveTo>
                <a:lnTo>
                  <a:pt x="1283213" y="0"/>
                </a:lnTo>
                <a:lnTo>
                  <a:pt x="1162418" y="356281"/>
                </a:lnTo>
                <a:lnTo>
                  <a:pt x="1283213" y="720000"/>
                </a:lnTo>
                <a:lnTo>
                  <a:pt x="0" y="720000"/>
                </a:lnTo>
                <a:lnTo>
                  <a:pt x="0" y="0"/>
                </a:lnTo>
                <a:close/>
              </a:path>
            </a:pathLst>
          </a:cu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de-DE" sz="1200" dirty="0" smtClean="0">
                <a:solidFill>
                  <a:schemeClr val="tx1"/>
                </a:solidFill>
                <a:latin typeface="Arial" pitchFamily="34" charset="0"/>
                <a:cs typeface="Arial" pitchFamily="34" charset="0"/>
              </a:rPr>
              <a:t>Text</a:t>
            </a:r>
            <a:endParaRPr lang="en-US" sz="1200" dirty="0" err="1" smtClean="0">
              <a:solidFill>
                <a:schemeClr val="tx1"/>
              </a:solidFill>
              <a:latin typeface="Arial" pitchFamily="34" charset="0"/>
              <a:cs typeface="Arial" pitchFamily="34" charset="0"/>
            </a:endParaRPr>
          </a:p>
        </p:txBody>
      </p:sp>
      <p:cxnSp>
        <p:nvCxnSpPr>
          <p:cNvPr id="7" name="Straight Connector 6"/>
          <p:cNvCxnSpPr/>
          <p:nvPr/>
        </p:nvCxnSpPr>
        <p:spPr bwMode="gray">
          <a:xfrm flipH="1">
            <a:off x="1480889" y="3086610"/>
            <a:ext cx="1274711"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3825240" y="3086610"/>
            <a:ext cx="3699510" cy="202701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549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de-DE" dirty="0" err="1" smtClean="0">
                <a:solidFill>
                  <a:schemeClr val="accent1"/>
                </a:solidFill>
              </a:rPr>
              <a:t>Use</a:t>
            </a:r>
            <a:r>
              <a:rPr lang="de-DE" dirty="0" smtClean="0">
                <a:solidFill>
                  <a:schemeClr val="accent1"/>
                </a:solidFill>
              </a:rPr>
              <a:t> </a:t>
            </a:r>
            <a:r>
              <a:rPr lang="de-DE" dirty="0" err="1" smtClean="0">
                <a:solidFill>
                  <a:schemeClr val="accent1"/>
                </a:solidFill>
              </a:rPr>
              <a:t>these</a:t>
            </a:r>
            <a:r>
              <a:rPr lang="de-DE" dirty="0" smtClean="0">
                <a:solidFill>
                  <a:schemeClr val="accent1"/>
                </a:solidFill>
              </a:rPr>
              <a:t> </a:t>
            </a:r>
            <a:r>
              <a:rPr lang="de-DE" dirty="0" err="1" smtClean="0">
                <a:solidFill>
                  <a:schemeClr val="accent1"/>
                </a:solidFill>
              </a:rPr>
              <a:t>icons</a:t>
            </a:r>
            <a:r>
              <a:rPr lang="de-DE" dirty="0" smtClean="0">
                <a:solidFill>
                  <a:schemeClr val="accent1"/>
                </a:solidFill>
              </a:rPr>
              <a:t> </a:t>
            </a:r>
            <a:r>
              <a:rPr lang="de-DE" dirty="0" err="1" smtClean="0">
                <a:solidFill>
                  <a:schemeClr val="accent1"/>
                </a:solidFill>
              </a:rPr>
              <a:t>to</a:t>
            </a:r>
            <a:r>
              <a:rPr lang="de-DE" dirty="0" smtClean="0">
                <a:solidFill>
                  <a:schemeClr val="accent1"/>
                </a:solidFill>
              </a:rPr>
              <a:t> </a:t>
            </a:r>
            <a:r>
              <a:rPr lang="de-DE" dirty="0" err="1" smtClean="0">
                <a:solidFill>
                  <a:schemeClr val="accent1"/>
                </a:solidFill>
              </a:rPr>
              <a:t>visualize</a:t>
            </a:r>
            <a:r>
              <a:rPr lang="de-DE" dirty="0" smtClean="0">
                <a:solidFill>
                  <a:schemeClr val="accent1"/>
                </a:solidFill>
              </a:rPr>
              <a:t> </a:t>
            </a:r>
            <a:r>
              <a:rPr lang="de-DE" dirty="0" err="1" smtClean="0">
                <a:solidFill>
                  <a:schemeClr val="accent1"/>
                </a:solidFill>
              </a:rPr>
              <a:t>your</a:t>
            </a:r>
            <a:r>
              <a:rPr lang="de-DE" dirty="0" smtClean="0">
                <a:solidFill>
                  <a:schemeClr val="accent1"/>
                </a:solidFill>
              </a:rPr>
              <a:t> </a:t>
            </a:r>
            <a:r>
              <a:rPr lang="de-DE" dirty="0" err="1" smtClean="0">
                <a:solidFill>
                  <a:schemeClr val="accent1"/>
                </a:solidFill>
              </a:rPr>
              <a:t>content</a:t>
            </a:r>
            <a:endParaRPr lang="de-DE" dirty="0">
              <a:solidFill>
                <a:schemeClr val="accent1"/>
              </a:solidFill>
            </a:endParaRPr>
          </a:p>
        </p:txBody>
      </p:sp>
      <p:sp>
        <p:nvSpPr>
          <p:cNvPr id="3" name="Date Placeholder 2"/>
          <p:cNvSpPr>
            <a:spLocks noGrp="1"/>
          </p:cNvSpPr>
          <p:nvPr>
            <p:ph type="dt" sz="half" idx="10"/>
          </p:nvPr>
        </p:nvSpPr>
        <p:spPr/>
        <p:txBody>
          <a:bodyPr/>
          <a:lstStyle/>
          <a:p>
            <a:r>
              <a:rPr lang="de-DE" smtClean="0"/>
              <a:t>Month DD, YYYY</a:t>
            </a:r>
            <a:endParaRPr lang="en-US" dirty="0"/>
          </a:p>
        </p:txBody>
      </p:sp>
      <p:grpSp>
        <p:nvGrpSpPr>
          <p:cNvPr id="21" name="Group 20"/>
          <p:cNvGrpSpPr/>
          <p:nvPr/>
        </p:nvGrpSpPr>
        <p:grpSpPr>
          <a:xfrm>
            <a:off x="1631659" y="1804807"/>
            <a:ext cx="466527" cy="476863"/>
            <a:chOff x="3208338" y="2516188"/>
            <a:chExt cx="2722563" cy="2782887"/>
          </a:xfrm>
        </p:grpSpPr>
        <p:sp>
          <p:nvSpPr>
            <p:cNvPr id="12" name="Freeform 7"/>
            <p:cNvSpPr>
              <a:spLocks/>
            </p:cNvSpPr>
            <p:nvPr/>
          </p:nvSpPr>
          <p:spPr bwMode="auto">
            <a:xfrm>
              <a:off x="4933952" y="3254373"/>
              <a:ext cx="996949" cy="2044702"/>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Oval 8"/>
            <p:cNvSpPr>
              <a:spLocks noChangeArrowheads="1"/>
            </p:cNvSpPr>
            <p:nvPr/>
          </p:nvSpPr>
          <p:spPr bwMode="auto">
            <a:xfrm>
              <a:off x="5118101" y="2516188"/>
              <a:ext cx="628650"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9"/>
            <p:cNvSpPr>
              <a:spLocks/>
            </p:cNvSpPr>
            <p:nvPr/>
          </p:nvSpPr>
          <p:spPr bwMode="auto">
            <a:xfrm>
              <a:off x="5319713" y="3254375"/>
              <a:ext cx="225425" cy="687388"/>
            </a:xfrm>
            <a:custGeom>
              <a:avLst/>
              <a:gdLst>
                <a:gd name="T0" fmla="*/ 142 w 142"/>
                <a:gd name="T1" fmla="*/ 0 h 433"/>
                <a:gd name="T2" fmla="*/ 104 w 142"/>
                <a:gd name="T3" fmla="*/ 69 h 433"/>
                <a:gd name="T4" fmla="*/ 137 w 142"/>
                <a:gd name="T5" fmla="*/ 364 h 433"/>
                <a:gd name="T6" fmla="*/ 71 w 142"/>
                <a:gd name="T7" fmla="*/ 433 h 433"/>
                <a:gd name="T8" fmla="*/ 5 w 142"/>
                <a:gd name="T9" fmla="*/ 364 h 433"/>
                <a:gd name="T10" fmla="*/ 38 w 142"/>
                <a:gd name="T11" fmla="*/ 69 h 433"/>
                <a:gd name="T12" fmla="*/ 0 w 142"/>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42" h="433">
                  <a:moveTo>
                    <a:pt x="142" y="0"/>
                  </a:moveTo>
                  <a:lnTo>
                    <a:pt x="104" y="69"/>
                  </a:lnTo>
                  <a:lnTo>
                    <a:pt x="137" y="364"/>
                  </a:lnTo>
                  <a:lnTo>
                    <a:pt x="71" y="433"/>
                  </a:lnTo>
                  <a:lnTo>
                    <a:pt x="5" y="364"/>
                  </a:lnTo>
                  <a:lnTo>
                    <a:pt x="38" y="69"/>
                  </a:lnTo>
                  <a:lnTo>
                    <a:pt x="0" y="0"/>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Oval 10"/>
            <p:cNvSpPr>
              <a:spLocks noChangeArrowheads="1"/>
            </p:cNvSpPr>
            <p:nvPr/>
          </p:nvSpPr>
          <p:spPr bwMode="auto">
            <a:xfrm>
              <a:off x="4251326"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11"/>
            <p:cNvSpPr>
              <a:spLocks/>
            </p:cNvSpPr>
            <p:nvPr/>
          </p:nvSpPr>
          <p:spPr bwMode="auto">
            <a:xfrm>
              <a:off x="4037013" y="3254375"/>
              <a:ext cx="1065213" cy="2044700"/>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 name="Oval 12"/>
            <p:cNvSpPr>
              <a:spLocks noChangeArrowheads="1"/>
            </p:cNvSpPr>
            <p:nvPr/>
          </p:nvSpPr>
          <p:spPr bwMode="auto">
            <a:xfrm>
              <a:off x="3389313" y="2516188"/>
              <a:ext cx="633413" cy="633413"/>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3"/>
            <p:cNvSpPr>
              <a:spLocks/>
            </p:cNvSpPr>
            <p:nvPr/>
          </p:nvSpPr>
          <p:spPr bwMode="auto">
            <a:xfrm>
              <a:off x="3208338" y="3254375"/>
              <a:ext cx="993775" cy="2044700"/>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4"/>
            <p:cNvSpPr>
              <a:spLocks/>
            </p:cNvSpPr>
            <p:nvPr/>
          </p:nvSpPr>
          <p:spPr bwMode="auto">
            <a:xfrm>
              <a:off x="3595688" y="3254375"/>
              <a:ext cx="220663" cy="6873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15"/>
            <p:cNvSpPr>
              <a:spLocks noChangeShapeType="1"/>
            </p:cNvSpPr>
            <p:nvPr/>
          </p:nvSpPr>
          <p:spPr bwMode="auto">
            <a:xfrm>
              <a:off x="4325938" y="4781550"/>
              <a:ext cx="484188" cy="0"/>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 name="Group 1"/>
          <p:cNvGrpSpPr/>
          <p:nvPr/>
        </p:nvGrpSpPr>
        <p:grpSpPr>
          <a:xfrm>
            <a:off x="2733517" y="1837030"/>
            <a:ext cx="423939" cy="424114"/>
            <a:chOff x="2733517" y="1837030"/>
            <a:chExt cx="423939" cy="424114"/>
          </a:xfrm>
        </p:grpSpPr>
        <p:sp>
          <p:nvSpPr>
            <p:cNvPr id="25" name="Oval 21"/>
            <p:cNvSpPr>
              <a:spLocks noChangeArrowheads="1"/>
            </p:cNvSpPr>
            <p:nvPr/>
          </p:nvSpPr>
          <p:spPr bwMode="auto">
            <a:xfrm>
              <a:off x="2733517" y="1837030"/>
              <a:ext cx="423939" cy="424114"/>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Line 22"/>
            <p:cNvSpPr>
              <a:spLocks noChangeShapeType="1"/>
            </p:cNvSpPr>
            <p:nvPr/>
          </p:nvSpPr>
          <p:spPr bwMode="auto">
            <a:xfrm>
              <a:off x="2945748" y="1854266"/>
              <a:ext cx="0" cy="32557"/>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 name="Line 23"/>
            <p:cNvSpPr>
              <a:spLocks noChangeShapeType="1"/>
            </p:cNvSpPr>
            <p:nvPr/>
          </p:nvSpPr>
          <p:spPr bwMode="auto">
            <a:xfrm flipV="1">
              <a:off x="2945748" y="2211351"/>
              <a:ext cx="0" cy="32035"/>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24"/>
            <p:cNvSpPr>
              <a:spLocks noChangeShapeType="1"/>
            </p:cNvSpPr>
            <p:nvPr/>
          </p:nvSpPr>
          <p:spPr bwMode="auto">
            <a:xfrm>
              <a:off x="2848251" y="1880556"/>
              <a:ext cx="16017" cy="28030"/>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25"/>
            <p:cNvSpPr>
              <a:spLocks noChangeShapeType="1"/>
            </p:cNvSpPr>
            <p:nvPr/>
          </p:nvSpPr>
          <p:spPr bwMode="auto">
            <a:xfrm flipH="1" flipV="1">
              <a:off x="3026706" y="2189588"/>
              <a:ext cx="16017" cy="27856"/>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Line 26"/>
            <p:cNvSpPr>
              <a:spLocks noChangeShapeType="1"/>
            </p:cNvSpPr>
            <p:nvPr/>
          </p:nvSpPr>
          <p:spPr bwMode="auto">
            <a:xfrm>
              <a:off x="2777043" y="1951764"/>
              <a:ext cx="28030" cy="16017"/>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27"/>
            <p:cNvSpPr>
              <a:spLocks noChangeShapeType="1"/>
            </p:cNvSpPr>
            <p:nvPr/>
          </p:nvSpPr>
          <p:spPr bwMode="auto">
            <a:xfrm flipH="1" flipV="1">
              <a:off x="3086423" y="2130219"/>
              <a:ext cx="27508" cy="16192"/>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4" name="Line 28"/>
            <p:cNvSpPr>
              <a:spLocks noChangeShapeType="1"/>
            </p:cNvSpPr>
            <p:nvPr/>
          </p:nvSpPr>
          <p:spPr bwMode="auto">
            <a:xfrm>
              <a:off x="2751102" y="2048913"/>
              <a:ext cx="32035" cy="0"/>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5" name="Line 29"/>
            <p:cNvSpPr>
              <a:spLocks noChangeShapeType="1"/>
            </p:cNvSpPr>
            <p:nvPr/>
          </p:nvSpPr>
          <p:spPr bwMode="auto">
            <a:xfrm flipH="1">
              <a:off x="3107664" y="2048913"/>
              <a:ext cx="32557" cy="0"/>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8" name="Line 30"/>
            <p:cNvSpPr>
              <a:spLocks noChangeShapeType="1"/>
            </p:cNvSpPr>
            <p:nvPr/>
          </p:nvSpPr>
          <p:spPr bwMode="auto">
            <a:xfrm flipV="1">
              <a:off x="2777043" y="2130219"/>
              <a:ext cx="28030" cy="16192"/>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9" name="Line 31"/>
            <p:cNvSpPr>
              <a:spLocks noChangeShapeType="1"/>
            </p:cNvSpPr>
            <p:nvPr/>
          </p:nvSpPr>
          <p:spPr bwMode="auto">
            <a:xfrm flipH="1">
              <a:off x="3086423" y="1951764"/>
              <a:ext cx="27508" cy="16017"/>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0" name="Line 32"/>
            <p:cNvSpPr>
              <a:spLocks noChangeShapeType="1"/>
            </p:cNvSpPr>
            <p:nvPr/>
          </p:nvSpPr>
          <p:spPr bwMode="auto">
            <a:xfrm flipV="1">
              <a:off x="2848251" y="2189588"/>
              <a:ext cx="16017" cy="27856"/>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1" name="Line 33"/>
            <p:cNvSpPr>
              <a:spLocks noChangeShapeType="1"/>
            </p:cNvSpPr>
            <p:nvPr/>
          </p:nvSpPr>
          <p:spPr bwMode="auto">
            <a:xfrm flipH="1">
              <a:off x="3026706" y="1880556"/>
              <a:ext cx="16017" cy="28030"/>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3" name="Freeform 35"/>
            <p:cNvSpPr>
              <a:spLocks/>
            </p:cNvSpPr>
            <p:nvPr/>
          </p:nvSpPr>
          <p:spPr bwMode="auto">
            <a:xfrm>
              <a:off x="2867054" y="1920599"/>
              <a:ext cx="188901" cy="196910"/>
            </a:xfrm>
            <a:custGeom>
              <a:avLst/>
              <a:gdLst>
                <a:gd name="T0" fmla="*/ 1021 w 1085"/>
                <a:gd name="T1" fmla="*/ 1131 h 1131"/>
                <a:gd name="T2" fmla="*/ 409 w 1085"/>
                <a:gd name="T3" fmla="*/ 779 h 1131"/>
                <a:gd name="T4" fmla="*/ 0 w 1085"/>
                <a:gd name="T5" fmla="*/ 71 h 1131"/>
                <a:gd name="T6" fmla="*/ 5 w 1085"/>
                <a:gd name="T7" fmla="*/ 35 h 1131"/>
                <a:gd name="T8" fmla="*/ 67 w 1085"/>
                <a:gd name="T9" fmla="*/ 0 h 1131"/>
                <a:gd name="T10" fmla="*/ 97 w 1085"/>
                <a:gd name="T11" fmla="*/ 14 h 1131"/>
                <a:gd name="T12" fmla="*/ 492 w 1085"/>
                <a:gd name="T13" fmla="*/ 697 h 1131"/>
                <a:gd name="T14" fmla="*/ 1078 w 1085"/>
                <a:gd name="T15" fmla="*/ 1034 h 1131"/>
                <a:gd name="T16" fmla="*/ 1085 w 1085"/>
                <a:gd name="T17" fmla="*/ 1063 h 1131"/>
                <a:gd name="T18" fmla="*/ 1049 w 1085"/>
                <a:gd name="T19" fmla="*/ 1124 h 1131"/>
                <a:gd name="T20" fmla="*/ 1021 w 1085"/>
                <a:gd name="T21"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5" h="1131">
                  <a:moveTo>
                    <a:pt x="1021" y="1131"/>
                  </a:moveTo>
                  <a:lnTo>
                    <a:pt x="409" y="779"/>
                  </a:lnTo>
                  <a:lnTo>
                    <a:pt x="0" y="71"/>
                  </a:lnTo>
                  <a:lnTo>
                    <a:pt x="5" y="35"/>
                  </a:lnTo>
                  <a:lnTo>
                    <a:pt x="67" y="0"/>
                  </a:lnTo>
                  <a:lnTo>
                    <a:pt x="97" y="14"/>
                  </a:lnTo>
                  <a:lnTo>
                    <a:pt x="492" y="697"/>
                  </a:lnTo>
                  <a:lnTo>
                    <a:pt x="1078" y="1034"/>
                  </a:lnTo>
                  <a:lnTo>
                    <a:pt x="1085" y="1063"/>
                  </a:lnTo>
                  <a:lnTo>
                    <a:pt x="1049" y="1124"/>
                  </a:lnTo>
                  <a:lnTo>
                    <a:pt x="1021" y="1131"/>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4" name="Oval 36"/>
            <p:cNvSpPr>
              <a:spLocks noChangeArrowheads="1"/>
            </p:cNvSpPr>
            <p:nvPr/>
          </p:nvSpPr>
          <p:spPr bwMode="auto">
            <a:xfrm>
              <a:off x="2930428" y="2033592"/>
              <a:ext cx="30468" cy="30468"/>
            </a:xfrm>
            <a:prstGeom prst="ellipse">
              <a:avLst/>
            </a:prstGeom>
            <a:solidFill>
              <a:srgbClr val="FFFFFF"/>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035" name="Oval 37"/>
            <p:cNvSpPr>
              <a:spLocks noChangeArrowheads="1"/>
            </p:cNvSpPr>
            <p:nvPr/>
          </p:nvSpPr>
          <p:spPr bwMode="auto">
            <a:xfrm>
              <a:off x="2930429" y="2033592"/>
              <a:ext cx="30468" cy="30468"/>
            </a:xfrm>
            <a:prstGeom prst="ellipse">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039" name="Freeform 42"/>
          <p:cNvSpPr>
            <a:spLocks/>
          </p:cNvSpPr>
          <p:nvPr/>
        </p:nvSpPr>
        <p:spPr bwMode="auto">
          <a:xfrm>
            <a:off x="2188027" y="1821820"/>
            <a:ext cx="423939" cy="442836"/>
          </a:xfrm>
          <a:custGeom>
            <a:avLst/>
            <a:gdLst>
              <a:gd name="T0" fmla="*/ 1394 w 1862"/>
              <a:gd name="T1" fmla="*/ 466 h 1945"/>
              <a:gd name="T2" fmla="*/ 1394 w 1862"/>
              <a:gd name="T3" fmla="*/ 142 h 1945"/>
              <a:gd name="T4" fmla="*/ 1208 w 1862"/>
              <a:gd name="T5" fmla="*/ 142 h 1945"/>
              <a:gd name="T6" fmla="*/ 1208 w 1862"/>
              <a:gd name="T7" fmla="*/ 277 h 1945"/>
              <a:gd name="T8" fmla="*/ 931 w 1862"/>
              <a:gd name="T9" fmla="*/ 0 h 1945"/>
              <a:gd name="T10" fmla="*/ 0 w 1862"/>
              <a:gd name="T11" fmla="*/ 931 h 1945"/>
              <a:gd name="T12" fmla="*/ 100 w 1862"/>
              <a:gd name="T13" fmla="*/ 1030 h 1945"/>
              <a:gd name="T14" fmla="*/ 251 w 1862"/>
              <a:gd name="T15" fmla="*/ 1030 h 1945"/>
              <a:gd name="T16" fmla="*/ 251 w 1862"/>
              <a:gd name="T17" fmla="*/ 1945 h 1945"/>
              <a:gd name="T18" fmla="*/ 1612 w 1862"/>
              <a:gd name="T19" fmla="*/ 1945 h 1945"/>
              <a:gd name="T20" fmla="*/ 1612 w 1862"/>
              <a:gd name="T21" fmla="*/ 1033 h 1945"/>
              <a:gd name="T22" fmla="*/ 1760 w 1862"/>
              <a:gd name="T23" fmla="*/ 1033 h 1945"/>
              <a:gd name="T24" fmla="*/ 1862 w 1862"/>
              <a:gd name="T25" fmla="*/ 931 h 1945"/>
              <a:gd name="T26" fmla="*/ 1394 w 1862"/>
              <a:gd name="T27" fmla="*/ 466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2" h="1945">
                <a:moveTo>
                  <a:pt x="1394" y="466"/>
                </a:moveTo>
                <a:lnTo>
                  <a:pt x="1394" y="142"/>
                </a:lnTo>
                <a:lnTo>
                  <a:pt x="1208" y="142"/>
                </a:lnTo>
                <a:lnTo>
                  <a:pt x="1208" y="277"/>
                </a:lnTo>
                <a:lnTo>
                  <a:pt x="931" y="0"/>
                </a:lnTo>
                <a:lnTo>
                  <a:pt x="0" y="931"/>
                </a:lnTo>
                <a:lnTo>
                  <a:pt x="100" y="1030"/>
                </a:lnTo>
                <a:lnTo>
                  <a:pt x="251" y="1030"/>
                </a:lnTo>
                <a:lnTo>
                  <a:pt x="251" y="1945"/>
                </a:lnTo>
                <a:lnTo>
                  <a:pt x="1612" y="1945"/>
                </a:lnTo>
                <a:lnTo>
                  <a:pt x="1612" y="1033"/>
                </a:lnTo>
                <a:lnTo>
                  <a:pt x="1760" y="1033"/>
                </a:lnTo>
                <a:lnTo>
                  <a:pt x="1862" y="931"/>
                </a:lnTo>
                <a:lnTo>
                  <a:pt x="1394" y="466"/>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059" name="Group 1058"/>
          <p:cNvGrpSpPr/>
          <p:nvPr/>
        </p:nvGrpSpPr>
        <p:grpSpPr>
          <a:xfrm>
            <a:off x="5449599" y="2487709"/>
            <a:ext cx="316193" cy="407870"/>
            <a:chOff x="9693275" y="-92075"/>
            <a:chExt cx="3865562" cy="4986338"/>
          </a:xfrm>
        </p:grpSpPr>
        <p:sp>
          <p:nvSpPr>
            <p:cNvPr id="1044" name="Freeform 48"/>
            <p:cNvSpPr>
              <a:spLocks/>
            </p:cNvSpPr>
            <p:nvPr/>
          </p:nvSpPr>
          <p:spPr bwMode="auto">
            <a:xfrm>
              <a:off x="9693275" y="425450"/>
              <a:ext cx="3865562" cy="4468813"/>
            </a:xfrm>
            <a:custGeom>
              <a:avLst/>
              <a:gdLst>
                <a:gd name="T0" fmla="*/ 2435 w 2435"/>
                <a:gd name="T1" fmla="*/ 2815 h 2815"/>
                <a:gd name="T2" fmla="*/ 0 w 2435"/>
                <a:gd name="T3" fmla="*/ 2815 h 2815"/>
                <a:gd name="T4" fmla="*/ 0 w 2435"/>
                <a:gd name="T5" fmla="*/ 1110 h 2815"/>
                <a:gd name="T6" fmla="*/ 1216 w 2435"/>
                <a:gd name="T7" fmla="*/ 0 h 2815"/>
                <a:gd name="T8" fmla="*/ 2435 w 2435"/>
                <a:gd name="T9" fmla="*/ 1110 h 2815"/>
                <a:gd name="T10" fmla="*/ 2435 w 2435"/>
                <a:gd name="T11" fmla="*/ 2815 h 2815"/>
              </a:gdLst>
              <a:ahLst/>
              <a:cxnLst>
                <a:cxn ang="0">
                  <a:pos x="T0" y="T1"/>
                </a:cxn>
                <a:cxn ang="0">
                  <a:pos x="T2" y="T3"/>
                </a:cxn>
                <a:cxn ang="0">
                  <a:pos x="T4" y="T5"/>
                </a:cxn>
                <a:cxn ang="0">
                  <a:pos x="T6" y="T7"/>
                </a:cxn>
                <a:cxn ang="0">
                  <a:pos x="T8" y="T9"/>
                </a:cxn>
                <a:cxn ang="0">
                  <a:pos x="T10" y="T11"/>
                </a:cxn>
              </a:cxnLst>
              <a:rect l="0" t="0" r="r" b="b"/>
              <a:pathLst>
                <a:path w="2435" h="2815">
                  <a:moveTo>
                    <a:pt x="2435" y="2815"/>
                  </a:moveTo>
                  <a:lnTo>
                    <a:pt x="0" y="2815"/>
                  </a:lnTo>
                  <a:lnTo>
                    <a:pt x="0" y="1110"/>
                  </a:lnTo>
                  <a:lnTo>
                    <a:pt x="1216" y="0"/>
                  </a:lnTo>
                  <a:lnTo>
                    <a:pt x="2435" y="1110"/>
                  </a:lnTo>
                  <a:lnTo>
                    <a:pt x="2435" y="2815"/>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6" name="Rectangle 50"/>
            <p:cNvSpPr>
              <a:spLocks noChangeArrowheads="1"/>
            </p:cNvSpPr>
            <p:nvPr/>
          </p:nvSpPr>
          <p:spPr bwMode="auto">
            <a:xfrm>
              <a:off x="9996488" y="-92075"/>
              <a:ext cx="3259137" cy="438943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7" name="Line 51"/>
            <p:cNvSpPr>
              <a:spLocks noChangeShapeType="1"/>
            </p:cNvSpPr>
            <p:nvPr/>
          </p:nvSpPr>
          <p:spPr bwMode="auto">
            <a:xfrm>
              <a:off x="10453688" y="582612"/>
              <a:ext cx="2205037"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8" name="Line 52"/>
            <p:cNvSpPr>
              <a:spLocks noChangeShapeType="1"/>
            </p:cNvSpPr>
            <p:nvPr/>
          </p:nvSpPr>
          <p:spPr bwMode="auto">
            <a:xfrm>
              <a:off x="10453688" y="893762"/>
              <a:ext cx="2378075"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9" name="Line 53"/>
            <p:cNvSpPr>
              <a:spLocks noChangeShapeType="1"/>
            </p:cNvSpPr>
            <p:nvPr/>
          </p:nvSpPr>
          <p:spPr bwMode="auto">
            <a:xfrm>
              <a:off x="10453688" y="1208087"/>
              <a:ext cx="2205037"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0" name="Line 54"/>
            <p:cNvSpPr>
              <a:spLocks noChangeShapeType="1"/>
            </p:cNvSpPr>
            <p:nvPr/>
          </p:nvSpPr>
          <p:spPr bwMode="auto">
            <a:xfrm>
              <a:off x="10453688" y="1519237"/>
              <a:ext cx="2378075"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1" name="Line 55"/>
            <p:cNvSpPr>
              <a:spLocks noChangeShapeType="1"/>
            </p:cNvSpPr>
            <p:nvPr/>
          </p:nvSpPr>
          <p:spPr bwMode="auto">
            <a:xfrm>
              <a:off x="10453688" y="1835150"/>
              <a:ext cx="2205037"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2" name="Line 56"/>
            <p:cNvSpPr>
              <a:spLocks noChangeShapeType="1"/>
            </p:cNvSpPr>
            <p:nvPr/>
          </p:nvSpPr>
          <p:spPr bwMode="auto">
            <a:xfrm>
              <a:off x="10453688" y="2149475"/>
              <a:ext cx="2378075"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3" name="Line 57"/>
            <p:cNvSpPr>
              <a:spLocks noChangeShapeType="1"/>
            </p:cNvSpPr>
            <p:nvPr/>
          </p:nvSpPr>
          <p:spPr bwMode="auto">
            <a:xfrm>
              <a:off x="10453688" y="2460625"/>
              <a:ext cx="2205037"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4" name="Line 58"/>
            <p:cNvSpPr>
              <a:spLocks noChangeShapeType="1"/>
            </p:cNvSpPr>
            <p:nvPr/>
          </p:nvSpPr>
          <p:spPr bwMode="auto">
            <a:xfrm>
              <a:off x="10453688" y="2776537"/>
              <a:ext cx="2378075"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5" name="Line 59"/>
            <p:cNvSpPr>
              <a:spLocks noChangeShapeType="1"/>
            </p:cNvSpPr>
            <p:nvPr/>
          </p:nvSpPr>
          <p:spPr bwMode="auto">
            <a:xfrm>
              <a:off x="10453688" y="3087687"/>
              <a:ext cx="2205037"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6" name="Line 60"/>
            <p:cNvSpPr>
              <a:spLocks noChangeShapeType="1"/>
            </p:cNvSpPr>
            <p:nvPr/>
          </p:nvSpPr>
          <p:spPr bwMode="auto">
            <a:xfrm>
              <a:off x="10453688" y="3402012"/>
              <a:ext cx="2378075" cy="0"/>
            </a:xfrm>
            <a:prstGeom prst="line">
              <a:avLst/>
            </a:prstGeom>
            <a:noFill/>
            <a:ln w="635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7" name="Freeform 61"/>
            <p:cNvSpPr>
              <a:spLocks/>
            </p:cNvSpPr>
            <p:nvPr/>
          </p:nvSpPr>
          <p:spPr bwMode="auto">
            <a:xfrm>
              <a:off x="9790113" y="2281237"/>
              <a:ext cx="3667125" cy="2497138"/>
            </a:xfrm>
            <a:custGeom>
              <a:avLst/>
              <a:gdLst>
                <a:gd name="T0" fmla="*/ 2310 w 2310"/>
                <a:gd name="T1" fmla="*/ 0 h 1573"/>
                <a:gd name="T2" fmla="*/ 1155 w 2310"/>
                <a:gd name="T3" fmla="*/ 1053 h 1573"/>
                <a:gd name="T4" fmla="*/ 0 w 2310"/>
                <a:gd name="T5" fmla="*/ 0 h 1573"/>
                <a:gd name="T6" fmla="*/ 0 w 2310"/>
                <a:gd name="T7" fmla="*/ 1573 h 1573"/>
                <a:gd name="T8" fmla="*/ 2310 w 2310"/>
                <a:gd name="T9" fmla="*/ 1573 h 1573"/>
                <a:gd name="T10" fmla="*/ 2310 w 2310"/>
                <a:gd name="T11" fmla="*/ 0 h 1573"/>
              </a:gdLst>
              <a:ahLst/>
              <a:cxnLst>
                <a:cxn ang="0">
                  <a:pos x="T0" y="T1"/>
                </a:cxn>
                <a:cxn ang="0">
                  <a:pos x="T2" y="T3"/>
                </a:cxn>
                <a:cxn ang="0">
                  <a:pos x="T4" y="T5"/>
                </a:cxn>
                <a:cxn ang="0">
                  <a:pos x="T6" y="T7"/>
                </a:cxn>
                <a:cxn ang="0">
                  <a:pos x="T8" y="T9"/>
                </a:cxn>
                <a:cxn ang="0">
                  <a:pos x="T10" y="T11"/>
                </a:cxn>
              </a:cxnLst>
              <a:rect l="0" t="0" r="r" b="b"/>
              <a:pathLst>
                <a:path w="2310" h="1573">
                  <a:moveTo>
                    <a:pt x="2310" y="0"/>
                  </a:moveTo>
                  <a:lnTo>
                    <a:pt x="1155" y="1053"/>
                  </a:lnTo>
                  <a:lnTo>
                    <a:pt x="0" y="0"/>
                  </a:lnTo>
                  <a:lnTo>
                    <a:pt x="0" y="1573"/>
                  </a:lnTo>
                  <a:lnTo>
                    <a:pt x="2310" y="1573"/>
                  </a:lnTo>
                  <a:lnTo>
                    <a:pt x="23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58" name="Freeform 62"/>
            <p:cNvSpPr>
              <a:spLocks noEditPoints="1"/>
            </p:cNvSpPr>
            <p:nvPr/>
          </p:nvSpPr>
          <p:spPr bwMode="auto">
            <a:xfrm>
              <a:off x="9693275" y="2187575"/>
              <a:ext cx="3865562" cy="2706688"/>
            </a:xfrm>
            <a:custGeom>
              <a:avLst/>
              <a:gdLst>
                <a:gd name="T0" fmla="*/ 0 w 2435"/>
                <a:gd name="T1" fmla="*/ 1705 h 1705"/>
                <a:gd name="T2" fmla="*/ 744 w 2435"/>
                <a:gd name="T3" fmla="*/ 1025 h 1705"/>
                <a:gd name="T4" fmla="*/ 1689 w 2435"/>
                <a:gd name="T5" fmla="*/ 1025 h 1705"/>
                <a:gd name="T6" fmla="*/ 2435 w 2435"/>
                <a:gd name="T7" fmla="*/ 1705 h 1705"/>
                <a:gd name="T8" fmla="*/ 0 w 2435"/>
                <a:gd name="T9" fmla="*/ 0 h 1705"/>
                <a:gd name="T10" fmla="*/ 1216 w 2435"/>
                <a:gd name="T11" fmla="*/ 1112 h 1705"/>
                <a:gd name="T12" fmla="*/ 2435 w 2435"/>
                <a:gd name="T13" fmla="*/ 0 h 1705"/>
              </a:gdLst>
              <a:ahLst/>
              <a:cxnLst>
                <a:cxn ang="0">
                  <a:pos x="T0" y="T1"/>
                </a:cxn>
                <a:cxn ang="0">
                  <a:pos x="T2" y="T3"/>
                </a:cxn>
                <a:cxn ang="0">
                  <a:pos x="T4" y="T5"/>
                </a:cxn>
                <a:cxn ang="0">
                  <a:pos x="T6" y="T7"/>
                </a:cxn>
                <a:cxn ang="0">
                  <a:pos x="T8" y="T9"/>
                </a:cxn>
                <a:cxn ang="0">
                  <a:pos x="T10" y="T11"/>
                </a:cxn>
                <a:cxn ang="0">
                  <a:pos x="T12" y="T13"/>
                </a:cxn>
              </a:cxnLst>
              <a:rect l="0" t="0" r="r" b="b"/>
              <a:pathLst>
                <a:path w="2435" h="1705">
                  <a:moveTo>
                    <a:pt x="0" y="1705"/>
                  </a:moveTo>
                  <a:lnTo>
                    <a:pt x="744" y="1025"/>
                  </a:lnTo>
                  <a:moveTo>
                    <a:pt x="1689" y="1025"/>
                  </a:moveTo>
                  <a:lnTo>
                    <a:pt x="2435" y="1705"/>
                  </a:lnTo>
                  <a:moveTo>
                    <a:pt x="0" y="0"/>
                  </a:moveTo>
                  <a:lnTo>
                    <a:pt x="1216" y="1112"/>
                  </a:lnTo>
                  <a:lnTo>
                    <a:pt x="2435" y="0"/>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7" name="Group 1106"/>
          <p:cNvGrpSpPr/>
          <p:nvPr/>
        </p:nvGrpSpPr>
        <p:grpSpPr>
          <a:xfrm>
            <a:off x="4882824" y="1886823"/>
            <a:ext cx="448136" cy="332428"/>
            <a:chOff x="-7533578" y="-114116"/>
            <a:chExt cx="6423098" cy="4764663"/>
          </a:xfrm>
        </p:grpSpPr>
        <p:sp>
          <p:nvSpPr>
            <p:cNvPr id="116" name="Freeform 107"/>
            <p:cNvSpPr>
              <a:spLocks/>
            </p:cNvSpPr>
            <p:nvPr/>
          </p:nvSpPr>
          <p:spPr bwMode="auto">
            <a:xfrm flipH="1">
              <a:off x="-7533578" y="-114116"/>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4" name="Freeform 107"/>
            <p:cNvSpPr>
              <a:spLocks/>
            </p:cNvSpPr>
            <p:nvPr/>
          </p:nvSpPr>
          <p:spPr bwMode="auto">
            <a:xfrm>
              <a:off x="-5149080" y="1521584"/>
              <a:ext cx="4038600" cy="3128963"/>
            </a:xfrm>
            <a:custGeom>
              <a:avLst/>
              <a:gdLst>
                <a:gd name="T0" fmla="*/ 1722 w 2544"/>
                <a:gd name="T1" fmla="*/ 1626 h 1971"/>
                <a:gd name="T2" fmla="*/ 2067 w 2544"/>
                <a:gd name="T3" fmla="*/ 1971 h 1971"/>
                <a:gd name="T4" fmla="*/ 2067 w 2544"/>
                <a:gd name="T5" fmla="*/ 1626 h 1971"/>
                <a:gd name="T6" fmla="*/ 2492 w 2544"/>
                <a:gd name="T7" fmla="*/ 1626 h 1971"/>
                <a:gd name="T8" fmla="*/ 2544 w 2544"/>
                <a:gd name="T9" fmla="*/ 1574 h 1971"/>
                <a:gd name="T10" fmla="*/ 2544 w 2544"/>
                <a:gd name="T11" fmla="*/ 52 h 1971"/>
                <a:gd name="T12" fmla="*/ 2492 w 2544"/>
                <a:gd name="T13" fmla="*/ 0 h 1971"/>
                <a:gd name="T14" fmla="*/ 52 w 2544"/>
                <a:gd name="T15" fmla="*/ 0 h 1971"/>
                <a:gd name="T16" fmla="*/ 0 w 2544"/>
                <a:gd name="T17" fmla="*/ 52 h 1971"/>
                <a:gd name="T18" fmla="*/ 0 w 2544"/>
                <a:gd name="T19" fmla="*/ 1574 h 1971"/>
                <a:gd name="T20" fmla="*/ 52 w 2544"/>
                <a:gd name="T21" fmla="*/ 1626 h 1971"/>
                <a:gd name="T22" fmla="*/ 1722 w 2544"/>
                <a:gd name="T23" fmla="*/ 162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4" h="1971">
                  <a:moveTo>
                    <a:pt x="1722" y="1626"/>
                  </a:moveTo>
                  <a:lnTo>
                    <a:pt x="2067" y="1971"/>
                  </a:lnTo>
                  <a:lnTo>
                    <a:pt x="2067" y="1626"/>
                  </a:lnTo>
                  <a:lnTo>
                    <a:pt x="2492" y="1626"/>
                  </a:lnTo>
                  <a:lnTo>
                    <a:pt x="2544" y="1574"/>
                  </a:lnTo>
                  <a:lnTo>
                    <a:pt x="2544" y="52"/>
                  </a:lnTo>
                  <a:lnTo>
                    <a:pt x="2492" y="0"/>
                  </a:lnTo>
                  <a:lnTo>
                    <a:pt x="52" y="0"/>
                  </a:lnTo>
                  <a:lnTo>
                    <a:pt x="0" y="52"/>
                  </a:lnTo>
                  <a:lnTo>
                    <a:pt x="0" y="1574"/>
                  </a:lnTo>
                  <a:lnTo>
                    <a:pt x="52" y="1626"/>
                  </a:lnTo>
                  <a:lnTo>
                    <a:pt x="1722" y="1626"/>
                  </a:lnTo>
                  <a:close/>
                </a:path>
              </a:pathLst>
            </a:custGeom>
            <a:solidFill>
              <a:schemeClr val="bg1"/>
            </a:solidFill>
            <a:ln w="127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7" name="Group 1096"/>
          <p:cNvGrpSpPr/>
          <p:nvPr/>
        </p:nvGrpSpPr>
        <p:grpSpPr>
          <a:xfrm>
            <a:off x="3873559" y="1793295"/>
            <a:ext cx="261789" cy="481807"/>
            <a:chOff x="9137650" y="228600"/>
            <a:chExt cx="1860551" cy="3424238"/>
          </a:xfrm>
        </p:grpSpPr>
        <p:sp>
          <p:nvSpPr>
            <p:cNvPr id="1075" name="Freeform 80"/>
            <p:cNvSpPr>
              <a:spLocks/>
            </p:cNvSpPr>
            <p:nvPr/>
          </p:nvSpPr>
          <p:spPr bwMode="auto">
            <a:xfrm>
              <a:off x="9715500" y="3094038"/>
              <a:ext cx="708025" cy="104775"/>
            </a:xfrm>
            <a:custGeom>
              <a:avLst/>
              <a:gdLst>
                <a:gd name="T0" fmla="*/ 446 w 446"/>
                <a:gd name="T1" fmla="*/ 49 h 66"/>
                <a:gd name="T2" fmla="*/ 430 w 446"/>
                <a:gd name="T3" fmla="*/ 66 h 66"/>
                <a:gd name="T4" fmla="*/ 17 w 446"/>
                <a:gd name="T5" fmla="*/ 66 h 66"/>
                <a:gd name="T6" fmla="*/ 0 w 446"/>
                <a:gd name="T7" fmla="*/ 49 h 66"/>
                <a:gd name="T8" fmla="*/ 0 w 446"/>
                <a:gd name="T9" fmla="*/ 14 h 66"/>
                <a:gd name="T10" fmla="*/ 17 w 446"/>
                <a:gd name="T11" fmla="*/ 0 h 66"/>
                <a:gd name="T12" fmla="*/ 430 w 446"/>
                <a:gd name="T13" fmla="*/ 0 h 66"/>
                <a:gd name="T14" fmla="*/ 446 w 446"/>
                <a:gd name="T15" fmla="*/ 14 h 66"/>
                <a:gd name="T16" fmla="*/ 446 w 446"/>
                <a:gd name="T17"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49"/>
                  </a:moveTo>
                  <a:lnTo>
                    <a:pt x="430" y="66"/>
                  </a:lnTo>
                  <a:lnTo>
                    <a:pt x="17" y="66"/>
                  </a:lnTo>
                  <a:lnTo>
                    <a:pt x="0" y="49"/>
                  </a:lnTo>
                  <a:lnTo>
                    <a:pt x="0" y="14"/>
                  </a:lnTo>
                  <a:lnTo>
                    <a:pt x="17" y="0"/>
                  </a:lnTo>
                  <a:lnTo>
                    <a:pt x="430" y="0"/>
                  </a:lnTo>
                  <a:lnTo>
                    <a:pt x="446" y="14"/>
                  </a:lnTo>
                  <a:lnTo>
                    <a:pt x="446" y="49"/>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6" name="Freeform 81"/>
            <p:cNvSpPr>
              <a:spLocks/>
            </p:cNvSpPr>
            <p:nvPr/>
          </p:nvSpPr>
          <p:spPr bwMode="auto">
            <a:xfrm>
              <a:off x="9396413" y="1593850"/>
              <a:ext cx="1346200" cy="693738"/>
            </a:xfrm>
            <a:custGeom>
              <a:avLst/>
              <a:gdLst>
                <a:gd name="T0" fmla="*/ 26 w 848"/>
                <a:gd name="T1" fmla="*/ 420 h 437"/>
                <a:gd name="T2" fmla="*/ 0 w 848"/>
                <a:gd name="T3" fmla="*/ 357 h 437"/>
                <a:gd name="T4" fmla="*/ 14 w 848"/>
                <a:gd name="T5" fmla="*/ 319 h 437"/>
                <a:gd name="T6" fmla="*/ 782 w 848"/>
                <a:gd name="T7" fmla="*/ 0 h 437"/>
                <a:gd name="T8" fmla="*/ 822 w 848"/>
                <a:gd name="T9" fmla="*/ 17 h 437"/>
                <a:gd name="T10" fmla="*/ 848 w 848"/>
                <a:gd name="T11" fmla="*/ 80 h 437"/>
                <a:gd name="T12" fmla="*/ 832 w 848"/>
                <a:gd name="T13" fmla="*/ 121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7"/>
                  </a:lnTo>
                  <a:lnTo>
                    <a:pt x="14" y="319"/>
                  </a:lnTo>
                  <a:lnTo>
                    <a:pt x="782" y="0"/>
                  </a:lnTo>
                  <a:lnTo>
                    <a:pt x="822" y="17"/>
                  </a:lnTo>
                  <a:lnTo>
                    <a:pt x="848" y="80"/>
                  </a:lnTo>
                  <a:lnTo>
                    <a:pt x="832" y="121"/>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78" name="Freeform 83"/>
            <p:cNvSpPr>
              <a:spLocks/>
            </p:cNvSpPr>
            <p:nvPr/>
          </p:nvSpPr>
          <p:spPr bwMode="auto">
            <a:xfrm>
              <a:off x="9396413" y="1249363"/>
              <a:ext cx="1346200" cy="688975"/>
            </a:xfrm>
            <a:custGeom>
              <a:avLst/>
              <a:gdLst>
                <a:gd name="T0" fmla="*/ 26 w 848"/>
                <a:gd name="T1" fmla="*/ 420 h 434"/>
                <a:gd name="T2" fmla="*/ 0 w 848"/>
                <a:gd name="T3" fmla="*/ 356 h 434"/>
                <a:gd name="T4" fmla="*/ 14 w 848"/>
                <a:gd name="T5" fmla="*/ 316 h 434"/>
                <a:gd name="T6" fmla="*/ 782 w 848"/>
                <a:gd name="T7" fmla="*/ 0 h 434"/>
                <a:gd name="T8" fmla="*/ 822 w 848"/>
                <a:gd name="T9" fmla="*/ 14 h 434"/>
                <a:gd name="T10" fmla="*/ 848 w 848"/>
                <a:gd name="T11" fmla="*/ 80 h 434"/>
                <a:gd name="T12" fmla="*/ 832 w 848"/>
                <a:gd name="T13" fmla="*/ 118 h 434"/>
                <a:gd name="T14" fmla="*/ 64 w 848"/>
                <a:gd name="T15" fmla="*/ 434 h 434"/>
                <a:gd name="T16" fmla="*/ 26 w 848"/>
                <a:gd name="T17" fmla="*/ 42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4">
                  <a:moveTo>
                    <a:pt x="26" y="420"/>
                  </a:moveTo>
                  <a:lnTo>
                    <a:pt x="0" y="356"/>
                  </a:lnTo>
                  <a:lnTo>
                    <a:pt x="14" y="316"/>
                  </a:lnTo>
                  <a:lnTo>
                    <a:pt x="782" y="0"/>
                  </a:lnTo>
                  <a:lnTo>
                    <a:pt x="822" y="14"/>
                  </a:lnTo>
                  <a:lnTo>
                    <a:pt x="848" y="80"/>
                  </a:lnTo>
                  <a:lnTo>
                    <a:pt x="832" y="118"/>
                  </a:lnTo>
                  <a:lnTo>
                    <a:pt x="64" y="434"/>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0" name="Freeform 85"/>
            <p:cNvSpPr>
              <a:spLocks/>
            </p:cNvSpPr>
            <p:nvPr/>
          </p:nvSpPr>
          <p:spPr bwMode="auto">
            <a:xfrm>
              <a:off x="9536113" y="1039813"/>
              <a:ext cx="865188" cy="493713"/>
            </a:xfrm>
            <a:custGeom>
              <a:avLst/>
              <a:gdLst>
                <a:gd name="T0" fmla="*/ 26 w 545"/>
                <a:gd name="T1" fmla="*/ 295 h 311"/>
                <a:gd name="T2" fmla="*/ 0 w 545"/>
                <a:gd name="T3" fmla="*/ 231 h 311"/>
                <a:gd name="T4" fmla="*/ 16 w 545"/>
                <a:gd name="T5" fmla="*/ 193 h 311"/>
                <a:gd name="T6" fmla="*/ 481 w 545"/>
                <a:gd name="T7" fmla="*/ 0 h 311"/>
                <a:gd name="T8" fmla="*/ 519 w 545"/>
                <a:gd name="T9" fmla="*/ 16 h 311"/>
                <a:gd name="T10" fmla="*/ 545 w 545"/>
                <a:gd name="T11" fmla="*/ 80 h 311"/>
                <a:gd name="T12" fmla="*/ 531 w 545"/>
                <a:gd name="T13" fmla="*/ 118 h 311"/>
                <a:gd name="T14" fmla="*/ 63 w 545"/>
                <a:gd name="T15" fmla="*/ 311 h 311"/>
                <a:gd name="T16" fmla="*/ 26 w 545"/>
                <a:gd name="T17" fmla="*/ 29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311">
                  <a:moveTo>
                    <a:pt x="26" y="295"/>
                  </a:moveTo>
                  <a:lnTo>
                    <a:pt x="0" y="231"/>
                  </a:lnTo>
                  <a:lnTo>
                    <a:pt x="16" y="193"/>
                  </a:lnTo>
                  <a:lnTo>
                    <a:pt x="481" y="0"/>
                  </a:lnTo>
                  <a:lnTo>
                    <a:pt x="519" y="16"/>
                  </a:lnTo>
                  <a:lnTo>
                    <a:pt x="545" y="80"/>
                  </a:lnTo>
                  <a:lnTo>
                    <a:pt x="531" y="118"/>
                  </a:lnTo>
                  <a:lnTo>
                    <a:pt x="63" y="311"/>
                  </a:lnTo>
                  <a:lnTo>
                    <a:pt x="26" y="295"/>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2" name="Freeform 87"/>
            <p:cNvSpPr>
              <a:spLocks/>
            </p:cNvSpPr>
            <p:nvPr/>
          </p:nvSpPr>
          <p:spPr bwMode="auto">
            <a:xfrm>
              <a:off x="9396413" y="1943100"/>
              <a:ext cx="1346200" cy="693738"/>
            </a:xfrm>
            <a:custGeom>
              <a:avLst/>
              <a:gdLst>
                <a:gd name="T0" fmla="*/ 26 w 848"/>
                <a:gd name="T1" fmla="*/ 420 h 437"/>
                <a:gd name="T2" fmla="*/ 0 w 848"/>
                <a:gd name="T3" fmla="*/ 356 h 437"/>
                <a:gd name="T4" fmla="*/ 14 w 848"/>
                <a:gd name="T5" fmla="*/ 319 h 437"/>
                <a:gd name="T6" fmla="*/ 782 w 848"/>
                <a:gd name="T7" fmla="*/ 0 h 437"/>
                <a:gd name="T8" fmla="*/ 822 w 848"/>
                <a:gd name="T9" fmla="*/ 16 h 437"/>
                <a:gd name="T10" fmla="*/ 848 w 848"/>
                <a:gd name="T11" fmla="*/ 80 h 437"/>
                <a:gd name="T12" fmla="*/ 832 w 848"/>
                <a:gd name="T13" fmla="*/ 118 h 437"/>
                <a:gd name="T14" fmla="*/ 64 w 848"/>
                <a:gd name="T15" fmla="*/ 437 h 437"/>
                <a:gd name="T16" fmla="*/ 26 w 848"/>
                <a:gd name="T17" fmla="*/ 42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437">
                  <a:moveTo>
                    <a:pt x="26" y="420"/>
                  </a:moveTo>
                  <a:lnTo>
                    <a:pt x="0" y="356"/>
                  </a:lnTo>
                  <a:lnTo>
                    <a:pt x="14" y="319"/>
                  </a:lnTo>
                  <a:lnTo>
                    <a:pt x="782" y="0"/>
                  </a:lnTo>
                  <a:lnTo>
                    <a:pt x="822" y="16"/>
                  </a:lnTo>
                  <a:lnTo>
                    <a:pt x="848" y="80"/>
                  </a:lnTo>
                  <a:lnTo>
                    <a:pt x="832" y="118"/>
                  </a:lnTo>
                  <a:lnTo>
                    <a:pt x="64" y="437"/>
                  </a:lnTo>
                  <a:lnTo>
                    <a:pt x="26" y="420"/>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4" name="Freeform 89"/>
            <p:cNvSpPr>
              <a:spLocks/>
            </p:cNvSpPr>
            <p:nvPr/>
          </p:nvSpPr>
          <p:spPr bwMode="auto">
            <a:xfrm>
              <a:off x="9696450" y="2290763"/>
              <a:ext cx="1046163" cy="739775"/>
            </a:xfrm>
            <a:custGeom>
              <a:avLst/>
              <a:gdLst>
                <a:gd name="T0" fmla="*/ 31 w 659"/>
                <a:gd name="T1" fmla="*/ 466 h 466"/>
                <a:gd name="T2" fmla="*/ 0 w 659"/>
                <a:gd name="T3" fmla="*/ 435 h 466"/>
                <a:gd name="T4" fmla="*/ 0 w 659"/>
                <a:gd name="T5" fmla="*/ 265 h 466"/>
                <a:gd name="T6" fmla="*/ 33 w 659"/>
                <a:gd name="T7" fmla="*/ 232 h 466"/>
                <a:gd name="T8" fmla="*/ 593 w 659"/>
                <a:gd name="T9" fmla="*/ 0 h 466"/>
                <a:gd name="T10" fmla="*/ 633 w 659"/>
                <a:gd name="T11" fmla="*/ 17 h 466"/>
                <a:gd name="T12" fmla="*/ 659 w 659"/>
                <a:gd name="T13" fmla="*/ 81 h 466"/>
                <a:gd name="T14" fmla="*/ 643 w 659"/>
                <a:gd name="T15" fmla="*/ 118 h 466"/>
                <a:gd name="T16" fmla="*/ 128 w 659"/>
                <a:gd name="T17" fmla="*/ 331 h 466"/>
                <a:gd name="T18" fmla="*/ 128 w 659"/>
                <a:gd name="T19" fmla="*/ 435 h 466"/>
                <a:gd name="T20" fmla="*/ 99 w 659"/>
                <a:gd name="T21" fmla="*/ 466 h 466"/>
                <a:gd name="T22" fmla="*/ 31 w 659"/>
                <a:gd name="T23"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9" h="466">
                  <a:moveTo>
                    <a:pt x="31" y="466"/>
                  </a:moveTo>
                  <a:lnTo>
                    <a:pt x="0" y="435"/>
                  </a:lnTo>
                  <a:lnTo>
                    <a:pt x="0" y="265"/>
                  </a:lnTo>
                  <a:lnTo>
                    <a:pt x="33" y="232"/>
                  </a:lnTo>
                  <a:lnTo>
                    <a:pt x="593" y="0"/>
                  </a:lnTo>
                  <a:lnTo>
                    <a:pt x="633" y="17"/>
                  </a:lnTo>
                  <a:lnTo>
                    <a:pt x="659" y="81"/>
                  </a:lnTo>
                  <a:lnTo>
                    <a:pt x="643" y="118"/>
                  </a:lnTo>
                  <a:lnTo>
                    <a:pt x="128" y="331"/>
                  </a:lnTo>
                  <a:lnTo>
                    <a:pt x="128" y="435"/>
                  </a:lnTo>
                  <a:lnTo>
                    <a:pt x="99" y="466"/>
                  </a:lnTo>
                  <a:lnTo>
                    <a:pt x="31" y="466"/>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6" name="Freeform 91"/>
            <p:cNvSpPr>
              <a:spLocks/>
            </p:cNvSpPr>
            <p:nvPr/>
          </p:nvSpPr>
          <p:spPr bwMode="auto">
            <a:xfrm>
              <a:off x="9715500" y="3251200"/>
              <a:ext cx="708025" cy="104775"/>
            </a:xfrm>
            <a:custGeom>
              <a:avLst/>
              <a:gdLst>
                <a:gd name="T0" fmla="*/ 446 w 446"/>
                <a:gd name="T1" fmla="*/ 52 h 66"/>
                <a:gd name="T2" fmla="*/ 430 w 446"/>
                <a:gd name="T3" fmla="*/ 66 h 66"/>
                <a:gd name="T4" fmla="*/ 17 w 446"/>
                <a:gd name="T5" fmla="*/ 66 h 66"/>
                <a:gd name="T6" fmla="*/ 0 w 446"/>
                <a:gd name="T7" fmla="*/ 52 h 66"/>
                <a:gd name="T8" fmla="*/ 0 w 446"/>
                <a:gd name="T9" fmla="*/ 17 h 66"/>
                <a:gd name="T10" fmla="*/ 17 w 446"/>
                <a:gd name="T11" fmla="*/ 0 h 66"/>
                <a:gd name="T12" fmla="*/ 430 w 446"/>
                <a:gd name="T13" fmla="*/ 0 h 66"/>
                <a:gd name="T14" fmla="*/ 446 w 446"/>
                <a:gd name="T15" fmla="*/ 17 h 66"/>
                <a:gd name="T16" fmla="*/ 446 w 446"/>
                <a:gd name="T17"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66">
                  <a:moveTo>
                    <a:pt x="446" y="52"/>
                  </a:moveTo>
                  <a:lnTo>
                    <a:pt x="430" y="66"/>
                  </a:lnTo>
                  <a:lnTo>
                    <a:pt x="17" y="66"/>
                  </a:lnTo>
                  <a:lnTo>
                    <a:pt x="0" y="52"/>
                  </a:lnTo>
                  <a:lnTo>
                    <a:pt x="0" y="17"/>
                  </a:lnTo>
                  <a:lnTo>
                    <a:pt x="17" y="0"/>
                  </a:lnTo>
                  <a:lnTo>
                    <a:pt x="430" y="0"/>
                  </a:lnTo>
                  <a:lnTo>
                    <a:pt x="446" y="17"/>
                  </a:lnTo>
                  <a:lnTo>
                    <a:pt x="446" y="52"/>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Freeform 92"/>
            <p:cNvSpPr>
              <a:spLocks/>
            </p:cNvSpPr>
            <p:nvPr/>
          </p:nvSpPr>
          <p:spPr bwMode="auto">
            <a:xfrm>
              <a:off x="9966325" y="3573463"/>
              <a:ext cx="206375" cy="79375"/>
            </a:xfrm>
            <a:custGeom>
              <a:avLst/>
              <a:gdLst>
                <a:gd name="T0" fmla="*/ 130 w 130"/>
                <a:gd name="T1" fmla="*/ 36 h 50"/>
                <a:gd name="T2" fmla="*/ 114 w 130"/>
                <a:gd name="T3" fmla="*/ 50 h 50"/>
                <a:gd name="T4" fmla="*/ 14 w 130"/>
                <a:gd name="T5" fmla="*/ 50 h 50"/>
                <a:gd name="T6" fmla="*/ 0 w 130"/>
                <a:gd name="T7" fmla="*/ 36 h 50"/>
                <a:gd name="T8" fmla="*/ 0 w 130"/>
                <a:gd name="T9" fmla="*/ 0 h 50"/>
                <a:gd name="T10" fmla="*/ 130 w 130"/>
                <a:gd name="T11" fmla="*/ 0 h 50"/>
                <a:gd name="T12" fmla="*/ 130 w 130"/>
                <a:gd name="T13" fmla="*/ 36 h 50"/>
              </a:gdLst>
              <a:ahLst/>
              <a:cxnLst>
                <a:cxn ang="0">
                  <a:pos x="T0" y="T1"/>
                </a:cxn>
                <a:cxn ang="0">
                  <a:pos x="T2" y="T3"/>
                </a:cxn>
                <a:cxn ang="0">
                  <a:pos x="T4" y="T5"/>
                </a:cxn>
                <a:cxn ang="0">
                  <a:pos x="T6" y="T7"/>
                </a:cxn>
                <a:cxn ang="0">
                  <a:pos x="T8" y="T9"/>
                </a:cxn>
                <a:cxn ang="0">
                  <a:pos x="T10" y="T11"/>
                </a:cxn>
                <a:cxn ang="0">
                  <a:pos x="T12" y="T13"/>
                </a:cxn>
              </a:cxnLst>
              <a:rect l="0" t="0" r="r" b="b"/>
              <a:pathLst>
                <a:path w="130" h="50">
                  <a:moveTo>
                    <a:pt x="130" y="36"/>
                  </a:moveTo>
                  <a:lnTo>
                    <a:pt x="114" y="50"/>
                  </a:lnTo>
                  <a:lnTo>
                    <a:pt x="14" y="50"/>
                  </a:lnTo>
                  <a:lnTo>
                    <a:pt x="0" y="36"/>
                  </a:lnTo>
                  <a:lnTo>
                    <a:pt x="0" y="0"/>
                  </a:lnTo>
                  <a:lnTo>
                    <a:pt x="130" y="0"/>
                  </a:lnTo>
                  <a:lnTo>
                    <a:pt x="130" y="36"/>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9" name="Freeform 93"/>
            <p:cNvSpPr>
              <a:spLocks/>
            </p:cNvSpPr>
            <p:nvPr/>
          </p:nvSpPr>
          <p:spPr bwMode="auto">
            <a:xfrm>
              <a:off x="9794875" y="3413125"/>
              <a:ext cx="550863" cy="104775"/>
            </a:xfrm>
            <a:custGeom>
              <a:avLst/>
              <a:gdLst>
                <a:gd name="T0" fmla="*/ 278 w 347"/>
                <a:gd name="T1" fmla="*/ 66 h 66"/>
                <a:gd name="T2" fmla="*/ 347 w 347"/>
                <a:gd name="T3" fmla="*/ 0 h 66"/>
                <a:gd name="T4" fmla="*/ 0 w 347"/>
                <a:gd name="T5" fmla="*/ 0 h 66"/>
                <a:gd name="T6" fmla="*/ 66 w 347"/>
                <a:gd name="T7" fmla="*/ 66 h 66"/>
                <a:gd name="T8" fmla="*/ 278 w 347"/>
                <a:gd name="T9" fmla="*/ 66 h 66"/>
              </a:gdLst>
              <a:ahLst/>
              <a:cxnLst>
                <a:cxn ang="0">
                  <a:pos x="T0" y="T1"/>
                </a:cxn>
                <a:cxn ang="0">
                  <a:pos x="T2" y="T3"/>
                </a:cxn>
                <a:cxn ang="0">
                  <a:pos x="T4" y="T5"/>
                </a:cxn>
                <a:cxn ang="0">
                  <a:pos x="T6" y="T7"/>
                </a:cxn>
                <a:cxn ang="0">
                  <a:pos x="T8" y="T9"/>
                </a:cxn>
              </a:cxnLst>
              <a:rect l="0" t="0" r="r" b="b"/>
              <a:pathLst>
                <a:path w="347" h="66">
                  <a:moveTo>
                    <a:pt x="278" y="66"/>
                  </a:moveTo>
                  <a:lnTo>
                    <a:pt x="347" y="0"/>
                  </a:lnTo>
                  <a:lnTo>
                    <a:pt x="0" y="0"/>
                  </a:lnTo>
                  <a:lnTo>
                    <a:pt x="66" y="66"/>
                  </a:lnTo>
                  <a:lnTo>
                    <a:pt x="278" y="66"/>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0" name="Freeform 94"/>
            <p:cNvSpPr>
              <a:spLocks/>
            </p:cNvSpPr>
            <p:nvPr/>
          </p:nvSpPr>
          <p:spPr bwMode="auto">
            <a:xfrm>
              <a:off x="10236200" y="2722563"/>
              <a:ext cx="203200" cy="307975"/>
            </a:xfrm>
            <a:custGeom>
              <a:avLst/>
              <a:gdLst>
                <a:gd name="T0" fmla="*/ 29 w 128"/>
                <a:gd name="T1" fmla="*/ 194 h 194"/>
                <a:gd name="T2" fmla="*/ 0 w 128"/>
                <a:gd name="T3" fmla="*/ 163 h 194"/>
                <a:gd name="T4" fmla="*/ 0 w 128"/>
                <a:gd name="T5" fmla="*/ 52 h 194"/>
                <a:gd name="T6" fmla="*/ 128 w 128"/>
                <a:gd name="T7" fmla="*/ 0 h 194"/>
                <a:gd name="T8" fmla="*/ 128 w 128"/>
                <a:gd name="T9" fmla="*/ 163 h 194"/>
                <a:gd name="T10" fmla="*/ 99 w 128"/>
                <a:gd name="T11" fmla="*/ 194 h 194"/>
                <a:gd name="T12" fmla="*/ 29 w 128"/>
                <a:gd name="T13" fmla="*/ 194 h 194"/>
              </a:gdLst>
              <a:ahLst/>
              <a:cxnLst>
                <a:cxn ang="0">
                  <a:pos x="T0" y="T1"/>
                </a:cxn>
                <a:cxn ang="0">
                  <a:pos x="T2" y="T3"/>
                </a:cxn>
                <a:cxn ang="0">
                  <a:pos x="T4" y="T5"/>
                </a:cxn>
                <a:cxn ang="0">
                  <a:pos x="T6" y="T7"/>
                </a:cxn>
                <a:cxn ang="0">
                  <a:pos x="T8" y="T9"/>
                </a:cxn>
                <a:cxn ang="0">
                  <a:pos x="T10" y="T11"/>
                </a:cxn>
                <a:cxn ang="0">
                  <a:pos x="T12" y="T13"/>
                </a:cxn>
              </a:cxnLst>
              <a:rect l="0" t="0" r="r" b="b"/>
              <a:pathLst>
                <a:path w="128" h="194">
                  <a:moveTo>
                    <a:pt x="29" y="194"/>
                  </a:moveTo>
                  <a:lnTo>
                    <a:pt x="0" y="163"/>
                  </a:lnTo>
                  <a:lnTo>
                    <a:pt x="0" y="52"/>
                  </a:lnTo>
                  <a:lnTo>
                    <a:pt x="128" y="0"/>
                  </a:lnTo>
                  <a:lnTo>
                    <a:pt x="128" y="163"/>
                  </a:lnTo>
                  <a:lnTo>
                    <a:pt x="99" y="194"/>
                  </a:lnTo>
                  <a:lnTo>
                    <a:pt x="29" y="194"/>
                  </a:ln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92" name="Line 96"/>
            <p:cNvSpPr>
              <a:spLocks noChangeShapeType="1"/>
            </p:cNvSpPr>
            <p:nvPr/>
          </p:nvSpPr>
          <p:spPr bwMode="auto">
            <a:xfrm flipV="1">
              <a:off x="10067925" y="228600"/>
              <a:ext cx="0" cy="539750"/>
            </a:xfrm>
            <a:prstGeom prst="line">
              <a:avLst/>
            </a:prstGeom>
            <a:noFill/>
            <a:ln w="14288"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Line 97"/>
            <p:cNvSpPr>
              <a:spLocks noChangeShapeType="1"/>
            </p:cNvSpPr>
            <p:nvPr/>
          </p:nvSpPr>
          <p:spPr bwMode="auto">
            <a:xfrm flipV="1">
              <a:off x="10364788" y="330200"/>
              <a:ext cx="209550" cy="498475"/>
            </a:xfrm>
            <a:prstGeom prst="line">
              <a:avLst/>
            </a:prstGeom>
            <a:noFill/>
            <a:ln w="14288"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4" name="Line 98"/>
            <p:cNvSpPr>
              <a:spLocks noChangeShapeType="1"/>
            </p:cNvSpPr>
            <p:nvPr/>
          </p:nvSpPr>
          <p:spPr bwMode="auto">
            <a:xfrm flipV="1">
              <a:off x="10618788" y="615950"/>
              <a:ext cx="379413" cy="382588"/>
            </a:xfrm>
            <a:prstGeom prst="line">
              <a:avLst/>
            </a:prstGeom>
            <a:noFill/>
            <a:ln w="14288"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5" name="Line 99"/>
            <p:cNvSpPr>
              <a:spLocks noChangeShapeType="1"/>
            </p:cNvSpPr>
            <p:nvPr/>
          </p:nvSpPr>
          <p:spPr bwMode="auto">
            <a:xfrm flipH="1" flipV="1">
              <a:off x="9566275" y="330200"/>
              <a:ext cx="204788" cy="498475"/>
            </a:xfrm>
            <a:prstGeom prst="line">
              <a:avLst/>
            </a:prstGeom>
            <a:noFill/>
            <a:ln w="14288"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Line 100"/>
            <p:cNvSpPr>
              <a:spLocks noChangeShapeType="1"/>
            </p:cNvSpPr>
            <p:nvPr/>
          </p:nvSpPr>
          <p:spPr bwMode="auto">
            <a:xfrm flipH="1" flipV="1">
              <a:off x="9137650" y="615950"/>
              <a:ext cx="382588" cy="382588"/>
            </a:xfrm>
            <a:prstGeom prst="line">
              <a:avLst/>
            </a:prstGeom>
            <a:noFill/>
            <a:ln w="14288"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47" name="Group 1146"/>
          <p:cNvGrpSpPr/>
          <p:nvPr/>
        </p:nvGrpSpPr>
        <p:grpSpPr>
          <a:xfrm>
            <a:off x="7090812" y="1835420"/>
            <a:ext cx="353320" cy="429236"/>
            <a:chOff x="10474325" y="-4013563"/>
            <a:chExt cx="5681662" cy="6902451"/>
          </a:xfrm>
        </p:grpSpPr>
        <p:sp>
          <p:nvSpPr>
            <p:cNvPr id="1146" name="Freeform 1145"/>
            <p:cNvSpPr/>
            <p:nvPr/>
          </p:nvSpPr>
          <p:spPr bwMode="gray">
            <a:xfrm>
              <a:off x="14690722" y="1203332"/>
              <a:ext cx="444505" cy="444505"/>
            </a:xfrm>
            <a:custGeom>
              <a:avLst/>
              <a:gdLst>
                <a:gd name="connsiteX0" fmla="*/ 38100 w 444500"/>
                <a:gd name="connsiteY0" fmla="*/ 0 h 444500"/>
                <a:gd name="connsiteX1" fmla="*/ 3175 w 444500"/>
                <a:gd name="connsiteY1" fmla="*/ 50800 h 444500"/>
                <a:gd name="connsiteX2" fmla="*/ 44450 w 444500"/>
                <a:gd name="connsiteY2" fmla="*/ 107950 h 444500"/>
                <a:gd name="connsiteX3" fmla="*/ 6350 w 444500"/>
                <a:gd name="connsiteY3" fmla="*/ 174625 h 444500"/>
                <a:gd name="connsiteX4" fmla="*/ 53975 w 444500"/>
                <a:gd name="connsiteY4" fmla="*/ 238125 h 444500"/>
                <a:gd name="connsiteX5" fmla="*/ 3175 w 444500"/>
                <a:gd name="connsiteY5" fmla="*/ 285750 h 444500"/>
                <a:gd name="connsiteX6" fmla="*/ 57150 w 444500"/>
                <a:gd name="connsiteY6" fmla="*/ 358775 h 444500"/>
                <a:gd name="connsiteX7" fmla="*/ 0 w 444500"/>
                <a:gd name="connsiteY7" fmla="*/ 406400 h 444500"/>
                <a:gd name="connsiteX8" fmla="*/ 28575 w 444500"/>
                <a:gd name="connsiteY8" fmla="*/ 444500 h 444500"/>
                <a:gd name="connsiteX9" fmla="*/ 412750 w 444500"/>
                <a:gd name="connsiteY9" fmla="*/ 444500 h 444500"/>
                <a:gd name="connsiteX10" fmla="*/ 434975 w 444500"/>
                <a:gd name="connsiteY10" fmla="*/ 409575 h 444500"/>
                <a:gd name="connsiteX11" fmla="*/ 381000 w 444500"/>
                <a:gd name="connsiteY11" fmla="*/ 352425 h 444500"/>
                <a:gd name="connsiteX12" fmla="*/ 444500 w 444500"/>
                <a:gd name="connsiteY12" fmla="*/ 285750 h 444500"/>
                <a:gd name="connsiteX13" fmla="*/ 387350 w 444500"/>
                <a:gd name="connsiteY13" fmla="*/ 225425 h 444500"/>
                <a:gd name="connsiteX14" fmla="*/ 444500 w 444500"/>
                <a:gd name="connsiteY14" fmla="*/ 174625 h 444500"/>
                <a:gd name="connsiteX15" fmla="*/ 384175 w 444500"/>
                <a:gd name="connsiteY15" fmla="*/ 111125 h 444500"/>
                <a:gd name="connsiteX16" fmla="*/ 441325 w 444500"/>
                <a:gd name="connsiteY16" fmla="*/ 41275 h 444500"/>
                <a:gd name="connsiteX17" fmla="*/ 403225 w 444500"/>
                <a:gd name="connsiteY17" fmla="*/ 9525 h 444500"/>
                <a:gd name="connsiteX18" fmla="*/ 38100 w 444500"/>
                <a:gd name="connsiteY18"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4500" h="444500">
                  <a:moveTo>
                    <a:pt x="38100" y="0"/>
                  </a:moveTo>
                  <a:lnTo>
                    <a:pt x="3175" y="50800"/>
                  </a:lnTo>
                  <a:lnTo>
                    <a:pt x="44450" y="107950"/>
                  </a:lnTo>
                  <a:lnTo>
                    <a:pt x="6350" y="174625"/>
                  </a:lnTo>
                  <a:lnTo>
                    <a:pt x="53975" y="238125"/>
                  </a:lnTo>
                  <a:lnTo>
                    <a:pt x="3175" y="285750"/>
                  </a:lnTo>
                  <a:lnTo>
                    <a:pt x="57150" y="358775"/>
                  </a:lnTo>
                  <a:lnTo>
                    <a:pt x="0" y="406400"/>
                  </a:lnTo>
                  <a:lnTo>
                    <a:pt x="28575" y="444500"/>
                  </a:lnTo>
                  <a:lnTo>
                    <a:pt x="412750" y="444500"/>
                  </a:lnTo>
                  <a:lnTo>
                    <a:pt x="434975" y="409575"/>
                  </a:lnTo>
                  <a:lnTo>
                    <a:pt x="381000" y="352425"/>
                  </a:lnTo>
                  <a:lnTo>
                    <a:pt x="444500" y="285750"/>
                  </a:lnTo>
                  <a:lnTo>
                    <a:pt x="387350" y="225425"/>
                  </a:lnTo>
                  <a:lnTo>
                    <a:pt x="444500" y="174625"/>
                  </a:lnTo>
                  <a:lnTo>
                    <a:pt x="384175" y="111125"/>
                  </a:lnTo>
                  <a:lnTo>
                    <a:pt x="441325" y="41275"/>
                  </a:lnTo>
                  <a:lnTo>
                    <a:pt x="403225" y="9525"/>
                  </a:lnTo>
                  <a:lnTo>
                    <a:pt x="38100"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112" name="Freeform 114"/>
            <p:cNvSpPr>
              <a:spLocks/>
            </p:cNvSpPr>
            <p:nvPr/>
          </p:nvSpPr>
          <p:spPr bwMode="auto">
            <a:xfrm>
              <a:off x="11022012" y="-324213"/>
              <a:ext cx="119063" cy="3213100"/>
            </a:xfrm>
            <a:custGeom>
              <a:avLst/>
              <a:gdLst>
                <a:gd name="T0" fmla="*/ 0 w 32"/>
                <a:gd name="T1" fmla="*/ 850 h 857"/>
                <a:gd name="T2" fmla="*/ 16 w 32"/>
                <a:gd name="T3" fmla="*/ 857 h 857"/>
                <a:gd name="T4" fmla="*/ 32 w 32"/>
                <a:gd name="T5" fmla="*/ 850 h 857"/>
                <a:gd name="T6" fmla="*/ 32 w 32"/>
                <a:gd name="T7" fmla="*/ 0 h 857"/>
                <a:gd name="T8" fmla="*/ 0 w 32"/>
                <a:gd name="T9" fmla="*/ 0 h 857"/>
                <a:gd name="T10" fmla="*/ 0 w 32"/>
                <a:gd name="T11" fmla="*/ 850 h 857"/>
              </a:gdLst>
              <a:ahLst/>
              <a:cxnLst>
                <a:cxn ang="0">
                  <a:pos x="T0" y="T1"/>
                </a:cxn>
                <a:cxn ang="0">
                  <a:pos x="T2" y="T3"/>
                </a:cxn>
                <a:cxn ang="0">
                  <a:pos x="T4" y="T5"/>
                </a:cxn>
                <a:cxn ang="0">
                  <a:pos x="T6" y="T7"/>
                </a:cxn>
                <a:cxn ang="0">
                  <a:pos x="T8" y="T9"/>
                </a:cxn>
                <a:cxn ang="0">
                  <a:pos x="T10" y="T11"/>
                </a:cxn>
              </a:cxnLst>
              <a:rect l="0" t="0" r="r" b="b"/>
              <a:pathLst>
                <a:path w="32" h="857">
                  <a:moveTo>
                    <a:pt x="0" y="850"/>
                  </a:moveTo>
                  <a:cubicBezTo>
                    <a:pt x="0" y="854"/>
                    <a:pt x="7" y="857"/>
                    <a:pt x="16" y="857"/>
                  </a:cubicBezTo>
                  <a:cubicBezTo>
                    <a:pt x="25" y="857"/>
                    <a:pt x="32" y="854"/>
                    <a:pt x="32" y="850"/>
                  </a:cubicBezTo>
                  <a:cubicBezTo>
                    <a:pt x="32" y="0"/>
                    <a:pt x="32" y="0"/>
                    <a:pt x="32" y="0"/>
                  </a:cubicBezTo>
                  <a:cubicBezTo>
                    <a:pt x="0" y="0"/>
                    <a:pt x="0" y="0"/>
                    <a:pt x="0" y="0"/>
                  </a:cubicBezTo>
                  <a:lnTo>
                    <a:pt x="0" y="85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4" name="Freeform 116"/>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5" name="Freeform 117"/>
            <p:cNvSpPr>
              <a:spLocks/>
            </p:cNvSpPr>
            <p:nvPr/>
          </p:nvSpPr>
          <p:spPr bwMode="auto">
            <a:xfrm>
              <a:off x="10474325" y="-467088"/>
              <a:ext cx="4806950" cy="142875"/>
            </a:xfrm>
            <a:custGeom>
              <a:avLst/>
              <a:gdLst>
                <a:gd name="T0" fmla="*/ 3028 w 3028"/>
                <a:gd name="T1" fmla="*/ 90 h 90"/>
                <a:gd name="T2" fmla="*/ 0 w 3028"/>
                <a:gd name="T3" fmla="*/ 90 h 90"/>
                <a:gd name="T4" fmla="*/ 0 w 3028"/>
                <a:gd name="T5" fmla="*/ 0 h 90"/>
                <a:gd name="T6" fmla="*/ 3028 w 3028"/>
                <a:gd name="T7" fmla="*/ 0 h 90"/>
              </a:gdLst>
              <a:ahLst/>
              <a:cxnLst>
                <a:cxn ang="0">
                  <a:pos x="T0" y="T1"/>
                </a:cxn>
                <a:cxn ang="0">
                  <a:pos x="T2" y="T3"/>
                </a:cxn>
                <a:cxn ang="0">
                  <a:pos x="T4" y="T5"/>
                </a:cxn>
                <a:cxn ang="0">
                  <a:pos x="T6" y="T7"/>
                </a:cxn>
              </a:cxnLst>
              <a:rect l="0" t="0" r="r" b="b"/>
              <a:pathLst>
                <a:path w="3028" h="90">
                  <a:moveTo>
                    <a:pt x="3028" y="90"/>
                  </a:moveTo>
                  <a:lnTo>
                    <a:pt x="0" y="90"/>
                  </a:lnTo>
                  <a:lnTo>
                    <a:pt x="0" y="0"/>
                  </a:lnTo>
                  <a:lnTo>
                    <a:pt x="3028" y="0"/>
                  </a:lnTo>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7" name="Oval 119"/>
            <p:cNvSpPr>
              <a:spLocks noChangeArrowheads="1"/>
            </p:cNvSpPr>
            <p:nvPr/>
          </p:nvSpPr>
          <p:spPr bwMode="auto">
            <a:xfrm>
              <a:off x="14347825" y="-4013563"/>
              <a:ext cx="1412875" cy="1409700"/>
            </a:xfrm>
            <a:prstGeom prst="ellipse">
              <a:avLst/>
            </a:pr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19" name="Freeform 121"/>
            <p:cNvSpPr>
              <a:spLocks/>
            </p:cNvSpPr>
            <p:nvPr/>
          </p:nvSpPr>
          <p:spPr bwMode="auto">
            <a:xfrm>
              <a:off x="13458825" y="-2405425"/>
              <a:ext cx="2185988" cy="1938338"/>
            </a:xfrm>
            <a:custGeom>
              <a:avLst/>
              <a:gdLst>
                <a:gd name="T0" fmla="*/ 1254 w 1377"/>
                <a:gd name="T1" fmla="*/ 1131 h 1221"/>
                <a:gd name="T2" fmla="*/ 1148 w 1377"/>
                <a:gd name="T3" fmla="*/ 1221 h 1221"/>
                <a:gd name="T4" fmla="*/ 92 w 1377"/>
                <a:gd name="T5" fmla="*/ 1221 h 1221"/>
                <a:gd name="T6" fmla="*/ 0 w 1377"/>
                <a:gd name="T7" fmla="*/ 1129 h 1221"/>
                <a:gd name="T8" fmla="*/ 0 w 1377"/>
                <a:gd name="T9" fmla="*/ 919 h 1221"/>
                <a:gd name="T10" fmla="*/ 92 w 1377"/>
                <a:gd name="T11" fmla="*/ 824 h 1221"/>
                <a:gd name="T12" fmla="*/ 754 w 1377"/>
                <a:gd name="T13" fmla="*/ 824 h 1221"/>
                <a:gd name="T14" fmla="*/ 886 w 1377"/>
                <a:gd name="T15" fmla="*/ 92 h 1221"/>
                <a:gd name="T16" fmla="*/ 995 w 1377"/>
                <a:gd name="T17" fmla="*/ 0 h 1221"/>
                <a:gd name="T18" fmla="*/ 1146 w 1377"/>
                <a:gd name="T19" fmla="*/ 0 h 1221"/>
                <a:gd name="T20" fmla="*/ 1226 w 1377"/>
                <a:gd name="T21" fmla="*/ 33 h 1221"/>
                <a:gd name="T22" fmla="*/ 1351 w 1377"/>
                <a:gd name="T23" fmla="*/ 158 h 1221"/>
                <a:gd name="T24" fmla="*/ 1377 w 1377"/>
                <a:gd name="T25" fmla="*/ 239 h 1221"/>
                <a:gd name="T26" fmla="*/ 1254 w 1377"/>
                <a:gd name="T27" fmla="*/ 1131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7" h="1221">
                  <a:moveTo>
                    <a:pt x="1254" y="1131"/>
                  </a:moveTo>
                  <a:lnTo>
                    <a:pt x="1148" y="1221"/>
                  </a:lnTo>
                  <a:lnTo>
                    <a:pt x="92" y="1221"/>
                  </a:lnTo>
                  <a:lnTo>
                    <a:pt x="0" y="1129"/>
                  </a:lnTo>
                  <a:lnTo>
                    <a:pt x="0" y="919"/>
                  </a:lnTo>
                  <a:lnTo>
                    <a:pt x="92" y="824"/>
                  </a:lnTo>
                  <a:lnTo>
                    <a:pt x="754" y="824"/>
                  </a:lnTo>
                  <a:lnTo>
                    <a:pt x="886" y="92"/>
                  </a:lnTo>
                  <a:lnTo>
                    <a:pt x="995" y="0"/>
                  </a:lnTo>
                  <a:lnTo>
                    <a:pt x="1146" y="0"/>
                  </a:lnTo>
                  <a:lnTo>
                    <a:pt x="1226" y="33"/>
                  </a:lnTo>
                  <a:lnTo>
                    <a:pt x="1351" y="158"/>
                  </a:lnTo>
                  <a:lnTo>
                    <a:pt x="1377" y="239"/>
                  </a:lnTo>
                  <a:lnTo>
                    <a:pt x="1254" y="1131"/>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21" name="Freeform 123"/>
            <p:cNvSpPr>
              <a:spLocks/>
            </p:cNvSpPr>
            <p:nvPr/>
          </p:nvSpPr>
          <p:spPr bwMode="auto">
            <a:xfrm>
              <a:off x="12596812" y="39325"/>
              <a:ext cx="2879725" cy="2224088"/>
            </a:xfrm>
            <a:custGeom>
              <a:avLst/>
              <a:gdLst>
                <a:gd name="T0" fmla="*/ 177 w 1814"/>
                <a:gd name="T1" fmla="*/ 0 h 1401"/>
                <a:gd name="T2" fmla="*/ 0 w 1814"/>
                <a:gd name="T3" fmla="*/ 175 h 1401"/>
                <a:gd name="T4" fmla="*/ 0 w 1814"/>
                <a:gd name="T5" fmla="*/ 1401 h 1401"/>
                <a:gd name="T6" fmla="*/ 427 w 1814"/>
                <a:gd name="T7" fmla="*/ 1401 h 1401"/>
                <a:gd name="T8" fmla="*/ 427 w 1814"/>
                <a:gd name="T9" fmla="*/ 437 h 1401"/>
                <a:gd name="T10" fmla="*/ 472 w 1814"/>
                <a:gd name="T11" fmla="*/ 380 h 1401"/>
                <a:gd name="T12" fmla="*/ 1606 w 1814"/>
                <a:gd name="T13" fmla="*/ 477 h 1401"/>
                <a:gd name="T14" fmla="*/ 1802 w 1814"/>
                <a:gd name="T15" fmla="*/ 378 h 1401"/>
                <a:gd name="T16" fmla="*/ 1814 w 1814"/>
                <a:gd name="T17" fmla="*/ 0 h 1401"/>
                <a:gd name="T18" fmla="*/ 177 w 1814"/>
                <a:gd name="T19" fmla="*/ 0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1401">
                  <a:moveTo>
                    <a:pt x="177" y="0"/>
                  </a:moveTo>
                  <a:lnTo>
                    <a:pt x="0" y="175"/>
                  </a:lnTo>
                  <a:lnTo>
                    <a:pt x="0" y="1401"/>
                  </a:lnTo>
                  <a:lnTo>
                    <a:pt x="427" y="1401"/>
                  </a:lnTo>
                  <a:lnTo>
                    <a:pt x="427" y="437"/>
                  </a:lnTo>
                  <a:lnTo>
                    <a:pt x="472" y="380"/>
                  </a:lnTo>
                  <a:lnTo>
                    <a:pt x="1606" y="477"/>
                  </a:lnTo>
                  <a:lnTo>
                    <a:pt x="1802" y="378"/>
                  </a:lnTo>
                  <a:lnTo>
                    <a:pt x="1814" y="0"/>
                  </a:lnTo>
                  <a:lnTo>
                    <a:pt x="177" y="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3" name="Freeform 125"/>
            <p:cNvSpPr>
              <a:spLocks/>
            </p:cNvSpPr>
            <p:nvPr/>
          </p:nvSpPr>
          <p:spPr bwMode="auto">
            <a:xfrm>
              <a:off x="12030075" y="2476138"/>
              <a:ext cx="1244600" cy="412750"/>
            </a:xfrm>
            <a:custGeom>
              <a:avLst/>
              <a:gdLst>
                <a:gd name="T0" fmla="*/ 0 w 784"/>
                <a:gd name="T1" fmla="*/ 260 h 260"/>
                <a:gd name="T2" fmla="*/ 784 w 784"/>
                <a:gd name="T3" fmla="*/ 260 h 260"/>
                <a:gd name="T4" fmla="*/ 784 w 784"/>
                <a:gd name="T5" fmla="*/ 0 h 260"/>
                <a:gd name="T6" fmla="*/ 357 w 784"/>
                <a:gd name="T7" fmla="*/ 0 h 260"/>
                <a:gd name="T8" fmla="*/ 0 w 784"/>
                <a:gd name="T9" fmla="*/ 81 h 260"/>
                <a:gd name="T10" fmla="*/ 0 w 784"/>
                <a:gd name="T11" fmla="*/ 260 h 260"/>
              </a:gdLst>
              <a:ahLst/>
              <a:cxnLst>
                <a:cxn ang="0">
                  <a:pos x="T0" y="T1"/>
                </a:cxn>
                <a:cxn ang="0">
                  <a:pos x="T2" y="T3"/>
                </a:cxn>
                <a:cxn ang="0">
                  <a:pos x="T4" y="T5"/>
                </a:cxn>
                <a:cxn ang="0">
                  <a:pos x="T6" y="T7"/>
                </a:cxn>
                <a:cxn ang="0">
                  <a:pos x="T8" y="T9"/>
                </a:cxn>
                <a:cxn ang="0">
                  <a:pos x="T10" y="T11"/>
                </a:cxn>
              </a:cxnLst>
              <a:rect l="0" t="0" r="r" b="b"/>
              <a:pathLst>
                <a:path w="784" h="260">
                  <a:moveTo>
                    <a:pt x="0" y="260"/>
                  </a:moveTo>
                  <a:lnTo>
                    <a:pt x="784" y="260"/>
                  </a:lnTo>
                  <a:lnTo>
                    <a:pt x="784" y="0"/>
                  </a:lnTo>
                  <a:lnTo>
                    <a:pt x="357" y="0"/>
                  </a:lnTo>
                  <a:lnTo>
                    <a:pt x="0" y="81"/>
                  </a:lnTo>
                  <a:lnTo>
                    <a:pt x="0" y="260"/>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6" name="Freeform 127"/>
            <p:cNvSpPr>
              <a:spLocks noEditPoints="1"/>
            </p:cNvSpPr>
            <p:nvPr/>
          </p:nvSpPr>
          <p:spPr bwMode="auto">
            <a:xfrm>
              <a:off x="13714410" y="1756994"/>
              <a:ext cx="2392370" cy="746132"/>
            </a:xfrm>
            <a:custGeom>
              <a:avLst/>
              <a:gdLst>
                <a:gd name="T0" fmla="*/ 878 w 1507"/>
                <a:gd name="T1" fmla="*/ 0 h 470"/>
                <a:gd name="T2" fmla="*/ 630 w 1507"/>
                <a:gd name="T3" fmla="*/ 0 h 470"/>
                <a:gd name="T4" fmla="*/ 630 w 1507"/>
                <a:gd name="T5" fmla="*/ 102 h 470"/>
                <a:gd name="T6" fmla="*/ 0 w 1507"/>
                <a:gd name="T7" fmla="*/ 361 h 470"/>
                <a:gd name="T8" fmla="*/ 0 w 1507"/>
                <a:gd name="T9" fmla="*/ 470 h 470"/>
                <a:gd name="T10" fmla="*/ 139 w 1507"/>
                <a:gd name="T11" fmla="*/ 470 h 470"/>
                <a:gd name="T12" fmla="*/ 467 w 1507"/>
                <a:gd name="T13" fmla="*/ 333 h 470"/>
                <a:gd name="T14" fmla="*/ 1039 w 1507"/>
                <a:gd name="T15" fmla="*/ 333 h 470"/>
                <a:gd name="T16" fmla="*/ 1370 w 1507"/>
                <a:gd name="T17" fmla="*/ 470 h 470"/>
                <a:gd name="T18" fmla="*/ 1507 w 1507"/>
                <a:gd name="T19" fmla="*/ 470 h 470"/>
                <a:gd name="T20" fmla="*/ 1507 w 1507"/>
                <a:gd name="T21" fmla="*/ 361 h 470"/>
                <a:gd name="T22" fmla="*/ 878 w 1507"/>
                <a:gd name="T23" fmla="*/ 102 h 470"/>
                <a:gd name="T24" fmla="*/ 878 w 1507"/>
                <a:gd name="T25" fmla="*/ 0 h 470"/>
                <a:gd name="T26" fmla="*/ 822 w 1507"/>
                <a:gd name="T27" fmla="*/ 57 h 470"/>
                <a:gd name="T28" fmla="*/ 822 w 1507"/>
                <a:gd name="T29" fmla="*/ 102 h 470"/>
                <a:gd name="T30" fmla="*/ 822 w 1507"/>
                <a:gd name="T31" fmla="*/ 139 h 470"/>
                <a:gd name="T32" fmla="*/ 855 w 1507"/>
                <a:gd name="T33" fmla="*/ 153 h 470"/>
                <a:gd name="T34" fmla="*/ 1450 w 1507"/>
                <a:gd name="T35" fmla="*/ 399 h 470"/>
                <a:gd name="T36" fmla="*/ 1450 w 1507"/>
                <a:gd name="T37" fmla="*/ 411 h 470"/>
                <a:gd name="T38" fmla="*/ 1382 w 1507"/>
                <a:gd name="T39" fmla="*/ 411 h 470"/>
                <a:gd name="T40" fmla="*/ 1060 w 1507"/>
                <a:gd name="T41" fmla="*/ 279 h 470"/>
                <a:gd name="T42" fmla="*/ 1051 w 1507"/>
                <a:gd name="T43" fmla="*/ 276 h 470"/>
                <a:gd name="T44" fmla="*/ 1039 w 1507"/>
                <a:gd name="T45" fmla="*/ 276 h 470"/>
                <a:gd name="T46" fmla="*/ 467 w 1507"/>
                <a:gd name="T47" fmla="*/ 276 h 470"/>
                <a:gd name="T48" fmla="*/ 456 w 1507"/>
                <a:gd name="T49" fmla="*/ 276 h 470"/>
                <a:gd name="T50" fmla="*/ 446 w 1507"/>
                <a:gd name="T51" fmla="*/ 279 h 470"/>
                <a:gd name="T52" fmla="*/ 127 w 1507"/>
                <a:gd name="T53" fmla="*/ 411 h 470"/>
                <a:gd name="T54" fmla="*/ 59 w 1507"/>
                <a:gd name="T55" fmla="*/ 411 h 470"/>
                <a:gd name="T56" fmla="*/ 59 w 1507"/>
                <a:gd name="T57" fmla="*/ 399 h 470"/>
                <a:gd name="T58" fmla="*/ 652 w 1507"/>
                <a:gd name="T59" fmla="*/ 153 h 470"/>
                <a:gd name="T60" fmla="*/ 687 w 1507"/>
                <a:gd name="T61" fmla="*/ 139 h 470"/>
                <a:gd name="T62" fmla="*/ 687 w 1507"/>
                <a:gd name="T63" fmla="*/ 102 h 470"/>
                <a:gd name="T64" fmla="*/ 687 w 1507"/>
                <a:gd name="T65" fmla="*/ 57 h 470"/>
                <a:gd name="T66" fmla="*/ 822 w 1507"/>
                <a:gd name="T67" fmla="*/ 5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7" h="470">
                  <a:moveTo>
                    <a:pt x="878" y="0"/>
                  </a:moveTo>
                  <a:lnTo>
                    <a:pt x="630" y="0"/>
                  </a:lnTo>
                  <a:lnTo>
                    <a:pt x="630" y="102"/>
                  </a:lnTo>
                  <a:lnTo>
                    <a:pt x="0" y="361"/>
                  </a:lnTo>
                  <a:lnTo>
                    <a:pt x="0" y="470"/>
                  </a:lnTo>
                  <a:lnTo>
                    <a:pt x="139" y="470"/>
                  </a:lnTo>
                  <a:lnTo>
                    <a:pt x="467" y="333"/>
                  </a:lnTo>
                  <a:lnTo>
                    <a:pt x="1039" y="333"/>
                  </a:lnTo>
                  <a:lnTo>
                    <a:pt x="1370" y="470"/>
                  </a:lnTo>
                  <a:lnTo>
                    <a:pt x="1507" y="470"/>
                  </a:lnTo>
                  <a:lnTo>
                    <a:pt x="1507" y="361"/>
                  </a:lnTo>
                  <a:lnTo>
                    <a:pt x="878" y="102"/>
                  </a:lnTo>
                  <a:lnTo>
                    <a:pt x="878" y="0"/>
                  </a:lnTo>
                  <a:close/>
                  <a:moveTo>
                    <a:pt x="822" y="57"/>
                  </a:moveTo>
                  <a:lnTo>
                    <a:pt x="822" y="102"/>
                  </a:lnTo>
                  <a:lnTo>
                    <a:pt x="822" y="139"/>
                  </a:lnTo>
                  <a:lnTo>
                    <a:pt x="855" y="153"/>
                  </a:lnTo>
                  <a:lnTo>
                    <a:pt x="1450" y="399"/>
                  </a:lnTo>
                  <a:lnTo>
                    <a:pt x="1450" y="411"/>
                  </a:lnTo>
                  <a:lnTo>
                    <a:pt x="1382" y="411"/>
                  </a:lnTo>
                  <a:lnTo>
                    <a:pt x="1060" y="279"/>
                  </a:lnTo>
                  <a:lnTo>
                    <a:pt x="1051" y="276"/>
                  </a:lnTo>
                  <a:lnTo>
                    <a:pt x="1039" y="276"/>
                  </a:lnTo>
                  <a:lnTo>
                    <a:pt x="467" y="276"/>
                  </a:lnTo>
                  <a:lnTo>
                    <a:pt x="456" y="276"/>
                  </a:lnTo>
                  <a:lnTo>
                    <a:pt x="446" y="279"/>
                  </a:lnTo>
                  <a:lnTo>
                    <a:pt x="127" y="411"/>
                  </a:lnTo>
                  <a:lnTo>
                    <a:pt x="59" y="411"/>
                  </a:lnTo>
                  <a:lnTo>
                    <a:pt x="59" y="399"/>
                  </a:lnTo>
                  <a:lnTo>
                    <a:pt x="652" y="153"/>
                  </a:lnTo>
                  <a:lnTo>
                    <a:pt x="687" y="139"/>
                  </a:lnTo>
                  <a:lnTo>
                    <a:pt x="687" y="102"/>
                  </a:lnTo>
                  <a:lnTo>
                    <a:pt x="687" y="57"/>
                  </a:lnTo>
                  <a:lnTo>
                    <a:pt x="822" y="57"/>
                  </a:lnTo>
                  <a:close/>
                </a:path>
              </a:pathLst>
            </a:custGeom>
            <a:solidFill>
              <a:schemeClr val="accent2"/>
            </a:solidFill>
            <a:ln w="635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4" name="Oval 134"/>
            <p:cNvSpPr>
              <a:spLocks noChangeArrowheads="1"/>
            </p:cNvSpPr>
            <p:nvPr/>
          </p:nvSpPr>
          <p:spPr bwMode="auto">
            <a:xfrm>
              <a:off x="13665200"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6" name="Oval 136"/>
            <p:cNvSpPr>
              <a:spLocks noChangeArrowheads="1"/>
            </p:cNvSpPr>
            <p:nvPr/>
          </p:nvSpPr>
          <p:spPr bwMode="auto">
            <a:xfrm>
              <a:off x="15848012" y="2582500"/>
              <a:ext cx="307975" cy="306388"/>
            </a:xfrm>
            <a:prstGeom prst="ellipse">
              <a:avLst/>
            </a:pr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38" name="Freeform 138"/>
            <p:cNvSpPr>
              <a:spLocks/>
            </p:cNvSpPr>
            <p:nvPr/>
          </p:nvSpPr>
          <p:spPr bwMode="auto">
            <a:xfrm>
              <a:off x="13481050" y="-2008550"/>
              <a:ext cx="2573338" cy="3330575"/>
            </a:xfrm>
            <a:custGeom>
              <a:avLst/>
              <a:gdLst>
                <a:gd name="T0" fmla="*/ 1418 w 1621"/>
                <a:gd name="T1" fmla="*/ 1198 h 2098"/>
                <a:gd name="T2" fmla="*/ 1583 w 1621"/>
                <a:gd name="T3" fmla="*/ 12 h 2098"/>
                <a:gd name="T4" fmla="*/ 1493 w 1621"/>
                <a:gd name="T5" fmla="*/ 0 h 2098"/>
                <a:gd name="T6" fmla="*/ 1325 w 1621"/>
                <a:gd name="T7" fmla="*/ 1210 h 2098"/>
                <a:gd name="T8" fmla="*/ 1531 w 1621"/>
                <a:gd name="T9" fmla="*/ 1661 h 2098"/>
                <a:gd name="T10" fmla="*/ 1531 w 1621"/>
                <a:gd name="T11" fmla="*/ 1748 h 2098"/>
                <a:gd name="T12" fmla="*/ 1245 w 1621"/>
                <a:gd name="T13" fmla="*/ 1878 h 2098"/>
                <a:gd name="T14" fmla="*/ 298 w 1621"/>
                <a:gd name="T15" fmla="*/ 1791 h 2098"/>
                <a:gd name="T16" fmla="*/ 194 w 1621"/>
                <a:gd name="T17" fmla="*/ 1474 h 2098"/>
                <a:gd name="T18" fmla="*/ 194 w 1621"/>
                <a:gd name="T19" fmla="*/ 1373 h 2098"/>
                <a:gd name="T20" fmla="*/ 281 w 1621"/>
                <a:gd name="T21" fmla="*/ 1285 h 2098"/>
                <a:gd name="T22" fmla="*/ 1250 w 1621"/>
                <a:gd name="T23" fmla="*/ 1373 h 2098"/>
                <a:gd name="T24" fmla="*/ 1257 w 1621"/>
                <a:gd name="T25" fmla="*/ 1285 h 2098"/>
                <a:gd name="T26" fmla="*/ 248 w 1621"/>
                <a:gd name="T27" fmla="*/ 1193 h 2098"/>
                <a:gd name="T28" fmla="*/ 104 w 1621"/>
                <a:gd name="T29" fmla="*/ 1337 h 2098"/>
                <a:gd name="T30" fmla="*/ 104 w 1621"/>
                <a:gd name="T31" fmla="*/ 1489 h 2098"/>
                <a:gd name="T32" fmla="*/ 213 w 1621"/>
                <a:gd name="T33" fmla="*/ 1822 h 2098"/>
                <a:gd name="T34" fmla="*/ 0 w 1621"/>
                <a:gd name="T35" fmla="*/ 2034 h 2098"/>
                <a:gd name="T36" fmla="*/ 64 w 1621"/>
                <a:gd name="T37" fmla="*/ 2098 h 2098"/>
                <a:gd name="T38" fmla="*/ 281 w 1621"/>
                <a:gd name="T39" fmla="*/ 1881 h 2098"/>
                <a:gd name="T40" fmla="*/ 1262 w 1621"/>
                <a:gd name="T41" fmla="*/ 1970 h 2098"/>
                <a:gd name="T42" fmla="*/ 1621 w 1621"/>
                <a:gd name="T43" fmla="*/ 1807 h 2098"/>
                <a:gd name="T44" fmla="*/ 1621 w 1621"/>
                <a:gd name="T45" fmla="*/ 1642 h 2098"/>
                <a:gd name="T46" fmla="*/ 1418 w 1621"/>
                <a:gd name="T47" fmla="*/ 1198 h 2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1" h="2098">
                  <a:moveTo>
                    <a:pt x="1418" y="1198"/>
                  </a:moveTo>
                  <a:lnTo>
                    <a:pt x="1583" y="12"/>
                  </a:lnTo>
                  <a:lnTo>
                    <a:pt x="1493" y="0"/>
                  </a:lnTo>
                  <a:lnTo>
                    <a:pt x="1325" y="1210"/>
                  </a:lnTo>
                  <a:lnTo>
                    <a:pt x="1531" y="1661"/>
                  </a:lnTo>
                  <a:lnTo>
                    <a:pt x="1531" y="1748"/>
                  </a:lnTo>
                  <a:lnTo>
                    <a:pt x="1245" y="1878"/>
                  </a:lnTo>
                  <a:lnTo>
                    <a:pt x="298" y="1791"/>
                  </a:lnTo>
                  <a:lnTo>
                    <a:pt x="194" y="1474"/>
                  </a:lnTo>
                  <a:lnTo>
                    <a:pt x="194" y="1373"/>
                  </a:lnTo>
                  <a:lnTo>
                    <a:pt x="281" y="1285"/>
                  </a:lnTo>
                  <a:lnTo>
                    <a:pt x="1250" y="1373"/>
                  </a:lnTo>
                  <a:lnTo>
                    <a:pt x="1257" y="1285"/>
                  </a:lnTo>
                  <a:lnTo>
                    <a:pt x="248" y="1193"/>
                  </a:lnTo>
                  <a:lnTo>
                    <a:pt x="104" y="1337"/>
                  </a:lnTo>
                  <a:lnTo>
                    <a:pt x="104" y="1489"/>
                  </a:lnTo>
                  <a:lnTo>
                    <a:pt x="213" y="1822"/>
                  </a:lnTo>
                  <a:lnTo>
                    <a:pt x="0" y="2034"/>
                  </a:lnTo>
                  <a:lnTo>
                    <a:pt x="64" y="2098"/>
                  </a:lnTo>
                  <a:lnTo>
                    <a:pt x="281" y="1881"/>
                  </a:lnTo>
                  <a:lnTo>
                    <a:pt x="1262" y="1970"/>
                  </a:lnTo>
                  <a:lnTo>
                    <a:pt x="1621" y="1807"/>
                  </a:lnTo>
                  <a:lnTo>
                    <a:pt x="1621" y="1642"/>
                  </a:lnTo>
                  <a:lnTo>
                    <a:pt x="1418" y="1198"/>
                  </a:lnTo>
                  <a:close/>
                </a:path>
              </a:pathLst>
            </a:custGeom>
            <a:solidFill>
              <a:schemeClr val="bg1"/>
            </a:solidFill>
            <a:ln w="6350"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0" name="Freeform 140"/>
            <p:cNvSpPr>
              <a:spLocks/>
            </p:cNvSpPr>
            <p:nvPr/>
          </p:nvSpPr>
          <p:spPr bwMode="auto">
            <a:xfrm>
              <a:off x="11022012" y="-616313"/>
              <a:ext cx="1165225" cy="146050"/>
            </a:xfrm>
            <a:custGeom>
              <a:avLst/>
              <a:gdLst>
                <a:gd name="T0" fmla="*/ 734 w 734"/>
                <a:gd name="T1" fmla="*/ 26 h 92"/>
                <a:gd name="T2" fmla="*/ 711 w 734"/>
                <a:gd name="T3" fmla="*/ 0 h 92"/>
                <a:gd name="T4" fmla="*/ 23 w 734"/>
                <a:gd name="T5" fmla="*/ 0 h 92"/>
                <a:gd name="T6" fmla="*/ 0 w 734"/>
                <a:gd name="T7" fmla="*/ 26 h 92"/>
                <a:gd name="T8" fmla="*/ 0 w 734"/>
                <a:gd name="T9" fmla="*/ 92 h 92"/>
                <a:gd name="T10" fmla="*/ 734 w 734"/>
                <a:gd name="T11" fmla="*/ 92 h 92"/>
                <a:gd name="T12" fmla="*/ 734 w 734"/>
                <a:gd name="T13" fmla="*/ 26 h 92"/>
              </a:gdLst>
              <a:ahLst/>
              <a:cxnLst>
                <a:cxn ang="0">
                  <a:pos x="T0" y="T1"/>
                </a:cxn>
                <a:cxn ang="0">
                  <a:pos x="T2" y="T3"/>
                </a:cxn>
                <a:cxn ang="0">
                  <a:pos x="T4" y="T5"/>
                </a:cxn>
                <a:cxn ang="0">
                  <a:pos x="T6" y="T7"/>
                </a:cxn>
                <a:cxn ang="0">
                  <a:pos x="T8" y="T9"/>
                </a:cxn>
                <a:cxn ang="0">
                  <a:pos x="T10" y="T11"/>
                </a:cxn>
                <a:cxn ang="0">
                  <a:pos x="T12" y="T13"/>
                </a:cxn>
              </a:cxnLst>
              <a:rect l="0" t="0" r="r" b="b"/>
              <a:pathLst>
                <a:path w="734" h="92">
                  <a:moveTo>
                    <a:pt x="734" y="26"/>
                  </a:moveTo>
                  <a:lnTo>
                    <a:pt x="711" y="0"/>
                  </a:lnTo>
                  <a:lnTo>
                    <a:pt x="23" y="0"/>
                  </a:lnTo>
                  <a:lnTo>
                    <a:pt x="0" y="26"/>
                  </a:lnTo>
                  <a:lnTo>
                    <a:pt x="0" y="92"/>
                  </a:lnTo>
                  <a:lnTo>
                    <a:pt x="734" y="92"/>
                  </a:lnTo>
                  <a:lnTo>
                    <a:pt x="734" y="2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2" name="Freeform 142"/>
            <p:cNvSpPr>
              <a:spLocks/>
            </p:cNvSpPr>
            <p:nvPr/>
          </p:nvSpPr>
          <p:spPr bwMode="auto">
            <a:xfrm>
              <a:off x="11539537" y="-3583350"/>
              <a:ext cx="708025" cy="2557463"/>
            </a:xfrm>
            <a:custGeom>
              <a:avLst/>
              <a:gdLst>
                <a:gd name="T0" fmla="*/ 446 w 446"/>
                <a:gd name="T1" fmla="*/ 1585 h 1611"/>
                <a:gd name="T2" fmla="*/ 314 w 446"/>
                <a:gd name="T3" fmla="*/ 1611 h 1611"/>
                <a:gd name="T4" fmla="*/ 0 w 446"/>
                <a:gd name="T5" fmla="*/ 29 h 1611"/>
                <a:gd name="T6" fmla="*/ 130 w 446"/>
                <a:gd name="T7" fmla="*/ 0 h 1611"/>
                <a:gd name="T8" fmla="*/ 446 w 446"/>
                <a:gd name="T9" fmla="*/ 1585 h 1611"/>
              </a:gdLst>
              <a:ahLst/>
              <a:cxnLst>
                <a:cxn ang="0">
                  <a:pos x="T0" y="T1"/>
                </a:cxn>
                <a:cxn ang="0">
                  <a:pos x="T2" y="T3"/>
                </a:cxn>
                <a:cxn ang="0">
                  <a:pos x="T4" y="T5"/>
                </a:cxn>
                <a:cxn ang="0">
                  <a:pos x="T6" y="T7"/>
                </a:cxn>
                <a:cxn ang="0">
                  <a:pos x="T8" y="T9"/>
                </a:cxn>
              </a:cxnLst>
              <a:rect l="0" t="0" r="r" b="b"/>
              <a:pathLst>
                <a:path w="446" h="1611">
                  <a:moveTo>
                    <a:pt x="446" y="1585"/>
                  </a:moveTo>
                  <a:lnTo>
                    <a:pt x="314" y="1611"/>
                  </a:lnTo>
                  <a:lnTo>
                    <a:pt x="0" y="29"/>
                  </a:lnTo>
                  <a:lnTo>
                    <a:pt x="130" y="0"/>
                  </a:lnTo>
                  <a:lnTo>
                    <a:pt x="446" y="1585"/>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44" name="Freeform 144"/>
            <p:cNvSpPr>
              <a:spLocks/>
            </p:cNvSpPr>
            <p:nvPr/>
          </p:nvSpPr>
          <p:spPr bwMode="auto">
            <a:xfrm>
              <a:off x="11539537" y="-2022838"/>
              <a:ext cx="325438" cy="1406525"/>
            </a:xfrm>
            <a:custGeom>
              <a:avLst/>
              <a:gdLst>
                <a:gd name="T0" fmla="*/ 85 w 205"/>
                <a:gd name="T1" fmla="*/ 886 h 886"/>
                <a:gd name="T2" fmla="*/ 0 w 205"/>
                <a:gd name="T3" fmla="*/ 886 h 886"/>
                <a:gd name="T4" fmla="*/ 0 w 205"/>
                <a:gd name="T5" fmla="*/ 38 h 886"/>
                <a:gd name="T6" fmla="*/ 189 w 205"/>
                <a:gd name="T7" fmla="*/ 0 h 886"/>
                <a:gd name="T8" fmla="*/ 205 w 205"/>
                <a:gd name="T9" fmla="*/ 85 h 886"/>
                <a:gd name="T10" fmla="*/ 85 w 205"/>
                <a:gd name="T11" fmla="*/ 109 h 886"/>
                <a:gd name="T12" fmla="*/ 85 w 205"/>
                <a:gd name="T13" fmla="*/ 886 h 886"/>
              </a:gdLst>
              <a:ahLst/>
              <a:cxnLst>
                <a:cxn ang="0">
                  <a:pos x="T0" y="T1"/>
                </a:cxn>
                <a:cxn ang="0">
                  <a:pos x="T2" y="T3"/>
                </a:cxn>
                <a:cxn ang="0">
                  <a:pos x="T4" y="T5"/>
                </a:cxn>
                <a:cxn ang="0">
                  <a:pos x="T6" y="T7"/>
                </a:cxn>
                <a:cxn ang="0">
                  <a:pos x="T8" y="T9"/>
                </a:cxn>
                <a:cxn ang="0">
                  <a:pos x="T10" y="T11"/>
                </a:cxn>
                <a:cxn ang="0">
                  <a:pos x="T12" y="T13"/>
                </a:cxn>
              </a:cxnLst>
              <a:rect l="0" t="0" r="r" b="b"/>
              <a:pathLst>
                <a:path w="205" h="886">
                  <a:moveTo>
                    <a:pt x="85" y="886"/>
                  </a:moveTo>
                  <a:lnTo>
                    <a:pt x="0" y="886"/>
                  </a:lnTo>
                  <a:lnTo>
                    <a:pt x="0" y="38"/>
                  </a:lnTo>
                  <a:lnTo>
                    <a:pt x="189" y="0"/>
                  </a:lnTo>
                  <a:lnTo>
                    <a:pt x="205" y="85"/>
                  </a:lnTo>
                  <a:lnTo>
                    <a:pt x="85" y="109"/>
                  </a:lnTo>
                  <a:lnTo>
                    <a:pt x="85" y="886"/>
                  </a:lnTo>
                  <a:close/>
                </a:path>
              </a:pathLst>
            </a:custGeom>
            <a:solidFill>
              <a:schemeClr val="bg1"/>
            </a:solid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 name="Group 3"/>
          <p:cNvGrpSpPr/>
          <p:nvPr/>
        </p:nvGrpSpPr>
        <p:grpSpPr>
          <a:xfrm>
            <a:off x="5449371" y="1822154"/>
            <a:ext cx="402256" cy="438203"/>
            <a:chOff x="5449371" y="1822154"/>
            <a:chExt cx="402256" cy="438203"/>
          </a:xfrm>
        </p:grpSpPr>
        <p:sp>
          <p:nvSpPr>
            <p:cNvPr id="22" name="Freeform 7"/>
            <p:cNvSpPr>
              <a:spLocks/>
            </p:cNvSpPr>
            <p:nvPr/>
          </p:nvSpPr>
          <p:spPr bwMode="auto">
            <a:xfrm>
              <a:off x="5617120" y="2186752"/>
              <a:ext cx="67328" cy="59910"/>
            </a:xfrm>
            <a:custGeom>
              <a:avLst/>
              <a:gdLst>
                <a:gd name="T0" fmla="*/ 236 w 236"/>
                <a:gd name="T1" fmla="*/ 0 h 210"/>
                <a:gd name="T2" fmla="*/ 236 w 236"/>
                <a:gd name="T3" fmla="*/ 111 h 210"/>
                <a:gd name="T4" fmla="*/ 205 w 236"/>
                <a:gd name="T5" fmla="*/ 210 h 210"/>
                <a:gd name="T6" fmla="*/ 30 w 236"/>
                <a:gd name="T7" fmla="*/ 210 h 210"/>
                <a:gd name="T8" fmla="*/ 0 w 236"/>
                <a:gd name="T9" fmla="*/ 111 h 210"/>
                <a:gd name="T10" fmla="*/ 0 w 236"/>
                <a:gd name="T11" fmla="*/ 0 h 210"/>
              </a:gdLst>
              <a:ahLst/>
              <a:cxnLst>
                <a:cxn ang="0">
                  <a:pos x="T0" y="T1"/>
                </a:cxn>
                <a:cxn ang="0">
                  <a:pos x="T2" y="T3"/>
                </a:cxn>
                <a:cxn ang="0">
                  <a:pos x="T4" y="T5"/>
                </a:cxn>
                <a:cxn ang="0">
                  <a:pos x="T6" y="T7"/>
                </a:cxn>
                <a:cxn ang="0">
                  <a:pos x="T8" y="T9"/>
                </a:cxn>
                <a:cxn ang="0">
                  <a:pos x="T10" y="T11"/>
                </a:cxn>
              </a:cxnLst>
              <a:rect l="0" t="0" r="r" b="b"/>
              <a:pathLst>
                <a:path w="236" h="210">
                  <a:moveTo>
                    <a:pt x="236" y="0"/>
                  </a:moveTo>
                  <a:lnTo>
                    <a:pt x="236" y="111"/>
                  </a:lnTo>
                  <a:lnTo>
                    <a:pt x="205" y="210"/>
                  </a:lnTo>
                  <a:lnTo>
                    <a:pt x="30" y="210"/>
                  </a:lnTo>
                  <a:lnTo>
                    <a:pt x="0" y="111"/>
                  </a:lnTo>
                  <a:lnTo>
                    <a:pt x="0" y="0"/>
                  </a:lnTo>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8"/>
            <p:cNvSpPr>
              <a:spLocks noEditPoints="1"/>
            </p:cNvSpPr>
            <p:nvPr/>
          </p:nvSpPr>
          <p:spPr bwMode="auto">
            <a:xfrm>
              <a:off x="5619117" y="2188750"/>
              <a:ext cx="63904" cy="71607"/>
            </a:xfrm>
            <a:custGeom>
              <a:avLst/>
              <a:gdLst>
                <a:gd name="T0" fmla="*/ 38 w 224"/>
                <a:gd name="T1" fmla="*/ 251 h 251"/>
                <a:gd name="T2" fmla="*/ 184 w 224"/>
                <a:gd name="T3" fmla="*/ 251 h 251"/>
                <a:gd name="T4" fmla="*/ 56 w 224"/>
                <a:gd name="T5" fmla="*/ 125 h 251"/>
                <a:gd name="T6" fmla="*/ 167 w 224"/>
                <a:gd name="T7" fmla="*/ 125 h 251"/>
                <a:gd name="T8" fmla="*/ 0 w 224"/>
                <a:gd name="T9" fmla="*/ 3 h 251"/>
                <a:gd name="T10" fmla="*/ 224 w 224"/>
                <a:gd name="T11" fmla="*/ 0 h 251"/>
                <a:gd name="T12" fmla="*/ 38 w 224"/>
                <a:gd name="T13" fmla="*/ 64 h 251"/>
                <a:gd name="T14" fmla="*/ 186 w 224"/>
                <a:gd name="T15" fmla="*/ 64 h 2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51">
                  <a:moveTo>
                    <a:pt x="38" y="251"/>
                  </a:moveTo>
                  <a:lnTo>
                    <a:pt x="184" y="251"/>
                  </a:lnTo>
                  <a:moveTo>
                    <a:pt x="56" y="125"/>
                  </a:moveTo>
                  <a:lnTo>
                    <a:pt x="167" y="125"/>
                  </a:lnTo>
                  <a:moveTo>
                    <a:pt x="0" y="3"/>
                  </a:moveTo>
                  <a:lnTo>
                    <a:pt x="224" y="0"/>
                  </a:lnTo>
                  <a:moveTo>
                    <a:pt x="38" y="64"/>
                  </a:moveTo>
                  <a:lnTo>
                    <a:pt x="186" y="64"/>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Freeform 9"/>
            <p:cNvSpPr>
              <a:spLocks/>
            </p:cNvSpPr>
            <p:nvPr/>
          </p:nvSpPr>
          <p:spPr bwMode="auto">
            <a:xfrm>
              <a:off x="5593441" y="1927996"/>
              <a:ext cx="117824" cy="242495"/>
            </a:xfrm>
            <a:custGeom>
              <a:avLst/>
              <a:gdLst>
                <a:gd name="T0" fmla="*/ 80 w 413"/>
                <a:gd name="T1" fmla="*/ 850 h 850"/>
                <a:gd name="T2" fmla="*/ 0 w 413"/>
                <a:gd name="T3" fmla="*/ 0 h 850"/>
                <a:gd name="T4" fmla="*/ 413 w 413"/>
                <a:gd name="T5" fmla="*/ 0 h 850"/>
                <a:gd name="T6" fmla="*/ 319 w 413"/>
                <a:gd name="T7" fmla="*/ 850 h 850"/>
                <a:gd name="T8" fmla="*/ 80 w 413"/>
                <a:gd name="T9" fmla="*/ 850 h 850"/>
              </a:gdLst>
              <a:ahLst/>
              <a:cxnLst>
                <a:cxn ang="0">
                  <a:pos x="T0" y="T1"/>
                </a:cxn>
                <a:cxn ang="0">
                  <a:pos x="T2" y="T3"/>
                </a:cxn>
                <a:cxn ang="0">
                  <a:pos x="T4" y="T5"/>
                </a:cxn>
                <a:cxn ang="0">
                  <a:pos x="T6" y="T7"/>
                </a:cxn>
                <a:cxn ang="0">
                  <a:pos x="T8" y="T9"/>
                </a:cxn>
              </a:cxnLst>
              <a:rect l="0" t="0" r="r" b="b"/>
              <a:pathLst>
                <a:path w="413" h="850">
                  <a:moveTo>
                    <a:pt x="80" y="850"/>
                  </a:moveTo>
                  <a:lnTo>
                    <a:pt x="0" y="0"/>
                  </a:lnTo>
                  <a:lnTo>
                    <a:pt x="413" y="0"/>
                  </a:lnTo>
                  <a:lnTo>
                    <a:pt x="319" y="850"/>
                  </a:lnTo>
                  <a:lnTo>
                    <a:pt x="80" y="850"/>
                  </a:lnTo>
                  <a:close/>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Line 10"/>
            <p:cNvSpPr>
              <a:spLocks noChangeShapeType="1"/>
            </p:cNvSpPr>
            <p:nvPr/>
          </p:nvSpPr>
          <p:spPr bwMode="auto">
            <a:xfrm>
              <a:off x="5449371" y="2022997"/>
              <a:ext cx="50496" cy="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Line 11"/>
            <p:cNvSpPr>
              <a:spLocks noChangeShapeType="1"/>
            </p:cNvSpPr>
            <p:nvPr/>
          </p:nvSpPr>
          <p:spPr bwMode="auto">
            <a:xfrm>
              <a:off x="5800846" y="2022997"/>
              <a:ext cx="50781" cy="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2"/>
            <p:cNvSpPr>
              <a:spLocks noChangeShapeType="1"/>
            </p:cNvSpPr>
            <p:nvPr/>
          </p:nvSpPr>
          <p:spPr bwMode="auto">
            <a:xfrm flipV="1">
              <a:off x="5476188" y="2098598"/>
              <a:ext cx="43934" cy="2482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
            <p:cNvSpPr>
              <a:spLocks noChangeShapeType="1"/>
            </p:cNvSpPr>
            <p:nvPr/>
          </p:nvSpPr>
          <p:spPr bwMode="auto">
            <a:xfrm flipV="1">
              <a:off x="5780876" y="1922575"/>
              <a:ext cx="43649" cy="2482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Line 14"/>
            <p:cNvSpPr>
              <a:spLocks noChangeShapeType="1"/>
            </p:cNvSpPr>
            <p:nvPr/>
          </p:nvSpPr>
          <p:spPr bwMode="auto">
            <a:xfrm flipV="1">
              <a:off x="5726100" y="1849256"/>
              <a:ext cx="25105" cy="43649"/>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Line 15"/>
            <p:cNvSpPr>
              <a:spLocks noChangeShapeType="1"/>
            </p:cNvSpPr>
            <p:nvPr/>
          </p:nvSpPr>
          <p:spPr bwMode="auto">
            <a:xfrm flipV="1">
              <a:off x="5650784" y="1822154"/>
              <a:ext cx="0" cy="50496"/>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Line 16"/>
            <p:cNvSpPr>
              <a:spLocks noChangeShapeType="1"/>
            </p:cNvSpPr>
            <p:nvPr/>
          </p:nvSpPr>
          <p:spPr bwMode="auto">
            <a:xfrm flipH="1" flipV="1">
              <a:off x="5550363" y="1849256"/>
              <a:ext cx="24820" cy="43649"/>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7"/>
            <p:cNvSpPr>
              <a:spLocks noChangeShapeType="1"/>
            </p:cNvSpPr>
            <p:nvPr/>
          </p:nvSpPr>
          <p:spPr bwMode="auto">
            <a:xfrm flipH="1" flipV="1">
              <a:off x="5780876" y="2098598"/>
              <a:ext cx="43649" cy="2482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Line 18"/>
            <p:cNvSpPr>
              <a:spLocks noChangeShapeType="1"/>
            </p:cNvSpPr>
            <p:nvPr/>
          </p:nvSpPr>
          <p:spPr bwMode="auto">
            <a:xfrm flipH="1" flipV="1">
              <a:off x="5476188" y="1922575"/>
              <a:ext cx="43934" cy="24820"/>
            </a:xfrm>
            <a:prstGeom prst="line">
              <a:avLst/>
            </a:prstGeom>
            <a:noFill/>
            <a:ln w="12700"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0" name="Group 109"/>
          <p:cNvGrpSpPr/>
          <p:nvPr/>
        </p:nvGrpSpPr>
        <p:grpSpPr>
          <a:xfrm>
            <a:off x="5959238" y="1864181"/>
            <a:ext cx="455308" cy="396963"/>
            <a:chOff x="3587750" y="2573338"/>
            <a:chExt cx="1957388" cy="1706562"/>
          </a:xfrm>
        </p:grpSpPr>
        <p:sp>
          <p:nvSpPr>
            <p:cNvPr id="108" name="Freeform 23"/>
            <p:cNvSpPr>
              <a:spLocks noEditPoints="1"/>
            </p:cNvSpPr>
            <p:nvPr/>
          </p:nvSpPr>
          <p:spPr bwMode="auto">
            <a:xfrm>
              <a:off x="3703638" y="2573338"/>
              <a:ext cx="1841500" cy="1706562"/>
            </a:xfrm>
            <a:custGeom>
              <a:avLst/>
              <a:gdLst>
                <a:gd name="T0" fmla="*/ 475 w 1160"/>
                <a:gd name="T1" fmla="*/ 104 h 1075"/>
                <a:gd name="T2" fmla="*/ 754 w 1160"/>
                <a:gd name="T3" fmla="*/ 180 h 1075"/>
                <a:gd name="T4" fmla="*/ 990 w 1160"/>
                <a:gd name="T5" fmla="*/ 423 h 1075"/>
                <a:gd name="T6" fmla="*/ 791 w 1160"/>
                <a:gd name="T7" fmla="*/ 616 h 1075"/>
                <a:gd name="T8" fmla="*/ 506 w 1160"/>
                <a:gd name="T9" fmla="*/ 324 h 1075"/>
                <a:gd name="T10" fmla="*/ 447 w 1160"/>
                <a:gd name="T11" fmla="*/ 333 h 1075"/>
                <a:gd name="T12" fmla="*/ 369 w 1160"/>
                <a:gd name="T13" fmla="*/ 505 h 1075"/>
                <a:gd name="T14" fmla="*/ 244 w 1160"/>
                <a:gd name="T15" fmla="*/ 451 h 1075"/>
                <a:gd name="T16" fmla="*/ 385 w 1160"/>
                <a:gd name="T17" fmla="*/ 128 h 1075"/>
                <a:gd name="T18" fmla="*/ 475 w 1160"/>
                <a:gd name="T19" fmla="*/ 104 h 1075"/>
                <a:gd name="T20" fmla="*/ 345 w 1160"/>
                <a:gd name="T21" fmla="*/ 1075 h 1075"/>
                <a:gd name="T22" fmla="*/ 279 w 1160"/>
                <a:gd name="T23" fmla="*/ 1008 h 1075"/>
                <a:gd name="T24" fmla="*/ 416 w 1160"/>
                <a:gd name="T25" fmla="*/ 876 h 1075"/>
                <a:gd name="T26" fmla="*/ 480 w 1160"/>
                <a:gd name="T27" fmla="*/ 942 h 1075"/>
                <a:gd name="T28" fmla="*/ 345 w 1160"/>
                <a:gd name="T29" fmla="*/ 1075 h 1075"/>
                <a:gd name="T30" fmla="*/ 251 w 1160"/>
                <a:gd name="T31" fmla="*/ 975 h 1075"/>
                <a:gd name="T32" fmla="*/ 187 w 1160"/>
                <a:gd name="T33" fmla="*/ 909 h 1075"/>
                <a:gd name="T34" fmla="*/ 321 w 1160"/>
                <a:gd name="T35" fmla="*/ 777 h 1075"/>
                <a:gd name="T36" fmla="*/ 388 w 1160"/>
                <a:gd name="T37" fmla="*/ 843 h 1075"/>
                <a:gd name="T38" fmla="*/ 251 w 1160"/>
                <a:gd name="T39" fmla="*/ 975 h 1075"/>
                <a:gd name="T40" fmla="*/ 156 w 1160"/>
                <a:gd name="T41" fmla="*/ 876 h 1075"/>
                <a:gd name="T42" fmla="*/ 92 w 1160"/>
                <a:gd name="T43" fmla="*/ 810 h 1075"/>
                <a:gd name="T44" fmla="*/ 229 w 1160"/>
                <a:gd name="T45" fmla="*/ 678 h 1075"/>
                <a:gd name="T46" fmla="*/ 293 w 1160"/>
                <a:gd name="T47" fmla="*/ 744 h 1075"/>
                <a:gd name="T48" fmla="*/ 156 w 1160"/>
                <a:gd name="T49" fmla="*/ 876 h 1075"/>
                <a:gd name="T50" fmla="*/ 64 w 1160"/>
                <a:gd name="T51" fmla="*/ 777 h 1075"/>
                <a:gd name="T52" fmla="*/ 0 w 1160"/>
                <a:gd name="T53" fmla="*/ 711 h 1075"/>
                <a:gd name="T54" fmla="*/ 135 w 1160"/>
                <a:gd name="T55" fmla="*/ 579 h 1075"/>
                <a:gd name="T56" fmla="*/ 199 w 1160"/>
                <a:gd name="T57" fmla="*/ 645 h 1075"/>
                <a:gd name="T58" fmla="*/ 64 w 1160"/>
                <a:gd name="T59" fmla="*/ 777 h 1075"/>
                <a:gd name="T60" fmla="*/ 1061 w 1160"/>
                <a:gd name="T61" fmla="*/ 392 h 1075"/>
                <a:gd name="T62" fmla="*/ 775 w 1160"/>
                <a:gd name="T63" fmla="*/ 99 h 1075"/>
                <a:gd name="T64" fmla="*/ 874 w 1160"/>
                <a:gd name="T65" fmla="*/ 0 h 1075"/>
                <a:gd name="T66" fmla="*/ 1160 w 1160"/>
                <a:gd name="T67" fmla="*/ 295 h 1075"/>
                <a:gd name="T68" fmla="*/ 1061 w 1160"/>
                <a:gd name="T69" fmla="*/ 392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0" h="1075">
                  <a:moveTo>
                    <a:pt x="475" y="104"/>
                  </a:moveTo>
                  <a:lnTo>
                    <a:pt x="754" y="180"/>
                  </a:lnTo>
                  <a:lnTo>
                    <a:pt x="990" y="423"/>
                  </a:lnTo>
                  <a:lnTo>
                    <a:pt x="791" y="616"/>
                  </a:lnTo>
                  <a:lnTo>
                    <a:pt x="506" y="324"/>
                  </a:lnTo>
                  <a:lnTo>
                    <a:pt x="447" y="333"/>
                  </a:lnTo>
                  <a:lnTo>
                    <a:pt x="369" y="505"/>
                  </a:lnTo>
                  <a:lnTo>
                    <a:pt x="244" y="451"/>
                  </a:lnTo>
                  <a:lnTo>
                    <a:pt x="385" y="128"/>
                  </a:lnTo>
                  <a:lnTo>
                    <a:pt x="475" y="104"/>
                  </a:lnTo>
                  <a:close/>
                  <a:moveTo>
                    <a:pt x="345" y="1075"/>
                  </a:moveTo>
                  <a:lnTo>
                    <a:pt x="279" y="1008"/>
                  </a:lnTo>
                  <a:lnTo>
                    <a:pt x="416" y="876"/>
                  </a:lnTo>
                  <a:lnTo>
                    <a:pt x="480" y="942"/>
                  </a:lnTo>
                  <a:lnTo>
                    <a:pt x="345" y="1075"/>
                  </a:lnTo>
                  <a:close/>
                  <a:moveTo>
                    <a:pt x="251" y="975"/>
                  </a:moveTo>
                  <a:lnTo>
                    <a:pt x="187" y="909"/>
                  </a:lnTo>
                  <a:lnTo>
                    <a:pt x="321" y="777"/>
                  </a:lnTo>
                  <a:lnTo>
                    <a:pt x="388" y="843"/>
                  </a:lnTo>
                  <a:lnTo>
                    <a:pt x="251" y="975"/>
                  </a:lnTo>
                  <a:close/>
                  <a:moveTo>
                    <a:pt x="156" y="876"/>
                  </a:moveTo>
                  <a:lnTo>
                    <a:pt x="92" y="810"/>
                  </a:lnTo>
                  <a:lnTo>
                    <a:pt x="229" y="678"/>
                  </a:lnTo>
                  <a:lnTo>
                    <a:pt x="293" y="744"/>
                  </a:lnTo>
                  <a:lnTo>
                    <a:pt x="156" y="876"/>
                  </a:lnTo>
                  <a:close/>
                  <a:moveTo>
                    <a:pt x="64" y="777"/>
                  </a:moveTo>
                  <a:lnTo>
                    <a:pt x="0" y="711"/>
                  </a:lnTo>
                  <a:lnTo>
                    <a:pt x="135" y="579"/>
                  </a:lnTo>
                  <a:lnTo>
                    <a:pt x="199" y="645"/>
                  </a:lnTo>
                  <a:lnTo>
                    <a:pt x="64" y="777"/>
                  </a:lnTo>
                  <a:close/>
                  <a:moveTo>
                    <a:pt x="1061" y="392"/>
                  </a:moveTo>
                  <a:lnTo>
                    <a:pt x="775" y="99"/>
                  </a:lnTo>
                  <a:lnTo>
                    <a:pt x="874" y="0"/>
                  </a:lnTo>
                  <a:lnTo>
                    <a:pt x="1160" y="295"/>
                  </a:lnTo>
                  <a:lnTo>
                    <a:pt x="1061" y="392"/>
                  </a:lnTo>
                  <a:close/>
                </a:path>
              </a:pathLst>
            </a:custGeom>
            <a:noFill/>
            <a:ln w="1270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Freeform 24"/>
            <p:cNvSpPr>
              <a:spLocks noEditPoints="1"/>
            </p:cNvSpPr>
            <p:nvPr/>
          </p:nvSpPr>
          <p:spPr bwMode="auto">
            <a:xfrm>
              <a:off x="3587750" y="3222625"/>
              <a:ext cx="1514475" cy="981075"/>
            </a:xfrm>
            <a:custGeom>
              <a:avLst/>
              <a:gdLst>
                <a:gd name="T0" fmla="*/ 0 w 954"/>
                <a:gd name="T1" fmla="*/ 0 h 618"/>
                <a:gd name="T2" fmla="*/ 175 w 954"/>
                <a:gd name="T3" fmla="*/ 170 h 618"/>
                <a:gd name="T4" fmla="*/ 879 w 954"/>
                <a:gd name="T5" fmla="*/ 240 h 618"/>
                <a:gd name="T6" fmla="*/ 954 w 954"/>
                <a:gd name="T7" fmla="*/ 318 h 618"/>
                <a:gd name="T8" fmla="*/ 954 w 954"/>
                <a:gd name="T9" fmla="*/ 340 h 618"/>
                <a:gd name="T10" fmla="*/ 898 w 954"/>
                <a:gd name="T11" fmla="*/ 394 h 618"/>
                <a:gd name="T12" fmla="*/ 876 w 954"/>
                <a:gd name="T13" fmla="*/ 394 h 618"/>
                <a:gd name="T14" fmla="*/ 579 w 954"/>
                <a:gd name="T15" fmla="*/ 545 h 618"/>
                <a:gd name="T16" fmla="*/ 650 w 954"/>
                <a:gd name="T17" fmla="*/ 618 h 618"/>
                <a:gd name="T18" fmla="*/ 668 w 954"/>
                <a:gd name="T19" fmla="*/ 618 h 618"/>
                <a:gd name="T20" fmla="*/ 720 w 954"/>
                <a:gd name="T21" fmla="*/ 569 h 618"/>
                <a:gd name="T22" fmla="*/ 720 w 954"/>
                <a:gd name="T23" fmla="*/ 547 h 618"/>
                <a:gd name="T24" fmla="*/ 553 w 954"/>
                <a:gd name="T25" fmla="*/ 375 h 618"/>
                <a:gd name="T26" fmla="*/ 709 w 954"/>
                <a:gd name="T27" fmla="*/ 222 h 618"/>
                <a:gd name="T28" fmla="*/ 876 w 954"/>
                <a:gd name="T29" fmla="*/ 394 h 618"/>
                <a:gd name="T30" fmla="*/ 876 w 954"/>
                <a:gd name="T31" fmla="*/ 415 h 618"/>
                <a:gd name="T32" fmla="*/ 820 w 954"/>
                <a:gd name="T33" fmla="*/ 472 h 618"/>
                <a:gd name="T34" fmla="*/ 798 w 954"/>
                <a:gd name="T35" fmla="*/ 472 h 618"/>
                <a:gd name="T36" fmla="*/ 631 w 954"/>
                <a:gd name="T37" fmla="*/ 300 h 618"/>
                <a:gd name="T38" fmla="*/ 798 w 954"/>
                <a:gd name="T39" fmla="*/ 472 h 618"/>
                <a:gd name="T40" fmla="*/ 798 w 954"/>
                <a:gd name="T41" fmla="*/ 493 h 618"/>
                <a:gd name="T42" fmla="*/ 739 w 954"/>
                <a:gd name="T43" fmla="*/ 547 h 618"/>
                <a:gd name="T44" fmla="*/ 720 w 954"/>
                <a:gd name="T45" fmla="*/ 547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4" h="618">
                  <a:moveTo>
                    <a:pt x="0" y="0"/>
                  </a:moveTo>
                  <a:lnTo>
                    <a:pt x="175" y="170"/>
                  </a:lnTo>
                  <a:moveTo>
                    <a:pt x="879" y="240"/>
                  </a:moveTo>
                  <a:lnTo>
                    <a:pt x="954" y="318"/>
                  </a:lnTo>
                  <a:lnTo>
                    <a:pt x="954" y="340"/>
                  </a:lnTo>
                  <a:lnTo>
                    <a:pt x="898" y="394"/>
                  </a:lnTo>
                  <a:lnTo>
                    <a:pt x="876" y="394"/>
                  </a:lnTo>
                  <a:moveTo>
                    <a:pt x="579" y="545"/>
                  </a:moveTo>
                  <a:lnTo>
                    <a:pt x="650" y="618"/>
                  </a:lnTo>
                  <a:lnTo>
                    <a:pt x="668" y="618"/>
                  </a:lnTo>
                  <a:lnTo>
                    <a:pt x="720" y="569"/>
                  </a:lnTo>
                  <a:lnTo>
                    <a:pt x="720" y="547"/>
                  </a:lnTo>
                  <a:lnTo>
                    <a:pt x="553" y="375"/>
                  </a:lnTo>
                  <a:moveTo>
                    <a:pt x="709" y="222"/>
                  </a:moveTo>
                  <a:lnTo>
                    <a:pt x="876" y="394"/>
                  </a:lnTo>
                  <a:lnTo>
                    <a:pt x="876" y="415"/>
                  </a:lnTo>
                  <a:lnTo>
                    <a:pt x="820" y="472"/>
                  </a:lnTo>
                  <a:lnTo>
                    <a:pt x="798" y="472"/>
                  </a:lnTo>
                  <a:moveTo>
                    <a:pt x="631" y="300"/>
                  </a:moveTo>
                  <a:lnTo>
                    <a:pt x="798" y="472"/>
                  </a:lnTo>
                  <a:lnTo>
                    <a:pt x="798" y="493"/>
                  </a:lnTo>
                  <a:lnTo>
                    <a:pt x="739" y="547"/>
                  </a:lnTo>
                  <a:lnTo>
                    <a:pt x="720" y="547"/>
                  </a:lnTo>
                </a:path>
              </a:pathLst>
            </a:custGeom>
            <a:noFill/>
            <a:ln w="635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8" name="Group 117"/>
          <p:cNvGrpSpPr/>
          <p:nvPr/>
        </p:nvGrpSpPr>
        <p:grpSpPr>
          <a:xfrm>
            <a:off x="6522007" y="1839112"/>
            <a:ext cx="395392" cy="425282"/>
            <a:chOff x="-550862" y="3551238"/>
            <a:chExt cx="1008062" cy="1084262"/>
          </a:xfrm>
        </p:grpSpPr>
        <p:sp>
          <p:nvSpPr>
            <p:cNvPr id="113" name="Line 29"/>
            <p:cNvSpPr>
              <a:spLocks noChangeShapeType="1"/>
            </p:cNvSpPr>
            <p:nvPr/>
          </p:nvSpPr>
          <p:spPr bwMode="auto">
            <a:xfrm flipH="1">
              <a:off x="-547687" y="4244975"/>
              <a:ext cx="374650" cy="379413"/>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Oval 30"/>
            <p:cNvSpPr>
              <a:spLocks noChangeArrowheads="1"/>
            </p:cNvSpPr>
            <p:nvPr/>
          </p:nvSpPr>
          <p:spPr bwMode="auto">
            <a:xfrm>
              <a:off x="-330200" y="3551238"/>
              <a:ext cx="787400" cy="787400"/>
            </a:xfrm>
            <a:prstGeom prst="ellipse">
              <a:avLst/>
            </a:prstGeom>
            <a:noFill/>
            <a:ln w="14288"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 name="Oval 31"/>
            <p:cNvSpPr>
              <a:spLocks noChangeArrowheads="1"/>
            </p:cNvSpPr>
            <p:nvPr/>
          </p:nvSpPr>
          <p:spPr bwMode="auto">
            <a:xfrm>
              <a:off x="-266700" y="3614738"/>
              <a:ext cx="657225" cy="657225"/>
            </a:xfrm>
            <a:prstGeom prst="ellipse">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 name="Line 32"/>
            <p:cNvSpPr>
              <a:spLocks noChangeShapeType="1"/>
            </p:cNvSpPr>
            <p:nvPr/>
          </p:nvSpPr>
          <p:spPr bwMode="auto">
            <a:xfrm flipH="1">
              <a:off x="-550862" y="4349750"/>
              <a:ext cx="280988" cy="285750"/>
            </a:xfrm>
            <a:prstGeom prst="line">
              <a:avLst/>
            </a:prstGeom>
            <a:noFill/>
            <a:ln w="30163"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158" name="Group 1157"/>
          <p:cNvGrpSpPr/>
          <p:nvPr/>
        </p:nvGrpSpPr>
        <p:grpSpPr>
          <a:xfrm>
            <a:off x="1647792" y="2564390"/>
            <a:ext cx="439517" cy="303757"/>
            <a:chOff x="8936038" y="-671513"/>
            <a:chExt cx="7380288" cy="5100638"/>
          </a:xfrm>
          <a:solidFill>
            <a:schemeClr val="bg1"/>
          </a:solidFill>
        </p:grpSpPr>
        <p:sp>
          <p:nvSpPr>
            <p:cNvPr id="1151" name="Freeform 150"/>
            <p:cNvSpPr>
              <a:spLocks/>
            </p:cNvSpPr>
            <p:nvPr/>
          </p:nvSpPr>
          <p:spPr bwMode="auto">
            <a:xfrm>
              <a:off x="9367838" y="-671513"/>
              <a:ext cx="6516688" cy="4627563"/>
            </a:xfrm>
            <a:custGeom>
              <a:avLst/>
              <a:gdLst>
                <a:gd name="T0" fmla="*/ 4105 w 4105"/>
                <a:gd name="T1" fmla="*/ 2915 h 2915"/>
                <a:gd name="T2" fmla="*/ 0 w 4105"/>
                <a:gd name="T3" fmla="*/ 2915 h 2915"/>
                <a:gd name="T4" fmla="*/ 0 w 4105"/>
                <a:gd name="T5" fmla="*/ 69 h 2915"/>
                <a:gd name="T6" fmla="*/ 68 w 4105"/>
                <a:gd name="T7" fmla="*/ 0 h 2915"/>
                <a:gd name="T8" fmla="*/ 4036 w 4105"/>
                <a:gd name="T9" fmla="*/ 0 h 2915"/>
                <a:gd name="T10" fmla="*/ 4105 w 4105"/>
                <a:gd name="T11" fmla="*/ 69 h 2915"/>
                <a:gd name="T12" fmla="*/ 4105 w 4105"/>
                <a:gd name="T13" fmla="*/ 2915 h 2915"/>
              </a:gdLst>
              <a:ahLst/>
              <a:cxnLst>
                <a:cxn ang="0">
                  <a:pos x="T0" y="T1"/>
                </a:cxn>
                <a:cxn ang="0">
                  <a:pos x="T2" y="T3"/>
                </a:cxn>
                <a:cxn ang="0">
                  <a:pos x="T4" y="T5"/>
                </a:cxn>
                <a:cxn ang="0">
                  <a:pos x="T6" y="T7"/>
                </a:cxn>
                <a:cxn ang="0">
                  <a:pos x="T8" y="T9"/>
                </a:cxn>
                <a:cxn ang="0">
                  <a:pos x="T10" y="T11"/>
                </a:cxn>
                <a:cxn ang="0">
                  <a:pos x="T12" y="T13"/>
                </a:cxn>
              </a:cxnLst>
              <a:rect l="0" t="0" r="r" b="b"/>
              <a:pathLst>
                <a:path w="4105" h="2915">
                  <a:moveTo>
                    <a:pt x="4105" y="2915"/>
                  </a:moveTo>
                  <a:lnTo>
                    <a:pt x="0" y="2915"/>
                  </a:lnTo>
                  <a:lnTo>
                    <a:pt x="0" y="69"/>
                  </a:lnTo>
                  <a:lnTo>
                    <a:pt x="68" y="0"/>
                  </a:lnTo>
                  <a:lnTo>
                    <a:pt x="4036" y="0"/>
                  </a:lnTo>
                  <a:lnTo>
                    <a:pt x="4105" y="69"/>
                  </a:lnTo>
                  <a:lnTo>
                    <a:pt x="4105" y="2915"/>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53" name="Freeform 152"/>
            <p:cNvSpPr>
              <a:spLocks/>
            </p:cNvSpPr>
            <p:nvPr/>
          </p:nvSpPr>
          <p:spPr bwMode="auto">
            <a:xfrm>
              <a:off x="8936038" y="3884612"/>
              <a:ext cx="7380288" cy="544513"/>
            </a:xfrm>
            <a:custGeom>
              <a:avLst/>
              <a:gdLst>
                <a:gd name="T0" fmla="*/ 4649 w 4649"/>
                <a:gd name="T1" fmla="*/ 274 h 343"/>
                <a:gd name="T2" fmla="*/ 4580 w 4649"/>
                <a:gd name="T3" fmla="*/ 343 h 343"/>
                <a:gd name="T4" fmla="*/ 68 w 4649"/>
                <a:gd name="T5" fmla="*/ 343 h 343"/>
                <a:gd name="T6" fmla="*/ 0 w 4649"/>
                <a:gd name="T7" fmla="*/ 274 h 343"/>
                <a:gd name="T8" fmla="*/ 0 w 4649"/>
                <a:gd name="T9" fmla="*/ 0 h 343"/>
                <a:gd name="T10" fmla="*/ 4649 w 4649"/>
                <a:gd name="T11" fmla="*/ 0 h 343"/>
                <a:gd name="T12" fmla="*/ 4649 w 4649"/>
                <a:gd name="T13" fmla="*/ 274 h 343"/>
              </a:gdLst>
              <a:ahLst/>
              <a:cxnLst>
                <a:cxn ang="0">
                  <a:pos x="T0" y="T1"/>
                </a:cxn>
                <a:cxn ang="0">
                  <a:pos x="T2" y="T3"/>
                </a:cxn>
                <a:cxn ang="0">
                  <a:pos x="T4" y="T5"/>
                </a:cxn>
                <a:cxn ang="0">
                  <a:pos x="T6" y="T7"/>
                </a:cxn>
                <a:cxn ang="0">
                  <a:pos x="T8" y="T9"/>
                </a:cxn>
                <a:cxn ang="0">
                  <a:pos x="T10" y="T11"/>
                </a:cxn>
                <a:cxn ang="0">
                  <a:pos x="T12" y="T13"/>
                </a:cxn>
              </a:cxnLst>
              <a:rect l="0" t="0" r="r" b="b"/>
              <a:pathLst>
                <a:path w="4649" h="343">
                  <a:moveTo>
                    <a:pt x="4649" y="274"/>
                  </a:moveTo>
                  <a:lnTo>
                    <a:pt x="4580" y="343"/>
                  </a:lnTo>
                  <a:lnTo>
                    <a:pt x="68" y="343"/>
                  </a:lnTo>
                  <a:lnTo>
                    <a:pt x="0" y="274"/>
                  </a:lnTo>
                  <a:lnTo>
                    <a:pt x="0" y="0"/>
                  </a:lnTo>
                  <a:lnTo>
                    <a:pt x="4649" y="0"/>
                  </a:lnTo>
                  <a:lnTo>
                    <a:pt x="4649" y="274"/>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154"/>
            <p:cNvSpPr>
              <a:spLocks noChangeArrowheads="1"/>
            </p:cNvSpPr>
            <p:nvPr/>
          </p:nvSpPr>
          <p:spPr bwMode="auto">
            <a:xfrm>
              <a:off x="9742488" y="-300038"/>
              <a:ext cx="5770563" cy="3738563"/>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28" name="Group 127"/>
          <p:cNvGrpSpPr/>
          <p:nvPr/>
        </p:nvGrpSpPr>
        <p:grpSpPr>
          <a:xfrm>
            <a:off x="2252505" y="2530741"/>
            <a:ext cx="338748" cy="351972"/>
            <a:chOff x="-5861615" y="-1101727"/>
            <a:chExt cx="2114550" cy="2197101"/>
          </a:xfrm>
        </p:grpSpPr>
        <p:sp>
          <p:nvSpPr>
            <p:cNvPr id="122" name="Freeform 37"/>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3" name="Freeform 38"/>
            <p:cNvSpPr>
              <a:spLocks/>
            </p:cNvSpPr>
            <p:nvPr/>
          </p:nvSpPr>
          <p:spPr bwMode="auto">
            <a:xfrm>
              <a:off x="-5861615" y="-842964"/>
              <a:ext cx="2114550" cy="1938338"/>
            </a:xfrm>
            <a:custGeom>
              <a:avLst/>
              <a:gdLst>
                <a:gd name="T0" fmla="*/ 1332 w 1332"/>
                <a:gd name="T1" fmla="*/ 1221 h 1221"/>
                <a:gd name="T2" fmla="*/ 0 w 1332"/>
                <a:gd name="T3" fmla="*/ 1221 h 1221"/>
                <a:gd name="T4" fmla="*/ 0 w 1332"/>
                <a:gd name="T5" fmla="*/ 26 h 1221"/>
                <a:gd name="T6" fmla="*/ 26 w 1332"/>
                <a:gd name="T7" fmla="*/ 0 h 1221"/>
                <a:gd name="T8" fmla="*/ 1306 w 1332"/>
                <a:gd name="T9" fmla="*/ 0 h 1221"/>
                <a:gd name="T10" fmla="*/ 1332 w 1332"/>
                <a:gd name="T11" fmla="*/ 26 h 1221"/>
                <a:gd name="T12" fmla="*/ 1332 w 1332"/>
                <a:gd name="T13" fmla="*/ 1221 h 1221"/>
              </a:gdLst>
              <a:ahLst/>
              <a:cxnLst>
                <a:cxn ang="0">
                  <a:pos x="T0" y="T1"/>
                </a:cxn>
                <a:cxn ang="0">
                  <a:pos x="T2" y="T3"/>
                </a:cxn>
                <a:cxn ang="0">
                  <a:pos x="T4" y="T5"/>
                </a:cxn>
                <a:cxn ang="0">
                  <a:pos x="T6" y="T7"/>
                </a:cxn>
                <a:cxn ang="0">
                  <a:pos x="T8" y="T9"/>
                </a:cxn>
                <a:cxn ang="0">
                  <a:pos x="T10" y="T11"/>
                </a:cxn>
                <a:cxn ang="0">
                  <a:pos x="T12" y="T13"/>
                </a:cxn>
              </a:cxnLst>
              <a:rect l="0" t="0" r="r" b="b"/>
              <a:pathLst>
                <a:path w="1332" h="1221">
                  <a:moveTo>
                    <a:pt x="1332" y="1221"/>
                  </a:moveTo>
                  <a:lnTo>
                    <a:pt x="0" y="1221"/>
                  </a:lnTo>
                  <a:lnTo>
                    <a:pt x="0" y="26"/>
                  </a:lnTo>
                  <a:lnTo>
                    <a:pt x="26" y="0"/>
                  </a:lnTo>
                  <a:lnTo>
                    <a:pt x="1306" y="0"/>
                  </a:lnTo>
                  <a:lnTo>
                    <a:pt x="1332" y="26"/>
                  </a:lnTo>
                  <a:lnTo>
                    <a:pt x="1332" y="1221"/>
                  </a:lnTo>
                  <a:close/>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Freeform 39"/>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5" name="Freeform 40"/>
            <p:cNvSpPr>
              <a:spLocks/>
            </p:cNvSpPr>
            <p:nvPr/>
          </p:nvSpPr>
          <p:spPr bwMode="auto">
            <a:xfrm>
              <a:off x="-5655240" y="-1101727"/>
              <a:ext cx="581025" cy="1938338"/>
            </a:xfrm>
            <a:custGeom>
              <a:avLst/>
              <a:gdLst>
                <a:gd name="T0" fmla="*/ 366 w 366"/>
                <a:gd name="T1" fmla="*/ 1195 h 1221"/>
                <a:gd name="T2" fmla="*/ 340 w 366"/>
                <a:gd name="T3" fmla="*/ 1221 h 1221"/>
                <a:gd name="T4" fmla="*/ 26 w 366"/>
                <a:gd name="T5" fmla="*/ 1221 h 1221"/>
                <a:gd name="T6" fmla="*/ 0 w 366"/>
                <a:gd name="T7" fmla="*/ 1195 h 1221"/>
                <a:gd name="T8" fmla="*/ 0 w 366"/>
                <a:gd name="T9" fmla="*/ 26 h 1221"/>
                <a:gd name="T10" fmla="*/ 26 w 366"/>
                <a:gd name="T11" fmla="*/ 0 h 1221"/>
                <a:gd name="T12" fmla="*/ 340 w 366"/>
                <a:gd name="T13" fmla="*/ 0 h 1221"/>
                <a:gd name="T14" fmla="*/ 366 w 366"/>
                <a:gd name="T15" fmla="*/ 26 h 1221"/>
                <a:gd name="T16" fmla="*/ 366 w 366"/>
                <a:gd name="T17" fmla="*/ 1195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221">
                  <a:moveTo>
                    <a:pt x="366" y="1195"/>
                  </a:moveTo>
                  <a:lnTo>
                    <a:pt x="340" y="1221"/>
                  </a:lnTo>
                  <a:lnTo>
                    <a:pt x="26" y="1221"/>
                  </a:lnTo>
                  <a:lnTo>
                    <a:pt x="0" y="1195"/>
                  </a:lnTo>
                  <a:lnTo>
                    <a:pt x="0" y="26"/>
                  </a:lnTo>
                  <a:lnTo>
                    <a:pt x="26" y="0"/>
                  </a:lnTo>
                  <a:lnTo>
                    <a:pt x="340" y="0"/>
                  </a:lnTo>
                  <a:lnTo>
                    <a:pt x="366" y="26"/>
                  </a:lnTo>
                  <a:lnTo>
                    <a:pt x="366" y="1195"/>
                  </a:lnTo>
                  <a:close/>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6" name="Rectangle 41"/>
            <p:cNvSpPr>
              <a:spLocks noChangeArrowheads="1"/>
            </p:cNvSpPr>
            <p:nvPr/>
          </p:nvSpPr>
          <p:spPr bwMode="auto">
            <a:xfrm>
              <a:off x="-4793227" y="-600076"/>
              <a:ext cx="784225" cy="633413"/>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7" name="Rectangle 42"/>
            <p:cNvSpPr>
              <a:spLocks noChangeArrowheads="1"/>
            </p:cNvSpPr>
            <p:nvPr/>
          </p:nvSpPr>
          <p:spPr bwMode="auto">
            <a:xfrm>
              <a:off x="-4793227" y="217486"/>
              <a:ext cx="180975"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27" name="Rectangle 43"/>
            <p:cNvSpPr>
              <a:spLocks noChangeArrowheads="1"/>
            </p:cNvSpPr>
            <p:nvPr/>
          </p:nvSpPr>
          <p:spPr bwMode="auto">
            <a:xfrm>
              <a:off x="-4488427" y="217486"/>
              <a:ext cx="176213"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2" name="Rectangle 44"/>
            <p:cNvSpPr>
              <a:spLocks noChangeArrowheads="1"/>
            </p:cNvSpPr>
            <p:nvPr/>
          </p:nvSpPr>
          <p:spPr bwMode="auto">
            <a:xfrm>
              <a:off x="-4188390" y="217486"/>
              <a:ext cx="179388" cy="1127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7" name="Rectangle 45"/>
            <p:cNvSpPr>
              <a:spLocks noChangeArrowheads="1"/>
            </p:cNvSpPr>
            <p:nvPr/>
          </p:nvSpPr>
          <p:spPr bwMode="auto">
            <a:xfrm>
              <a:off x="-4793227" y="420686"/>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38" name="Rectangle 46"/>
            <p:cNvSpPr>
              <a:spLocks noChangeArrowheads="1"/>
            </p:cNvSpPr>
            <p:nvPr/>
          </p:nvSpPr>
          <p:spPr bwMode="auto">
            <a:xfrm>
              <a:off x="-4488427" y="420686"/>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0" name="Rectangle 47"/>
            <p:cNvSpPr>
              <a:spLocks noChangeArrowheads="1"/>
            </p:cNvSpPr>
            <p:nvPr/>
          </p:nvSpPr>
          <p:spPr bwMode="auto">
            <a:xfrm>
              <a:off x="-4188390" y="420686"/>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1" name="Rectangle 48"/>
            <p:cNvSpPr>
              <a:spLocks noChangeArrowheads="1"/>
            </p:cNvSpPr>
            <p:nvPr/>
          </p:nvSpPr>
          <p:spPr bwMode="auto">
            <a:xfrm>
              <a:off x="-4793227" y="627061"/>
              <a:ext cx="180975"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2" name="Rectangle 49"/>
            <p:cNvSpPr>
              <a:spLocks noChangeArrowheads="1"/>
            </p:cNvSpPr>
            <p:nvPr/>
          </p:nvSpPr>
          <p:spPr bwMode="auto">
            <a:xfrm>
              <a:off x="-4488427" y="627061"/>
              <a:ext cx="176213"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43" name="Rectangle 50"/>
            <p:cNvSpPr>
              <a:spLocks noChangeArrowheads="1"/>
            </p:cNvSpPr>
            <p:nvPr/>
          </p:nvSpPr>
          <p:spPr bwMode="auto">
            <a:xfrm>
              <a:off x="-4188390" y="627061"/>
              <a:ext cx="179388" cy="11588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13" name="Group 1112"/>
          <p:cNvGrpSpPr/>
          <p:nvPr/>
        </p:nvGrpSpPr>
        <p:grpSpPr>
          <a:xfrm>
            <a:off x="2720008" y="2541216"/>
            <a:ext cx="455085" cy="342722"/>
            <a:chOff x="-3314700" y="-74613"/>
            <a:chExt cx="2565400" cy="1931988"/>
          </a:xfrm>
        </p:grpSpPr>
        <p:sp>
          <p:nvSpPr>
            <p:cNvPr id="131" name="Rectangle 56"/>
            <p:cNvSpPr>
              <a:spLocks noChangeArrowheads="1"/>
            </p:cNvSpPr>
            <p:nvPr/>
          </p:nvSpPr>
          <p:spPr bwMode="auto">
            <a:xfrm>
              <a:off x="-3314700" y="-74613"/>
              <a:ext cx="1062037" cy="1931988"/>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2" name="Rectangle 57"/>
            <p:cNvSpPr>
              <a:spLocks noChangeArrowheads="1"/>
            </p:cNvSpPr>
            <p:nvPr/>
          </p:nvSpPr>
          <p:spPr bwMode="auto">
            <a:xfrm>
              <a:off x="-3314700" y="-74613"/>
              <a:ext cx="1062037" cy="1931988"/>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3" name="Rectangle 58"/>
            <p:cNvSpPr>
              <a:spLocks noChangeArrowheads="1"/>
            </p:cNvSpPr>
            <p:nvPr/>
          </p:nvSpPr>
          <p:spPr bwMode="auto">
            <a:xfrm>
              <a:off x="-3314700" y="-31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4" name="Rectangle 59"/>
            <p:cNvSpPr>
              <a:spLocks noChangeArrowheads="1"/>
            </p:cNvSpPr>
            <p:nvPr/>
          </p:nvSpPr>
          <p:spPr bwMode="auto">
            <a:xfrm>
              <a:off x="-3314700" y="-3175"/>
              <a:ext cx="311150"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Rectangle 60"/>
            <p:cNvSpPr>
              <a:spLocks noChangeArrowheads="1"/>
            </p:cNvSpPr>
            <p:nvPr/>
          </p:nvSpPr>
          <p:spPr bwMode="auto">
            <a:xfrm>
              <a:off x="-294322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6" name="Rectangle 61"/>
            <p:cNvSpPr>
              <a:spLocks noChangeArrowheads="1"/>
            </p:cNvSpPr>
            <p:nvPr/>
          </p:nvSpPr>
          <p:spPr bwMode="auto">
            <a:xfrm>
              <a:off x="-2943225" y="-3175"/>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Rectangle 62"/>
            <p:cNvSpPr>
              <a:spLocks noChangeArrowheads="1"/>
            </p:cNvSpPr>
            <p:nvPr/>
          </p:nvSpPr>
          <p:spPr bwMode="auto">
            <a:xfrm>
              <a:off x="-2568575" y="-31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8" name="Rectangle 63"/>
            <p:cNvSpPr>
              <a:spLocks noChangeArrowheads="1"/>
            </p:cNvSpPr>
            <p:nvPr/>
          </p:nvSpPr>
          <p:spPr bwMode="auto">
            <a:xfrm>
              <a:off x="-2568575" y="-3175"/>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9" name="Rectangle 64"/>
            <p:cNvSpPr>
              <a:spLocks noChangeArrowheads="1"/>
            </p:cNvSpPr>
            <p:nvPr/>
          </p:nvSpPr>
          <p:spPr bwMode="auto">
            <a:xfrm>
              <a:off x="-3314700" y="20002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0" name="Rectangle 65"/>
            <p:cNvSpPr>
              <a:spLocks noChangeArrowheads="1"/>
            </p:cNvSpPr>
            <p:nvPr/>
          </p:nvSpPr>
          <p:spPr bwMode="auto">
            <a:xfrm>
              <a:off x="-3314700" y="200025"/>
              <a:ext cx="311150"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1" name="Rectangle 66"/>
            <p:cNvSpPr>
              <a:spLocks noChangeArrowheads="1"/>
            </p:cNvSpPr>
            <p:nvPr/>
          </p:nvSpPr>
          <p:spPr bwMode="auto">
            <a:xfrm>
              <a:off x="-294322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Rectangle 67"/>
            <p:cNvSpPr>
              <a:spLocks noChangeArrowheads="1"/>
            </p:cNvSpPr>
            <p:nvPr/>
          </p:nvSpPr>
          <p:spPr bwMode="auto">
            <a:xfrm>
              <a:off x="-2943225" y="200025"/>
              <a:ext cx="315912"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Rectangle 68"/>
            <p:cNvSpPr>
              <a:spLocks noChangeArrowheads="1"/>
            </p:cNvSpPr>
            <p:nvPr/>
          </p:nvSpPr>
          <p:spPr bwMode="auto">
            <a:xfrm>
              <a:off x="-2568575" y="20002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4" name="Rectangle 69"/>
            <p:cNvSpPr>
              <a:spLocks noChangeArrowheads="1"/>
            </p:cNvSpPr>
            <p:nvPr/>
          </p:nvSpPr>
          <p:spPr bwMode="auto">
            <a:xfrm>
              <a:off x="-2568575" y="200025"/>
              <a:ext cx="315912"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Rectangle 70"/>
            <p:cNvSpPr>
              <a:spLocks noChangeArrowheads="1"/>
            </p:cNvSpPr>
            <p:nvPr/>
          </p:nvSpPr>
          <p:spPr bwMode="auto">
            <a:xfrm>
              <a:off x="-3314700" y="398462"/>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6" name="Rectangle 71"/>
            <p:cNvSpPr>
              <a:spLocks noChangeArrowheads="1"/>
            </p:cNvSpPr>
            <p:nvPr/>
          </p:nvSpPr>
          <p:spPr bwMode="auto">
            <a:xfrm>
              <a:off x="-3314700" y="398462"/>
              <a:ext cx="311150"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Rectangle 72"/>
            <p:cNvSpPr>
              <a:spLocks noChangeArrowheads="1"/>
            </p:cNvSpPr>
            <p:nvPr/>
          </p:nvSpPr>
          <p:spPr bwMode="auto">
            <a:xfrm>
              <a:off x="-294322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8" name="Rectangle 73"/>
            <p:cNvSpPr>
              <a:spLocks noChangeArrowheads="1"/>
            </p:cNvSpPr>
            <p:nvPr/>
          </p:nvSpPr>
          <p:spPr bwMode="auto">
            <a:xfrm>
              <a:off x="-2943225" y="398462"/>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9" name="Rectangle 74"/>
            <p:cNvSpPr>
              <a:spLocks noChangeArrowheads="1"/>
            </p:cNvSpPr>
            <p:nvPr/>
          </p:nvSpPr>
          <p:spPr bwMode="auto">
            <a:xfrm>
              <a:off x="-2568575" y="398462"/>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Rectangle 75"/>
            <p:cNvSpPr>
              <a:spLocks noChangeArrowheads="1"/>
            </p:cNvSpPr>
            <p:nvPr/>
          </p:nvSpPr>
          <p:spPr bwMode="auto">
            <a:xfrm>
              <a:off x="-2568575" y="398462"/>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Rectangle 76"/>
            <p:cNvSpPr>
              <a:spLocks noChangeArrowheads="1"/>
            </p:cNvSpPr>
            <p:nvPr/>
          </p:nvSpPr>
          <p:spPr bwMode="auto">
            <a:xfrm>
              <a:off x="-3314700" y="596900"/>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2" name="Rectangle 77"/>
            <p:cNvSpPr>
              <a:spLocks noChangeArrowheads="1"/>
            </p:cNvSpPr>
            <p:nvPr/>
          </p:nvSpPr>
          <p:spPr bwMode="auto">
            <a:xfrm>
              <a:off x="-3314700" y="596900"/>
              <a:ext cx="311150"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Rectangle 78"/>
            <p:cNvSpPr>
              <a:spLocks noChangeArrowheads="1"/>
            </p:cNvSpPr>
            <p:nvPr/>
          </p:nvSpPr>
          <p:spPr bwMode="auto">
            <a:xfrm>
              <a:off x="-294322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4" name="Rectangle 79"/>
            <p:cNvSpPr>
              <a:spLocks noChangeArrowheads="1"/>
            </p:cNvSpPr>
            <p:nvPr/>
          </p:nvSpPr>
          <p:spPr bwMode="auto">
            <a:xfrm>
              <a:off x="-2943225" y="596900"/>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Rectangle 80"/>
            <p:cNvSpPr>
              <a:spLocks noChangeArrowheads="1"/>
            </p:cNvSpPr>
            <p:nvPr/>
          </p:nvSpPr>
          <p:spPr bwMode="auto">
            <a:xfrm>
              <a:off x="-2568575" y="596900"/>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6" name="Rectangle 81"/>
            <p:cNvSpPr>
              <a:spLocks noChangeArrowheads="1"/>
            </p:cNvSpPr>
            <p:nvPr/>
          </p:nvSpPr>
          <p:spPr bwMode="auto">
            <a:xfrm>
              <a:off x="-2568575" y="596900"/>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7" name="Rectangle 82"/>
            <p:cNvSpPr>
              <a:spLocks noChangeArrowheads="1"/>
            </p:cNvSpPr>
            <p:nvPr/>
          </p:nvSpPr>
          <p:spPr bwMode="auto">
            <a:xfrm>
              <a:off x="-3314700" y="800100"/>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9" name="Rectangle 83"/>
            <p:cNvSpPr>
              <a:spLocks noChangeArrowheads="1"/>
            </p:cNvSpPr>
            <p:nvPr/>
          </p:nvSpPr>
          <p:spPr bwMode="auto">
            <a:xfrm>
              <a:off x="-3314700" y="800100"/>
              <a:ext cx="311150"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0" name="Rectangle 84"/>
            <p:cNvSpPr>
              <a:spLocks noChangeArrowheads="1"/>
            </p:cNvSpPr>
            <p:nvPr/>
          </p:nvSpPr>
          <p:spPr bwMode="auto">
            <a:xfrm>
              <a:off x="-294322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1" name="Rectangle 85"/>
            <p:cNvSpPr>
              <a:spLocks noChangeArrowheads="1"/>
            </p:cNvSpPr>
            <p:nvPr/>
          </p:nvSpPr>
          <p:spPr bwMode="auto">
            <a:xfrm>
              <a:off x="-2943225" y="800100"/>
              <a:ext cx="315912"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2" name="Rectangle 86"/>
            <p:cNvSpPr>
              <a:spLocks noChangeArrowheads="1"/>
            </p:cNvSpPr>
            <p:nvPr/>
          </p:nvSpPr>
          <p:spPr bwMode="auto">
            <a:xfrm>
              <a:off x="-2568575" y="800100"/>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3" name="Rectangle 87"/>
            <p:cNvSpPr>
              <a:spLocks noChangeArrowheads="1"/>
            </p:cNvSpPr>
            <p:nvPr/>
          </p:nvSpPr>
          <p:spPr bwMode="auto">
            <a:xfrm>
              <a:off x="-2568575" y="800100"/>
              <a:ext cx="315912"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5" name="Rectangle 88"/>
            <p:cNvSpPr>
              <a:spLocks noChangeArrowheads="1"/>
            </p:cNvSpPr>
            <p:nvPr/>
          </p:nvSpPr>
          <p:spPr bwMode="auto">
            <a:xfrm>
              <a:off x="-3314700" y="998538"/>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67" name="Rectangle 89"/>
            <p:cNvSpPr>
              <a:spLocks noChangeArrowheads="1"/>
            </p:cNvSpPr>
            <p:nvPr/>
          </p:nvSpPr>
          <p:spPr bwMode="auto">
            <a:xfrm>
              <a:off x="-3314700" y="998538"/>
              <a:ext cx="311150"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Rectangle 90"/>
            <p:cNvSpPr>
              <a:spLocks noChangeArrowheads="1"/>
            </p:cNvSpPr>
            <p:nvPr/>
          </p:nvSpPr>
          <p:spPr bwMode="auto">
            <a:xfrm>
              <a:off x="-2943225" y="998538"/>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4" name="Rectangle 91"/>
            <p:cNvSpPr>
              <a:spLocks noChangeArrowheads="1"/>
            </p:cNvSpPr>
            <p:nvPr/>
          </p:nvSpPr>
          <p:spPr bwMode="auto">
            <a:xfrm>
              <a:off x="-2943225" y="998538"/>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Rectangle 92"/>
            <p:cNvSpPr>
              <a:spLocks noChangeArrowheads="1"/>
            </p:cNvSpPr>
            <p:nvPr/>
          </p:nvSpPr>
          <p:spPr bwMode="auto">
            <a:xfrm>
              <a:off x="-3314700" y="1196975"/>
              <a:ext cx="311150"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79" name="Rectangle 93"/>
            <p:cNvSpPr>
              <a:spLocks noChangeArrowheads="1"/>
            </p:cNvSpPr>
            <p:nvPr/>
          </p:nvSpPr>
          <p:spPr bwMode="auto">
            <a:xfrm>
              <a:off x="-3314700" y="1196975"/>
              <a:ext cx="311150"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1" name="Rectangle 94"/>
            <p:cNvSpPr>
              <a:spLocks noChangeArrowheads="1"/>
            </p:cNvSpPr>
            <p:nvPr/>
          </p:nvSpPr>
          <p:spPr bwMode="auto">
            <a:xfrm>
              <a:off x="-2943225" y="1196975"/>
              <a:ext cx="315912"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3" name="Rectangle 95"/>
            <p:cNvSpPr>
              <a:spLocks noChangeArrowheads="1"/>
            </p:cNvSpPr>
            <p:nvPr/>
          </p:nvSpPr>
          <p:spPr bwMode="auto">
            <a:xfrm>
              <a:off x="-2943225" y="1196975"/>
              <a:ext cx="315912"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5" name="Rectangle 96"/>
            <p:cNvSpPr>
              <a:spLocks noChangeArrowheads="1"/>
            </p:cNvSpPr>
            <p:nvPr/>
          </p:nvSpPr>
          <p:spPr bwMode="auto">
            <a:xfrm>
              <a:off x="-3314700" y="1400175"/>
              <a:ext cx="311150"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7" name="Rectangle 97"/>
            <p:cNvSpPr>
              <a:spLocks noChangeArrowheads="1"/>
            </p:cNvSpPr>
            <p:nvPr/>
          </p:nvSpPr>
          <p:spPr bwMode="auto">
            <a:xfrm>
              <a:off x="-3314700" y="1400175"/>
              <a:ext cx="311150"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Rectangle 98"/>
            <p:cNvSpPr>
              <a:spLocks noChangeArrowheads="1"/>
            </p:cNvSpPr>
            <p:nvPr/>
          </p:nvSpPr>
          <p:spPr bwMode="auto">
            <a:xfrm>
              <a:off x="-2943225" y="1400175"/>
              <a:ext cx="315912"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1" name="Rectangle 99"/>
            <p:cNvSpPr>
              <a:spLocks noChangeArrowheads="1"/>
            </p:cNvSpPr>
            <p:nvPr/>
          </p:nvSpPr>
          <p:spPr bwMode="auto">
            <a:xfrm>
              <a:off x="-2943225" y="1400175"/>
              <a:ext cx="315912"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Rectangle 100"/>
            <p:cNvSpPr>
              <a:spLocks noChangeArrowheads="1"/>
            </p:cNvSpPr>
            <p:nvPr/>
          </p:nvSpPr>
          <p:spPr bwMode="auto">
            <a:xfrm>
              <a:off x="-2552700" y="927100"/>
              <a:ext cx="1803400" cy="930275"/>
            </a:xfrm>
            <a:prstGeom prst="rect">
              <a:avLst/>
            </a:prstGeom>
            <a:solidFill>
              <a:srgbClr val="FFFFFF"/>
            </a:solidFill>
            <a:ln w="1270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3" name="Rectangle 101"/>
            <p:cNvSpPr>
              <a:spLocks noChangeArrowheads="1"/>
            </p:cNvSpPr>
            <p:nvPr/>
          </p:nvSpPr>
          <p:spPr bwMode="auto">
            <a:xfrm>
              <a:off x="-2552700" y="927100"/>
              <a:ext cx="1803400" cy="9302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Rectangle 102"/>
            <p:cNvSpPr>
              <a:spLocks noChangeArrowheads="1"/>
            </p:cNvSpPr>
            <p:nvPr/>
          </p:nvSpPr>
          <p:spPr bwMode="auto">
            <a:xfrm>
              <a:off x="-1214438"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5" name="Rectangle 103"/>
            <p:cNvSpPr>
              <a:spLocks noChangeArrowheads="1"/>
            </p:cNvSpPr>
            <p:nvPr/>
          </p:nvSpPr>
          <p:spPr bwMode="auto">
            <a:xfrm>
              <a:off x="-1214438" y="998538"/>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6" name="Rectangle 104"/>
            <p:cNvSpPr>
              <a:spLocks noChangeArrowheads="1"/>
            </p:cNvSpPr>
            <p:nvPr/>
          </p:nvSpPr>
          <p:spPr bwMode="auto">
            <a:xfrm>
              <a:off x="-1214438"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7" name="Rectangle 105"/>
            <p:cNvSpPr>
              <a:spLocks noChangeArrowheads="1"/>
            </p:cNvSpPr>
            <p:nvPr/>
          </p:nvSpPr>
          <p:spPr bwMode="auto">
            <a:xfrm>
              <a:off x="-1214438" y="1196975"/>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8" name="Rectangle 106"/>
            <p:cNvSpPr>
              <a:spLocks noChangeArrowheads="1"/>
            </p:cNvSpPr>
            <p:nvPr/>
          </p:nvSpPr>
          <p:spPr bwMode="auto">
            <a:xfrm>
              <a:off x="-1214438"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Rectangle 107"/>
            <p:cNvSpPr>
              <a:spLocks noChangeArrowheads="1"/>
            </p:cNvSpPr>
            <p:nvPr/>
          </p:nvSpPr>
          <p:spPr bwMode="auto">
            <a:xfrm>
              <a:off x="-1214438" y="1400175"/>
              <a:ext cx="465137"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Rectangle 108"/>
            <p:cNvSpPr>
              <a:spLocks noChangeArrowheads="1"/>
            </p:cNvSpPr>
            <p:nvPr/>
          </p:nvSpPr>
          <p:spPr bwMode="auto">
            <a:xfrm>
              <a:off x="-1214438"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2" name="Rectangle 109"/>
            <p:cNvSpPr>
              <a:spLocks noChangeArrowheads="1"/>
            </p:cNvSpPr>
            <p:nvPr/>
          </p:nvSpPr>
          <p:spPr bwMode="auto">
            <a:xfrm>
              <a:off x="-1214438" y="1598613"/>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3" name="Rectangle 110"/>
            <p:cNvSpPr>
              <a:spLocks noChangeArrowheads="1"/>
            </p:cNvSpPr>
            <p:nvPr/>
          </p:nvSpPr>
          <p:spPr bwMode="auto">
            <a:xfrm>
              <a:off x="-1735138" y="998538"/>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4" name="Rectangle 111"/>
            <p:cNvSpPr>
              <a:spLocks noChangeArrowheads="1"/>
            </p:cNvSpPr>
            <p:nvPr/>
          </p:nvSpPr>
          <p:spPr bwMode="auto">
            <a:xfrm>
              <a:off x="-1735138" y="998538"/>
              <a:ext cx="460375"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5" name="Rectangle 112"/>
            <p:cNvSpPr>
              <a:spLocks noChangeArrowheads="1"/>
            </p:cNvSpPr>
            <p:nvPr/>
          </p:nvSpPr>
          <p:spPr bwMode="auto">
            <a:xfrm>
              <a:off x="-1735138" y="1196975"/>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9" name="Rectangle 113"/>
            <p:cNvSpPr>
              <a:spLocks noChangeArrowheads="1"/>
            </p:cNvSpPr>
            <p:nvPr/>
          </p:nvSpPr>
          <p:spPr bwMode="auto">
            <a:xfrm>
              <a:off x="-1735138" y="1196975"/>
              <a:ext cx="460375"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1" name="Rectangle 114"/>
            <p:cNvSpPr>
              <a:spLocks noChangeArrowheads="1"/>
            </p:cNvSpPr>
            <p:nvPr/>
          </p:nvSpPr>
          <p:spPr bwMode="auto">
            <a:xfrm>
              <a:off x="-1735138" y="1400175"/>
              <a:ext cx="460375"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8" name="Rectangle 115"/>
            <p:cNvSpPr>
              <a:spLocks noChangeArrowheads="1"/>
            </p:cNvSpPr>
            <p:nvPr/>
          </p:nvSpPr>
          <p:spPr bwMode="auto">
            <a:xfrm>
              <a:off x="-1735138" y="1400175"/>
              <a:ext cx="460375"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Rectangle 116"/>
            <p:cNvSpPr>
              <a:spLocks noChangeArrowheads="1"/>
            </p:cNvSpPr>
            <p:nvPr/>
          </p:nvSpPr>
          <p:spPr bwMode="auto">
            <a:xfrm>
              <a:off x="-1735138" y="1598613"/>
              <a:ext cx="460375"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0" name="Rectangle 117"/>
            <p:cNvSpPr>
              <a:spLocks noChangeArrowheads="1"/>
            </p:cNvSpPr>
            <p:nvPr/>
          </p:nvSpPr>
          <p:spPr bwMode="auto">
            <a:xfrm>
              <a:off x="-1735138" y="1598613"/>
              <a:ext cx="460375"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1" name="Rectangle 118"/>
            <p:cNvSpPr>
              <a:spLocks noChangeArrowheads="1"/>
            </p:cNvSpPr>
            <p:nvPr/>
          </p:nvSpPr>
          <p:spPr bwMode="auto">
            <a:xfrm>
              <a:off x="-2260600" y="998538"/>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2" name="Rectangle 119"/>
            <p:cNvSpPr>
              <a:spLocks noChangeArrowheads="1"/>
            </p:cNvSpPr>
            <p:nvPr/>
          </p:nvSpPr>
          <p:spPr bwMode="auto">
            <a:xfrm>
              <a:off x="-2260600" y="998538"/>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3" name="Rectangle 120"/>
            <p:cNvSpPr>
              <a:spLocks noChangeArrowheads="1"/>
            </p:cNvSpPr>
            <p:nvPr/>
          </p:nvSpPr>
          <p:spPr bwMode="auto">
            <a:xfrm>
              <a:off x="-2260600" y="1196975"/>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5" name="Rectangle 121"/>
            <p:cNvSpPr>
              <a:spLocks noChangeArrowheads="1"/>
            </p:cNvSpPr>
            <p:nvPr/>
          </p:nvSpPr>
          <p:spPr bwMode="auto">
            <a:xfrm>
              <a:off x="-2260600" y="1196975"/>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6" name="Rectangle 122"/>
            <p:cNvSpPr>
              <a:spLocks noChangeArrowheads="1"/>
            </p:cNvSpPr>
            <p:nvPr/>
          </p:nvSpPr>
          <p:spPr bwMode="auto">
            <a:xfrm>
              <a:off x="-2260600" y="1400175"/>
              <a:ext cx="465137" cy="142875"/>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09" name="Rectangle 123"/>
            <p:cNvSpPr>
              <a:spLocks noChangeArrowheads="1"/>
            </p:cNvSpPr>
            <p:nvPr/>
          </p:nvSpPr>
          <p:spPr bwMode="auto">
            <a:xfrm>
              <a:off x="-2260600" y="1400175"/>
              <a:ext cx="465137" cy="142875"/>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0" name="Rectangle 124"/>
            <p:cNvSpPr>
              <a:spLocks noChangeArrowheads="1"/>
            </p:cNvSpPr>
            <p:nvPr/>
          </p:nvSpPr>
          <p:spPr bwMode="auto">
            <a:xfrm>
              <a:off x="-2260600" y="1598613"/>
              <a:ext cx="465137" cy="146050"/>
            </a:xfrm>
            <a:prstGeom prst="rect">
              <a:avLst/>
            </a:prstGeom>
            <a:solidFill>
              <a:srgbClr val="FFFFFF"/>
            </a:solidFill>
            <a:ln w="6350">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11" name="Rectangle 125"/>
            <p:cNvSpPr>
              <a:spLocks noChangeArrowheads="1"/>
            </p:cNvSpPr>
            <p:nvPr/>
          </p:nvSpPr>
          <p:spPr bwMode="auto">
            <a:xfrm>
              <a:off x="-2260600" y="1598613"/>
              <a:ext cx="465137" cy="146050"/>
            </a:xfrm>
            <a:prstGeom prst="rect">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20" name="Freeform 130"/>
          <p:cNvSpPr>
            <a:spLocks/>
          </p:cNvSpPr>
          <p:nvPr/>
        </p:nvSpPr>
        <p:spPr bwMode="auto">
          <a:xfrm>
            <a:off x="3281292"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1130" name="Group 1129"/>
          <p:cNvGrpSpPr/>
          <p:nvPr/>
        </p:nvGrpSpPr>
        <p:grpSpPr>
          <a:xfrm>
            <a:off x="4423473" y="2511943"/>
            <a:ext cx="284492" cy="368881"/>
            <a:chOff x="-1695450" y="573088"/>
            <a:chExt cx="1225550" cy="1589088"/>
          </a:xfrm>
          <a:solidFill>
            <a:schemeClr val="bg1"/>
          </a:solidFill>
        </p:grpSpPr>
        <p:sp>
          <p:nvSpPr>
            <p:cNvPr id="1125" name="Rectangle 135"/>
            <p:cNvSpPr>
              <a:spLocks noChangeArrowheads="1"/>
            </p:cNvSpPr>
            <p:nvPr/>
          </p:nvSpPr>
          <p:spPr bwMode="auto">
            <a:xfrm>
              <a:off x="-1695450" y="1198563"/>
              <a:ext cx="1225550" cy="963613"/>
            </a:xfrm>
            <a:prstGeom prst="rect">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7" name="Freeform 136"/>
            <p:cNvSpPr>
              <a:spLocks/>
            </p:cNvSpPr>
            <p:nvPr/>
          </p:nvSpPr>
          <p:spPr bwMode="auto">
            <a:xfrm>
              <a:off x="-1544638" y="573088"/>
              <a:ext cx="925512" cy="625475"/>
            </a:xfrm>
            <a:custGeom>
              <a:avLst/>
              <a:gdLst>
                <a:gd name="T0" fmla="*/ 202 w 247"/>
                <a:gd name="T1" fmla="*/ 167 h 167"/>
                <a:gd name="T2" fmla="*/ 202 w 247"/>
                <a:gd name="T3" fmla="*/ 122 h 167"/>
                <a:gd name="T4" fmla="*/ 124 w 247"/>
                <a:gd name="T5" fmla="*/ 47 h 167"/>
                <a:gd name="T6" fmla="*/ 45 w 247"/>
                <a:gd name="T7" fmla="*/ 122 h 167"/>
                <a:gd name="T8" fmla="*/ 45 w 247"/>
                <a:gd name="T9" fmla="*/ 167 h 167"/>
                <a:gd name="T10" fmla="*/ 0 w 247"/>
                <a:gd name="T11" fmla="*/ 167 h 167"/>
                <a:gd name="T12" fmla="*/ 0 w 247"/>
                <a:gd name="T13" fmla="*/ 122 h 167"/>
                <a:gd name="T14" fmla="*/ 124 w 247"/>
                <a:gd name="T15" fmla="*/ 0 h 167"/>
                <a:gd name="T16" fmla="*/ 247 w 247"/>
                <a:gd name="T17" fmla="*/ 122 h 167"/>
                <a:gd name="T18" fmla="*/ 247 w 247"/>
                <a:gd name="T19" fmla="*/ 167 h 167"/>
                <a:gd name="T20" fmla="*/ 202 w 247"/>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167">
                  <a:moveTo>
                    <a:pt x="202" y="167"/>
                  </a:moveTo>
                  <a:cubicBezTo>
                    <a:pt x="202" y="122"/>
                    <a:pt x="202" y="122"/>
                    <a:pt x="202" y="122"/>
                  </a:cubicBezTo>
                  <a:cubicBezTo>
                    <a:pt x="202" y="81"/>
                    <a:pt x="166" y="47"/>
                    <a:pt x="124" y="47"/>
                  </a:cubicBezTo>
                  <a:cubicBezTo>
                    <a:pt x="81" y="47"/>
                    <a:pt x="45" y="81"/>
                    <a:pt x="45" y="122"/>
                  </a:cubicBezTo>
                  <a:cubicBezTo>
                    <a:pt x="45" y="167"/>
                    <a:pt x="45" y="167"/>
                    <a:pt x="45" y="167"/>
                  </a:cubicBezTo>
                  <a:cubicBezTo>
                    <a:pt x="0" y="167"/>
                    <a:pt x="0" y="167"/>
                    <a:pt x="0" y="167"/>
                  </a:cubicBezTo>
                  <a:cubicBezTo>
                    <a:pt x="0" y="122"/>
                    <a:pt x="0" y="122"/>
                    <a:pt x="0" y="122"/>
                  </a:cubicBezTo>
                  <a:cubicBezTo>
                    <a:pt x="0" y="55"/>
                    <a:pt x="55" y="0"/>
                    <a:pt x="124" y="0"/>
                  </a:cubicBezTo>
                  <a:cubicBezTo>
                    <a:pt x="192" y="0"/>
                    <a:pt x="247" y="55"/>
                    <a:pt x="247" y="122"/>
                  </a:cubicBezTo>
                  <a:cubicBezTo>
                    <a:pt x="247" y="167"/>
                    <a:pt x="247" y="167"/>
                    <a:pt x="247" y="167"/>
                  </a:cubicBezTo>
                  <a:lnTo>
                    <a:pt x="202" y="167"/>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29" name="Freeform 137"/>
            <p:cNvSpPr>
              <a:spLocks/>
            </p:cNvSpPr>
            <p:nvPr/>
          </p:nvSpPr>
          <p:spPr bwMode="auto">
            <a:xfrm>
              <a:off x="-1227138" y="1443038"/>
              <a:ext cx="288925" cy="474663"/>
            </a:xfrm>
            <a:custGeom>
              <a:avLst/>
              <a:gdLst>
                <a:gd name="T0" fmla="*/ 56 w 77"/>
                <a:gd name="T1" fmla="*/ 71 h 127"/>
                <a:gd name="T2" fmla="*/ 56 w 77"/>
                <a:gd name="T3" fmla="*/ 127 h 127"/>
                <a:gd name="T4" fmla="*/ 21 w 77"/>
                <a:gd name="T5" fmla="*/ 127 h 127"/>
                <a:gd name="T6" fmla="*/ 21 w 77"/>
                <a:gd name="T7" fmla="*/ 71 h 127"/>
                <a:gd name="T8" fmla="*/ 0 w 77"/>
                <a:gd name="T9" fmla="*/ 38 h 127"/>
                <a:gd name="T10" fmla="*/ 39 w 77"/>
                <a:gd name="T11" fmla="*/ 0 h 127"/>
                <a:gd name="T12" fmla="*/ 77 w 77"/>
                <a:gd name="T13" fmla="*/ 38 h 127"/>
                <a:gd name="T14" fmla="*/ 56 w 77"/>
                <a:gd name="T15" fmla="*/ 71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27">
                  <a:moveTo>
                    <a:pt x="56" y="71"/>
                  </a:moveTo>
                  <a:cubicBezTo>
                    <a:pt x="56" y="127"/>
                    <a:pt x="56" y="127"/>
                    <a:pt x="56" y="127"/>
                  </a:cubicBezTo>
                  <a:cubicBezTo>
                    <a:pt x="21" y="127"/>
                    <a:pt x="21" y="127"/>
                    <a:pt x="21" y="127"/>
                  </a:cubicBezTo>
                  <a:cubicBezTo>
                    <a:pt x="21" y="71"/>
                    <a:pt x="21" y="71"/>
                    <a:pt x="21" y="71"/>
                  </a:cubicBezTo>
                  <a:cubicBezTo>
                    <a:pt x="9" y="65"/>
                    <a:pt x="0" y="53"/>
                    <a:pt x="0" y="38"/>
                  </a:cubicBezTo>
                  <a:cubicBezTo>
                    <a:pt x="0" y="17"/>
                    <a:pt x="17" y="0"/>
                    <a:pt x="39" y="0"/>
                  </a:cubicBezTo>
                  <a:cubicBezTo>
                    <a:pt x="60" y="0"/>
                    <a:pt x="77" y="17"/>
                    <a:pt x="77" y="38"/>
                  </a:cubicBezTo>
                  <a:cubicBezTo>
                    <a:pt x="77" y="53"/>
                    <a:pt x="68" y="65"/>
                    <a:pt x="56" y="71"/>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60" name="Group 48259"/>
          <p:cNvGrpSpPr/>
          <p:nvPr/>
        </p:nvGrpSpPr>
        <p:grpSpPr>
          <a:xfrm>
            <a:off x="4972288" y="2511943"/>
            <a:ext cx="303285" cy="409388"/>
            <a:chOff x="-1738313" y="504825"/>
            <a:chExt cx="1570038" cy="2119312"/>
          </a:xfrm>
        </p:grpSpPr>
        <p:sp>
          <p:nvSpPr>
            <p:cNvPr id="1133" name="Freeform 142"/>
            <p:cNvSpPr>
              <a:spLocks/>
            </p:cNvSpPr>
            <p:nvPr/>
          </p:nvSpPr>
          <p:spPr bwMode="auto">
            <a:xfrm>
              <a:off x="-1738313" y="504825"/>
              <a:ext cx="1570037" cy="2119312"/>
            </a:xfrm>
            <a:custGeom>
              <a:avLst/>
              <a:gdLst>
                <a:gd name="T0" fmla="*/ 836 w 989"/>
                <a:gd name="T1" fmla="*/ 1335 h 1335"/>
                <a:gd name="T2" fmla="*/ 0 w 989"/>
                <a:gd name="T3" fmla="*/ 1335 h 1335"/>
                <a:gd name="T4" fmla="*/ 0 w 989"/>
                <a:gd name="T5" fmla="*/ 0 h 1335"/>
                <a:gd name="T6" fmla="*/ 989 w 989"/>
                <a:gd name="T7" fmla="*/ 0 h 1335"/>
                <a:gd name="T8" fmla="*/ 989 w 989"/>
                <a:gd name="T9" fmla="*/ 1179 h 1335"/>
              </a:gdLst>
              <a:ahLst/>
              <a:cxnLst>
                <a:cxn ang="0">
                  <a:pos x="T0" y="T1"/>
                </a:cxn>
                <a:cxn ang="0">
                  <a:pos x="T2" y="T3"/>
                </a:cxn>
                <a:cxn ang="0">
                  <a:pos x="T4" y="T5"/>
                </a:cxn>
                <a:cxn ang="0">
                  <a:pos x="T6" y="T7"/>
                </a:cxn>
                <a:cxn ang="0">
                  <a:pos x="T8" y="T9"/>
                </a:cxn>
              </a:cxnLst>
              <a:rect l="0" t="0" r="r" b="b"/>
              <a:pathLst>
                <a:path w="989" h="1335">
                  <a:moveTo>
                    <a:pt x="836" y="1335"/>
                  </a:moveTo>
                  <a:lnTo>
                    <a:pt x="0" y="1335"/>
                  </a:lnTo>
                  <a:lnTo>
                    <a:pt x="0" y="0"/>
                  </a:lnTo>
                  <a:lnTo>
                    <a:pt x="989" y="0"/>
                  </a:lnTo>
                  <a:lnTo>
                    <a:pt x="989" y="1179"/>
                  </a:lnTo>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5" name="Freeform 143"/>
            <p:cNvSpPr>
              <a:spLocks/>
            </p:cNvSpPr>
            <p:nvPr/>
          </p:nvSpPr>
          <p:spPr bwMode="auto">
            <a:xfrm>
              <a:off x="-339725" y="2451100"/>
              <a:ext cx="171450" cy="172800"/>
            </a:xfrm>
            <a:custGeom>
              <a:avLst/>
              <a:gdLst>
                <a:gd name="T0" fmla="*/ 127 w 127"/>
                <a:gd name="T1" fmla="*/ 128 h 128"/>
                <a:gd name="T2" fmla="*/ 0 w 127"/>
                <a:gd name="T3" fmla="*/ 128 h 128"/>
                <a:gd name="T4" fmla="*/ 37 w 127"/>
                <a:gd name="T5" fmla="*/ 90 h 128"/>
                <a:gd name="T6" fmla="*/ 89 w 127"/>
                <a:gd name="T7" fmla="*/ 90 h 128"/>
                <a:gd name="T8" fmla="*/ 89 w 127"/>
                <a:gd name="T9" fmla="*/ 38 h 128"/>
                <a:gd name="T10" fmla="*/ 127 w 127"/>
                <a:gd name="T11" fmla="*/ 0 h 128"/>
                <a:gd name="T12" fmla="*/ 127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127" y="128"/>
                  </a:moveTo>
                  <a:lnTo>
                    <a:pt x="0" y="128"/>
                  </a:lnTo>
                  <a:lnTo>
                    <a:pt x="37" y="90"/>
                  </a:lnTo>
                  <a:lnTo>
                    <a:pt x="89" y="90"/>
                  </a:lnTo>
                  <a:lnTo>
                    <a:pt x="89" y="38"/>
                  </a:lnTo>
                  <a:lnTo>
                    <a:pt x="127" y="0"/>
                  </a:lnTo>
                  <a:lnTo>
                    <a:pt x="127" y="128"/>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7" name="Freeform 144"/>
            <p:cNvSpPr>
              <a:spLocks noEditPoints="1"/>
            </p:cNvSpPr>
            <p:nvPr/>
          </p:nvSpPr>
          <p:spPr bwMode="auto">
            <a:xfrm>
              <a:off x="-419099" y="2368550"/>
              <a:ext cx="250824" cy="255076"/>
            </a:xfrm>
            <a:custGeom>
              <a:avLst/>
              <a:gdLst>
                <a:gd name="T0" fmla="*/ 5 w 177"/>
                <a:gd name="T1" fmla="*/ 180 h 180"/>
                <a:gd name="T2" fmla="*/ 0 w 177"/>
                <a:gd name="T3" fmla="*/ 161 h 180"/>
                <a:gd name="T4" fmla="*/ 0 w 177"/>
                <a:gd name="T5" fmla="*/ 9 h 180"/>
                <a:gd name="T6" fmla="*/ 9 w 177"/>
                <a:gd name="T7" fmla="*/ 0 h 180"/>
                <a:gd name="T8" fmla="*/ 158 w 177"/>
                <a:gd name="T9" fmla="*/ 0 h 180"/>
                <a:gd name="T10" fmla="*/ 177 w 177"/>
                <a:gd name="T11" fmla="*/ 5 h 180"/>
                <a:gd name="T12" fmla="*/ 5 w 177"/>
                <a:gd name="T13" fmla="*/ 180 h 180"/>
                <a:gd name="T14" fmla="*/ 16 w 177"/>
                <a:gd name="T15" fmla="*/ 19 h 180"/>
                <a:gd name="T16" fmla="*/ 16 w 177"/>
                <a:gd name="T17" fmla="*/ 139 h 180"/>
                <a:gd name="T18" fmla="*/ 137 w 177"/>
                <a:gd name="T19" fmla="*/ 19 h 180"/>
                <a:gd name="T20" fmla="*/ 16 w 177"/>
                <a:gd name="T21"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 h="180">
                  <a:moveTo>
                    <a:pt x="5" y="180"/>
                  </a:moveTo>
                  <a:lnTo>
                    <a:pt x="0" y="161"/>
                  </a:lnTo>
                  <a:lnTo>
                    <a:pt x="0" y="9"/>
                  </a:lnTo>
                  <a:lnTo>
                    <a:pt x="9" y="0"/>
                  </a:lnTo>
                  <a:lnTo>
                    <a:pt x="158" y="0"/>
                  </a:lnTo>
                  <a:lnTo>
                    <a:pt x="177" y="5"/>
                  </a:lnTo>
                  <a:lnTo>
                    <a:pt x="5" y="180"/>
                  </a:lnTo>
                  <a:close/>
                  <a:moveTo>
                    <a:pt x="16" y="19"/>
                  </a:moveTo>
                  <a:lnTo>
                    <a:pt x="16" y="139"/>
                  </a:lnTo>
                  <a:lnTo>
                    <a:pt x="137" y="19"/>
                  </a:lnTo>
                  <a:lnTo>
                    <a:pt x="16" y="19"/>
                  </a:lnTo>
                  <a:close/>
                </a:path>
              </a:pathLst>
            </a:custGeom>
            <a:solidFill>
              <a:schemeClr val="accent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39" name="Line 145"/>
            <p:cNvSpPr>
              <a:spLocks noChangeShapeType="1"/>
            </p:cNvSpPr>
            <p:nvPr/>
          </p:nvSpPr>
          <p:spPr bwMode="auto">
            <a:xfrm>
              <a:off x="-1517650" y="827088"/>
              <a:ext cx="106521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1" name="Line 146"/>
            <p:cNvSpPr>
              <a:spLocks noChangeShapeType="1"/>
            </p:cNvSpPr>
            <p:nvPr/>
          </p:nvSpPr>
          <p:spPr bwMode="auto">
            <a:xfrm>
              <a:off x="-1517650" y="981075"/>
              <a:ext cx="114776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3" name="Line 147"/>
            <p:cNvSpPr>
              <a:spLocks noChangeShapeType="1"/>
            </p:cNvSpPr>
            <p:nvPr/>
          </p:nvSpPr>
          <p:spPr bwMode="auto">
            <a:xfrm>
              <a:off x="-1517650" y="1130300"/>
              <a:ext cx="106521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5" name="Line 148"/>
            <p:cNvSpPr>
              <a:spLocks noChangeShapeType="1"/>
            </p:cNvSpPr>
            <p:nvPr/>
          </p:nvSpPr>
          <p:spPr bwMode="auto">
            <a:xfrm>
              <a:off x="-1517650" y="1281113"/>
              <a:ext cx="114776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8" name="Line 149"/>
            <p:cNvSpPr>
              <a:spLocks noChangeShapeType="1"/>
            </p:cNvSpPr>
            <p:nvPr/>
          </p:nvSpPr>
          <p:spPr bwMode="auto">
            <a:xfrm>
              <a:off x="-1517650" y="1435100"/>
              <a:ext cx="106521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9" name="Line 150"/>
            <p:cNvSpPr>
              <a:spLocks noChangeShapeType="1"/>
            </p:cNvSpPr>
            <p:nvPr/>
          </p:nvSpPr>
          <p:spPr bwMode="auto">
            <a:xfrm>
              <a:off x="-1517650" y="1584325"/>
              <a:ext cx="114776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0" name="Line 151"/>
            <p:cNvSpPr>
              <a:spLocks noChangeShapeType="1"/>
            </p:cNvSpPr>
            <p:nvPr/>
          </p:nvSpPr>
          <p:spPr bwMode="auto">
            <a:xfrm>
              <a:off x="-1517650" y="1735138"/>
              <a:ext cx="106521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6" name="Line 152"/>
            <p:cNvSpPr>
              <a:spLocks noChangeShapeType="1"/>
            </p:cNvSpPr>
            <p:nvPr/>
          </p:nvSpPr>
          <p:spPr bwMode="auto">
            <a:xfrm>
              <a:off x="-1517650" y="1889125"/>
              <a:ext cx="114776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7" name="Line 153"/>
            <p:cNvSpPr>
              <a:spLocks noChangeShapeType="1"/>
            </p:cNvSpPr>
            <p:nvPr/>
          </p:nvSpPr>
          <p:spPr bwMode="auto">
            <a:xfrm>
              <a:off x="-1517650" y="2038350"/>
              <a:ext cx="106521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58" name="Line 154"/>
            <p:cNvSpPr>
              <a:spLocks noChangeShapeType="1"/>
            </p:cNvSpPr>
            <p:nvPr/>
          </p:nvSpPr>
          <p:spPr bwMode="auto">
            <a:xfrm>
              <a:off x="-1517650" y="2192338"/>
              <a:ext cx="1147762" cy="0"/>
            </a:xfrm>
            <a:prstGeom prst="line">
              <a:avLst/>
            </a:prstGeom>
            <a:noFill/>
            <a:ln w="6350" cap="flat">
              <a:solidFill>
                <a:schemeClr val="accent2"/>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69" name="Group 48268"/>
          <p:cNvGrpSpPr/>
          <p:nvPr/>
        </p:nvGrpSpPr>
        <p:grpSpPr>
          <a:xfrm>
            <a:off x="5956450" y="2529491"/>
            <a:ext cx="411394" cy="373555"/>
            <a:chOff x="-2259012" y="354013"/>
            <a:chExt cx="2295525" cy="2084388"/>
          </a:xfrm>
        </p:grpSpPr>
        <p:sp>
          <p:nvSpPr>
            <p:cNvPr id="48263" name="Rectangle 159"/>
            <p:cNvSpPr>
              <a:spLocks noChangeArrowheads="1"/>
            </p:cNvSpPr>
            <p:nvPr/>
          </p:nvSpPr>
          <p:spPr bwMode="auto">
            <a:xfrm>
              <a:off x="-2259012" y="354013"/>
              <a:ext cx="2295525" cy="2084388"/>
            </a:xfrm>
            <a:prstGeom prst="rect">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4" name="Oval 160"/>
            <p:cNvSpPr>
              <a:spLocks noChangeArrowheads="1"/>
            </p:cNvSpPr>
            <p:nvPr/>
          </p:nvSpPr>
          <p:spPr bwMode="auto">
            <a:xfrm>
              <a:off x="-1876425" y="527050"/>
              <a:ext cx="1739900" cy="1739900"/>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65" name="Oval 161"/>
            <p:cNvSpPr>
              <a:spLocks noChangeArrowheads="1"/>
            </p:cNvSpPr>
            <p:nvPr/>
          </p:nvSpPr>
          <p:spPr bwMode="auto">
            <a:xfrm>
              <a:off x="-1746250" y="657225"/>
              <a:ext cx="1477963" cy="1477963"/>
            </a:xfrm>
            <a:prstGeom prst="ellipse">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7" name="Line 162"/>
            <p:cNvSpPr>
              <a:spLocks noChangeShapeType="1"/>
            </p:cNvSpPr>
            <p:nvPr/>
          </p:nvSpPr>
          <p:spPr bwMode="auto">
            <a:xfrm>
              <a:off x="-2087562" y="354013"/>
              <a:ext cx="0" cy="2084388"/>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268" name="Oval 163"/>
            <p:cNvSpPr>
              <a:spLocks noChangeArrowheads="1"/>
            </p:cNvSpPr>
            <p:nvPr/>
          </p:nvSpPr>
          <p:spPr bwMode="auto">
            <a:xfrm>
              <a:off x="-1182687" y="1223963"/>
              <a:ext cx="349250" cy="344488"/>
            </a:xfrm>
            <a:prstGeom prst="ellipse">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272" name="Freeform 168"/>
          <p:cNvSpPr>
            <a:spLocks/>
          </p:cNvSpPr>
          <p:nvPr/>
        </p:nvSpPr>
        <p:spPr bwMode="auto">
          <a:xfrm>
            <a:off x="1631659" y="3259344"/>
            <a:ext cx="412188" cy="341121"/>
          </a:xfrm>
          <a:custGeom>
            <a:avLst/>
            <a:gdLst>
              <a:gd name="T0" fmla="*/ 0 w 1276"/>
              <a:gd name="T1" fmla="*/ 628 h 1056"/>
              <a:gd name="T2" fmla="*/ 218 w 1276"/>
              <a:gd name="T3" fmla="*/ 413 h 1056"/>
              <a:gd name="T4" fmla="*/ 423 w 1276"/>
              <a:gd name="T5" fmla="*/ 626 h 1056"/>
              <a:gd name="T6" fmla="*/ 1066 w 1276"/>
              <a:gd name="T7" fmla="*/ 0 h 1056"/>
              <a:gd name="T8" fmla="*/ 1276 w 1276"/>
              <a:gd name="T9" fmla="*/ 217 h 1056"/>
              <a:gd name="T10" fmla="*/ 416 w 1276"/>
              <a:gd name="T11" fmla="*/ 1056 h 1056"/>
              <a:gd name="T12" fmla="*/ 0 w 1276"/>
              <a:gd name="T13" fmla="*/ 628 h 1056"/>
            </a:gdLst>
            <a:ahLst/>
            <a:cxnLst>
              <a:cxn ang="0">
                <a:pos x="T0" y="T1"/>
              </a:cxn>
              <a:cxn ang="0">
                <a:pos x="T2" y="T3"/>
              </a:cxn>
              <a:cxn ang="0">
                <a:pos x="T4" y="T5"/>
              </a:cxn>
              <a:cxn ang="0">
                <a:pos x="T6" y="T7"/>
              </a:cxn>
              <a:cxn ang="0">
                <a:pos x="T8" y="T9"/>
              </a:cxn>
              <a:cxn ang="0">
                <a:pos x="T10" y="T11"/>
              </a:cxn>
              <a:cxn ang="0">
                <a:pos x="T12" y="T13"/>
              </a:cxn>
            </a:cxnLst>
            <a:rect l="0" t="0" r="r" b="b"/>
            <a:pathLst>
              <a:path w="1276" h="1056">
                <a:moveTo>
                  <a:pt x="0" y="628"/>
                </a:moveTo>
                <a:lnTo>
                  <a:pt x="218" y="413"/>
                </a:lnTo>
                <a:lnTo>
                  <a:pt x="423" y="626"/>
                </a:lnTo>
                <a:lnTo>
                  <a:pt x="1066" y="0"/>
                </a:lnTo>
                <a:lnTo>
                  <a:pt x="1276" y="217"/>
                </a:lnTo>
                <a:lnTo>
                  <a:pt x="416" y="1056"/>
                </a:lnTo>
                <a:lnTo>
                  <a:pt x="0" y="62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5" name="Freeform 173"/>
          <p:cNvSpPr>
            <a:spLocks/>
          </p:cNvSpPr>
          <p:nvPr/>
        </p:nvSpPr>
        <p:spPr bwMode="auto">
          <a:xfrm>
            <a:off x="2280745" y="3249250"/>
            <a:ext cx="253612" cy="350181"/>
          </a:xfrm>
          <a:custGeom>
            <a:avLst/>
            <a:gdLst>
              <a:gd name="T0" fmla="*/ 0 w 1082"/>
              <a:gd name="T1" fmla="*/ 0 h 1494"/>
              <a:gd name="T2" fmla="*/ 541 w 1082"/>
              <a:gd name="T3" fmla="*/ 0 h 1494"/>
              <a:gd name="T4" fmla="*/ 1082 w 1082"/>
              <a:gd name="T5" fmla="*/ 747 h 1494"/>
              <a:gd name="T6" fmla="*/ 541 w 1082"/>
              <a:gd name="T7" fmla="*/ 1494 h 1494"/>
              <a:gd name="T8" fmla="*/ 0 w 1082"/>
              <a:gd name="T9" fmla="*/ 1494 h 1494"/>
              <a:gd name="T10" fmla="*/ 541 w 1082"/>
              <a:gd name="T11" fmla="*/ 747 h 1494"/>
              <a:gd name="T12" fmla="*/ 0 w 1082"/>
              <a:gd name="T13" fmla="*/ 0 h 1494"/>
            </a:gdLst>
            <a:ahLst/>
            <a:cxnLst>
              <a:cxn ang="0">
                <a:pos x="T0" y="T1"/>
              </a:cxn>
              <a:cxn ang="0">
                <a:pos x="T2" y="T3"/>
              </a:cxn>
              <a:cxn ang="0">
                <a:pos x="T4" y="T5"/>
              </a:cxn>
              <a:cxn ang="0">
                <a:pos x="T6" y="T7"/>
              </a:cxn>
              <a:cxn ang="0">
                <a:pos x="T8" y="T9"/>
              </a:cxn>
              <a:cxn ang="0">
                <a:pos x="T10" y="T11"/>
              </a:cxn>
              <a:cxn ang="0">
                <a:pos x="T12" y="T13"/>
              </a:cxn>
            </a:cxnLst>
            <a:rect l="0" t="0" r="r" b="b"/>
            <a:pathLst>
              <a:path w="1082" h="1494">
                <a:moveTo>
                  <a:pt x="0" y="0"/>
                </a:moveTo>
                <a:lnTo>
                  <a:pt x="541" y="0"/>
                </a:lnTo>
                <a:lnTo>
                  <a:pt x="1082" y="747"/>
                </a:lnTo>
                <a:lnTo>
                  <a:pt x="541" y="1494"/>
                </a:lnTo>
                <a:lnTo>
                  <a:pt x="0" y="1494"/>
                </a:lnTo>
                <a:lnTo>
                  <a:pt x="541" y="747"/>
                </a:lnTo>
                <a:lnTo>
                  <a:pt x="0" y="0"/>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78" name="Freeform 178"/>
          <p:cNvSpPr>
            <a:spLocks/>
          </p:cNvSpPr>
          <p:nvPr/>
        </p:nvSpPr>
        <p:spPr bwMode="auto">
          <a:xfrm>
            <a:off x="2795597" y="3260908"/>
            <a:ext cx="320804" cy="320802"/>
          </a:xfrm>
          <a:custGeom>
            <a:avLst/>
            <a:gdLst>
              <a:gd name="T0" fmla="*/ 12 w 1243"/>
              <a:gd name="T1" fmla="*/ 936 h 1243"/>
              <a:gd name="T2" fmla="*/ 326 w 1243"/>
              <a:gd name="T3" fmla="*/ 621 h 1243"/>
              <a:gd name="T4" fmla="*/ 0 w 1243"/>
              <a:gd name="T5" fmla="*/ 296 h 1243"/>
              <a:gd name="T6" fmla="*/ 296 w 1243"/>
              <a:gd name="T7" fmla="*/ 0 h 1243"/>
              <a:gd name="T8" fmla="*/ 622 w 1243"/>
              <a:gd name="T9" fmla="*/ 326 h 1243"/>
              <a:gd name="T10" fmla="*/ 936 w 1243"/>
              <a:gd name="T11" fmla="*/ 12 h 1243"/>
              <a:gd name="T12" fmla="*/ 1232 w 1243"/>
              <a:gd name="T13" fmla="*/ 307 h 1243"/>
              <a:gd name="T14" fmla="*/ 918 w 1243"/>
              <a:gd name="T15" fmla="*/ 621 h 1243"/>
              <a:gd name="T16" fmla="*/ 1243 w 1243"/>
              <a:gd name="T17" fmla="*/ 947 h 1243"/>
              <a:gd name="T18" fmla="*/ 947 w 1243"/>
              <a:gd name="T19" fmla="*/ 1243 h 1243"/>
              <a:gd name="T20" fmla="*/ 622 w 1243"/>
              <a:gd name="T21" fmla="*/ 917 h 1243"/>
              <a:gd name="T22" fmla="*/ 308 w 1243"/>
              <a:gd name="T23" fmla="*/ 1231 h 1243"/>
              <a:gd name="T24" fmla="*/ 12 w 1243"/>
              <a:gd name="T25" fmla="*/ 936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3" h="1243">
                <a:moveTo>
                  <a:pt x="12" y="936"/>
                </a:moveTo>
                <a:lnTo>
                  <a:pt x="326" y="621"/>
                </a:lnTo>
                <a:lnTo>
                  <a:pt x="0" y="296"/>
                </a:lnTo>
                <a:lnTo>
                  <a:pt x="296" y="0"/>
                </a:lnTo>
                <a:lnTo>
                  <a:pt x="622" y="326"/>
                </a:lnTo>
                <a:lnTo>
                  <a:pt x="936" y="12"/>
                </a:lnTo>
                <a:lnTo>
                  <a:pt x="1232" y="307"/>
                </a:lnTo>
                <a:lnTo>
                  <a:pt x="918" y="621"/>
                </a:lnTo>
                <a:lnTo>
                  <a:pt x="1243" y="947"/>
                </a:lnTo>
                <a:lnTo>
                  <a:pt x="947" y="1243"/>
                </a:lnTo>
                <a:lnTo>
                  <a:pt x="622" y="917"/>
                </a:lnTo>
                <a:lnTo>
                  <a:pt x="308" y="1231"/>
                </a:lnTo>
                <a:lnTo>
                  <a:pt x="12" y="9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1" name="Freeform 183"/>
          <p:cNvSpPr>
            <a:spLocks/>
          </p:cNvSpPr>
          <p:nvPr/>
        </p:nvSpPr>
        <p:spPr bwMode="auto">
          <a:xfrm>
            <a:off x="3315758" y="3245630"/>
            <a:ext cx="338210" cy="346324"/>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287" name="Group 48286"/>
          <p:cNvGrpSpPr/>
          <p:nvPr/>
        </p:nvGrpSpPr>
        <p:grpSpPr>
          <a:xfrm>
            <a:off x="3829674" y="3249250"/>
            <a:ext cx="379044" cy="324996"/>
            <a:chOff x="-4213493" y="4553896"/>
            <a:chExt cx="955575" cy="819320"/>
          </a:xfrm>
        </p:grpSpPr>
        <p:sp>
          <p:nvSpPr>
            <p:cNvPr id="48282" name="Right Arrow 48281"/>
            <p:cNvSpPr/>
            <p:nvPr/>
          </p:nvSpPr>
          <p:spPr bwMode="gray">
            <a:xfrm rot="18900000">
              <a:off x="-4213493" y="4553896"/>
              <a:ext cx="955575" cy="523429"/>
            </a:xfrm>
            <a:custGeom>
              <a:avLst/>
              <a:gdLst>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 name="connsiteX18" fmla="*/ 558912 w 955575"/>
                <a:gd name="connsiteY18" fmla="*/ 0 h 523429"/>
                <a:gd name="connsiteX19" fmla="*/ 558912 w 955575"/>
                <a:gd name="connsiteY19" fmla="*/ 0 h 523429"/>
                <a:gd name="connsiteX20" fmla="*/ 558912 w 955575"/>
                <a:gd name="connsiteY20" fmla="*/ 0 h 523429"/>
                <a:gd name="connsiteX0" fmla="*/ 792708 w 955575"/>
                <a:gd name="connsiteY0" fmla="*/ 197695 h 523429"/>
                <a:gd name="connsiteX1" fmla="*/ 955575 w 955575"/>
                <a:gd name="connsiteY1" fmla="*/ 360562 h 523429"/>
                <a:gd name="connsiteX2" fmla="*/ 792708 w 955575"/>
                <a:gd name="connsiteY2" fmla="*/ 523429 h 523429"/>
                <a:gd name="connsiteX3" fmla="*/ 792708 w 955575"/>
                <a:gd name="connsiteY3" fmla="*/ 441996 h 523429"/>
                <a:gd name="connsiteX4" fmla="*/ 396663 w 955575"/>
                <a:gd name="connsiteY4" fmla="*/ 441996 h 523429"/>
                <a:gd name="connsiteX5" fmla="*/ 396663 w 955575"/>
                <a:gd name="connsiteY5" fmla="*/ 439567 h 523429"/>
                <a:gd name="connsiteX6" fmla="*/ 396663 w 955575"/>
                <a:gd name="connsiteY6" fmla="*/ 279129 h 523429"/>
                <a:gd name="connsiteX7" fmla="*/ 396998 w 955575"/>
                <a:gd name="connsiteY7" fmla="*/ 279129 h 523429"/>
                <a:gd name="connsiteX8" fmla="*/ 396997 w 955575"/>
                <a:gd name="connsiteY8" fmla="*/ 162867 h 523429"/>
                <a:gd name="connsiteX9" fmla="*/ 0 w 955575"/>
                <a:gd name="connsiteY9" fmla="*/ 162867 h 523429"/>
                <a:gd name="connsiteX10" fmla="*/ 0 w 955575"/>
                <a:gd name="connsiteY10" fmla="*/ 0 h 523429"/>
                <a:gd name="connsiteX11" fmla="*/ 558912 w 955575"/>
                <a:gd name="connsiteY11" fmla="*/ 0 h 523429"/>
                <a:gd name="connsiteX12" fmla="*/ 558912 w 955575"/>
                <a:gd name="connsiteY12" fmla="*/ 81433 h 523429"/>
                <a:gd name="connsiteX13" fmla="*/ 558912 w 955575"/>
                <a:gd name="connsiteY13" fmla="*/ 160110 h 523429"/>
                <a:gd name="connsiteX14" fmla="*/ 559865 w 955575"/>
                <a:gd name="connsiteY14" fmla="*/ 160110 h 523429"/>
                <a:gd name="connsiteX15" fmla="*/ 559865 w 955575"/>
                <a:gd name="connsiteY15" fmla="*/ 279129 h 523429"/>
                <a:gd name="connsiteX16" fmla="*/ 792708 w 955575"/>
                <a:gd name="connsiteY16" fmla="*/ 279129 h 523429"/>
                <a:gd name="connsiteX17" fmla="*/ 792708 w 955575"/>
                <a:gd name="connsiteY17" fmla="*/ 197695 h 52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5575" h="523429">
                  <a:moveTo>
                    <a:pt x="792708" y="197695"/>
                  </a:moveTo>
                  <a:lnTo>
                    <a:pt x="955575" y="360562"/>
                  </a:lnTo>
                  <a:lnTo>
                    <a:pt x="792708" y="523429"/>
                  </a:lnTo>
                  <a:lnTo>
                    <a:pt x="792708" y="441996"/>
                  </a:lnTo>
                  <a:lnTo>
                    <a:pt x="396663" y="441996"/>
                  </a:lnTo>
                  <a:lnTo>
                    <a:pt x="396663" y="439567"/>
                  </a:lnTo>
                  <a:lnTo>
                    <a:pt x="396663" y="279129"/>
                  </a:lnTo>
                  <a:lnTo>
                    <a:pt x="396998" y="279129"/>
                  </a:lnTo>
                  <a:cubicBezTo>
                    <a:pt x="396998" y="240375"/>
                    <a:pt x="396997" y="201621"/>
                    <a:pt x="396997" y="162867"/>
                  </a:cubicBezTo>
                  <a:lnTo>
                    <a:pt x="0" y="162867"/>
                  </a:lnTo>
                  <a:lnTo>
                    <a:pt x="0" y="0"/>
                  </a:lnTo>
                  <a:lnTo>
                    <a:pt x="558912" y="0"/>
                  </a:lnTo>
                  <a:lnTo>
                    <a:pt x="558912" y="81433"/>
                  </a:lnTo>
                  <a:lnTo>
                    <a:pt x="558912" y="160110"/>
                  </a:lnTo>
                  <a:lnTo>
                    <a:pt x="559865" y="160110"/>
                  </a:lnTo>
                  <a:lnTo>
                    <a:pt x="559865" y="279129"/>
                  </a:lnTo>
                  <a:lnTo>
                    <a:pt x="792708" y="279129"/>
                  </a:lnTo>
                  <a:lnTo>
                    <a:pt x="792708" y="197695"/>
                  </a:lnTo>
                  <a:close/>
                </a:path>
              </a:pathLst>
            </a:custGeom>
            <a:solidFill>
              <a:schemeClr val="bg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684" name="Rectangle 683"/>
            <p:cNvSpPr/>
            <p:nvPr/>
          </p:nvSpPr>
          <p:spPr bwMode="gray">
            <a:xfrm>
              <a:off x="-4212976" y="4786820"/>
              <a:ext cx="820786" cy="586396"/>
            </a:xfrm>
            <a:custGeom>
              <a:avLst/>
              <a:gdLst/>
              <a:ahLst/>
              <a:cxnLst/>
              <a:rect l="l" t="t" r="r" b="b"/>
              <a:pathLst>
                <a:path w="820786" h="586396">
                  <a:moveTo>
                    <a:pt x="0" y="286984"/>
                  </a:moveTo>
                  <a:lnTo>
                    <a:pt x="69528" y="356511"/>
                  </a:lnTo>
                  <a:lnTo>
                    <a:pt x="108012" y="318027"/>
                  </a:lnTo>
                  <a:lnTo>
                    <a:pt x="108012" y="586396"/>
                  </a:lnTo>
                  <a:lnTo>
                    <a:pt x="0" y="586396"/>
                  </a:lnTo>
                  <a:close/>
                  <a:moveTo>
                    <a:pt x="250567" y="175472"/>
                  </a:moveTo>
                  <a:lnTo>
                    <a:pt x="250567" y="586396"/>
                  </a:lnTo>
                  <a:lnTo>
                    <a:pt x="142555" y="586396"/>
                  </a:lnTo>
                  <a:lnTo>
                    <a:pt x="142555" y="283484"/>
                  </a:lnTo>
                  <a:close/>
                  <a:moveTo>
                    <a:pt x="427665" y="153209"/>
                  </a:moveTo>
                  <a:lnTo>
                    <a:pt x="432457" y="158001"/>
                  </a:lnTo>
                  <a:lnTo>
                    <a:pt x="432220" y="158238"/>
                  </a:lnTo>
                  <a:lnTo>
                    <a:pt x="535677" y="261694"/>
                  </a:lnTo>
                  <a:lnTo>
                    <a:pt x="535677" y="586396"/>
                  </a:lnTo>
                  <a:lnTo>
                    <a:pt x="427665" y="586396"/>
                  </a:lnTo>
                  <a:close/>
                  <a:moveTo>
                    <a:pt x="678232" y="142555"/>
                  </a:moveTo>
                  <a:lnTo>
                    <a:pt x="678232" y="586396"/>
                  </a:lnTo>
                  <a:lnTo>
                    <a:pt x="570220" y="586396"/>
                  </a:lnTo>
                  <a:lnTo>
                    <a:pt x="570220" y="250567"/>
                  </a:lnTo>
                  <a:close/>
                  <a:moveTo>
                    <a:pt x="350247" y="75792"/>
                  </a:moveTo>
                  <a:lnTo>
                    <a:pt x="393122" y="118666"/>
                  </a:lnTo>
                  <a:lnTo>
                    <a:pt x="393122" y="586396"/>
                  </a:lnTo>
                  <a:lnTo>
                    <a:pt x="285110" y="586396"/>
                  </a:lnTo>
                  <a:lnTo>
                    <a:pt x="285110" y="140929"/>
                  </a:lnTo>
                  <a:close/>
                  <a:moveTo>
                    <a:pt x="820786" y="0"/>
                  </a:moveTo>
                  <a:lnTo>
                    <a:pt x="820786" y="586396"/>
                  </a:lnTo>
                  <a:lnTo>
                    <a:pt x="712774" y="586396"/>
                  </a:lnTo>
                  <a:lnTo>
                    <a:pt x="712774" y="108012"/>
                  </a:lnTo>
                  <a:close/>
                </a:path>
              </a:pathLst>
            </a:cu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48288" name="Group 48287"/>
          <p:cNvGrpSpPr/>
          <p:nvPr/>
        </p:nvGrpSpPr>
        <p:grpSpPr>
          <a:xfrm>
            <a:off x="3851921" y="2639184"/>
            <a:ext cx="376374" cy="294194"/>
            <a:chOff x="3793391" y="2593435"/>
            <a:chExt cx="493433" cy="385691"/>
          </a:xfrm>
        </p:grpSpPr>
        <p:sp>
          <p:nvSpPr>
            <p:cNvPr id="690" name="Freeform 130"/>
            <p:cNvSpPr>
              <a:spLocks/>
            </p:cNvSpPr>
            <p:nvPr/>
          </p:nvSpPr>
          <p:spPr bwMode="auto">
            <a:xfrm>
              <a:off x="3793391" y="2593435"/>
              <a:ext cx="426612" cy="308627"/>
            </a:xfrm>
            <a:custGeom>
              <a:avLst/>
              <a:gdLst>
                <a:gd name="T0" fmla="*/ 357 w 640"/>
                <a:gd name="T1" fmla="*/ 35 h 463"/>
                <a:gd name="T2" fmla="*/ 319 w 640"/>
                <a:gd name="T3" fmla="*/ 0 h 463"/>
                <a:gd name="T4" fmla="*/ 38 w 640"/>
                <a:gd name="T5" fmla="*/ 0 h 463"/>
                <a:gd name="T6" fmla="*/ 0 w 640"/>
                <a:gd name="T7" fmla="*/ 35 h 463"/>
                <a:gd name="T8" fmla="*/ 0 w 640"/>
                <a:gd name="T9" fmla="*/ 463 h 463"/>
                <a:gd name="T10" fmla="*/ 640 w 640"/>
                <a:gd name="T11" fmla="*/ 463 h 463"/>
                <a:gd name="T12" fmla="*/ 640 w 640"/>
                <a:gd name="T13" fmla="*/ 35 h 463"/>
                <a:gd name="T14" fmla="*/ 392 w 640"/>
                <a:gd name="T15" fmla="*/ 35 h 463"/>
                <a:gd name="T16" fmla="*/ 357 w 640"/>
                <a:gd name="T17" fmla="*/ 71 h 463"/>
                <a:gd name="T18" fmla="*/ 43 w 640"/>
                <a:gd name="T19" fmla="*/ 71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63">
                  <a:moveTo>
                    <a:pt x="357" y="35"/>
                  </a:moveTo>
                  <a:lnTo>
                    <a:pt x="319" y="0"/>
                  </a:lnTo>
                  <a:lnTo>
                    <a:pt x="38" y="0"/>
                  </a:lnTo>
                  <a:lnTo>
                    <a:pt x="0" y="35"/>
                  </a:lnTo>
                  <a:lnTo>
                    <a:pt x="0" y="463"/>
                  </a:lnTo>
                  <a:lnTo>
                    <a:pt x="640" y="463"/>
                  </a:lnTo>
                  <a:lnTo>
                    <a:pt x="640" y="35"/>
                  </a:lnTo>
                  <a:lnTo>
                    <a:pt x="392" y="35"/>
                  </a:lnTo>
                  <a:lnTo>
                    <a:pt x="357" y="71"/>
                  </a:lnTo>
                  <a:lnTo>
                    <a:pt x="43" y="71"/>
                  </a:lnTo>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1" name="Freeform 183"/>
            <p:cNvSpPr>
              <a:spLocks/>
            </p:cNvSpPr>
            <p:nvPr/>
          </p:nvSpPr>
          <p:spPr bwMode="auto">
            <a:xfrm>
              <a:off x="4108655" y="2796683"/>
              <a:ext cx="178169" cy="182443"/>
            </a:xfrm>
            <a:custGeom>
              <a:avLst/>
              <a:gdLst>
                <a:gd name="T0" fmla="*/ 0 w 1042"/>
                <a:gd name="T1" fmla="*/ 367 h 1067"/>
                <a:gd name="T2" fmla="*/ 354 w 1042"/>
                <a:gd name="T3" fmla="*/ 367 h 1067"/>
                <a:gd name="T4" fmla="*/ 354 w 1042"/>
                <a:gd name="T5" fmla="*/ 0 h 1067"/>
                <a:gd name="T6" fmla="*/ 688 w 1042"/>
                <a:gd name="T7" fmla="*/ 0 h 1067"/>
                <a:gd name="T8" fmla="*/ 688 w 1042"/>
                <a:gd name="T9" fmla="*/ 367 h 1067"/>
                <a:gd name="T10" fmla="*/ 1042 w 1042"/>
                <a:gd name="T11" fmla="*/ 367 h 1067"/>
                <a:gd name="T12" fmla="*/ 1042 w 1042"/>
                <a:gd name="T13" fmla="*/ 700 h 1067"/>
                <a:gd name="T14" fmla="*/ 688 w 1042"/>
                <a:gd name="T15" fmla="*/ 700 h 1067"/>
                <a:gd name="T16" fmla="*/ 688 w 1042"/>
                <a:gd name="T17" fmla="*/ 1067 h 1067"/>
                <a:gd name="T18" fmla="*/ 354 w 1042"/>
                <a:gd name="T19" fmla="*/ 1067 h 1067"/>
                <a:gd name="T20" fmla="*/ 354 w 1042"/>
                <a:gd name="T21" fmla="*/ 700 h 1067"/>
                <a:gd name="T22" fmla="*/ 0 w 1042"/>
                <a:gd name="T23" fmla="*/ 700 h 1067"/>
                <a:gd name="T24" fmla="*/ 0 w 1042"/>
                <a:gd name="T25" fmla="*/ 3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2" h="1067">
                  <a:moveTo>
                    <a:pt x="0" y="367"/>
                  </a:moveTo>
                  <a:lnTo>
                    <a:pt x="354" y="367"/>
                  </a:lnTo>
                  <a:lnTo>
                    <a:pt x="354" y="0"/>
                  </a:lnTo>
                  <a:lnTo>
                    <a:pt x="688" y="0"/>
                  </a:lnTo>
                  <a:lnTo>
                    <a:pt x="688" y="367"/>
                  </a:lnTo>
                  <a:lnTo>
                    <a:pt x="1042" y="367"/>
                  </a:lnTo>
                  <a:lnTo>
                    <a:pt x="1042" y="700"/>
                  </a:lnTo>
                  <a:lnTo>
                    <a:pt x="688" y="700"/>
                  </a:lnTo>
                  <a:lnTo>
                    <a:pt x="688" y="1067"/>
                  </a:lnTo>
                  <a:lnTo>
                    <a:pt x="354" y="1067"/>
                  </a:lnTo>
                  <a:lnTo>
                    <a:pt x="354" y="700"/>
                  </a:lnTo>
                  <a:lnTo>
                    <a:pt x="0" y="700"/>
                  </a:lnTo>
                  <a:lnTo>
                    <a:pt x="0" y="367"/>
                  </a:lnTo>
                  <a:close/>
                </a:path>
              </a:pathLst>
            </a:custGeom>
            <a:solidFill>
              <a:schemeClr val="accent3"/>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8" name="Group 48297"/>
          <p:cNvGrpSpPr/>
          <p:nvPr/>
        </p:nvGrpSpPr>
        <p:grpSpPr>
          <a:xfrm>
            <a:off x="4414294" y="1871994"/>
            <a:ext cx="282686" cy="391182"/>
            <a:chOff x="-4306888" y="-822325"/>
            <a:chExt cx="2411413" cy="3336925"/>
          </a:xfrm>
          <a:solidFill>
            <a:schemeClr val="accent1"/>
          </a:solidFill>
        </p:grpSpPr>
        <p:sp>
          <p:nvSpPr>
            <p:cNvPr id="48291" name="Freeform 188"/>
            <p:cNvSpPr>
              <a:spLocks noEditPoints="1"/>
            </p:cNvSpPr>
            <p:nvPr/>
          </p:nvSpPr>
          <p:spPr bwMode="auto">
            <a:xfrm>
              <a:off x="-4306888" y="-822325"/>
              <a:ext cx="2411413" cy="2414588"/>
            </a:xfrm>
            <a:custGeom>
              <a:avLst/>
              <a:gdLst>
                <a:gd name="T0" fmla="*/ 453 w 643"/>
                <a:gd name="T1" fmla="*/ 644 h 644"/>
                <a:gd name="T2" fmla="*/ 190 w 643"/>
                <a:gd name="T3" fmla="*/ 644 h 644"/>
                <a:gd name="T4" fmla="*/ 94 w 643"/>
                <a:gd name="T5" fmla="*/ 548 h 644"/>
                <a:gd name="T6" fmla="*/ 0 w 643"/>
                <a:gd name="T7" fmla="*/ 321 h 644"/>
                <a:gd name="T8" fmla="*/ 322 w 643"/>
                <a:gd name="T9" fmla="*/ 0 h 644"/>
                <a:gd name="T10" fmla="*/ 643 w 643"/>
                <a:gd name="T11" fmla="*/ 321 h 644"/>
                <a:gd name="T12" fmla="*/ 549 w 643"/>
                <a:gd name="T13" fmla="*/ 548 h 644"/>
                <a:gd name="T14" fmla="*/ 453 w 643"/>
                <a:gd name="T15" fmla="*/ 644 h 644"/>
                <a:gd name="T16" fmla="*/ 208 w 643"/>
                <a:gd name="T17" fmla="*/ 602 h 644"/>
                <a:gd name="T18" fmla="*/ 435 w 643"/>
                <a:gd name="T19" fmla="*/ 602 h 644"/>
                <a:gd name="T20" fmla="*/ 519 w 643"/>
                <a:gd name="T21" fmla="*/ 519 h 644"/>
                <a:gd name="T22" fmla="*/ 600 w 643"/>
                <a:gd name="T23" fmla="*/ 321 h 644"/>
                <a:gd name="T24" fmla="*/ 322 w 643"/>
                <a:gd name="T25" fmla="*/ 42 h 644"/>
                <a:gd name="T26" fmla="*/ 43 w 643"/>
                <a:gd name="T27" fmla="*/ 321 h 644"/>
                <a:gd name="T28" fmla="*/ 124 w 643"/>
                <a:gd name="T29" fmla="*/ 519 h 644"/>
                <a:gd name="T30" fmla="*/ 208 w 643"/>
                <a:gd name="T31" fmla="*/ 60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3" h="644">
                  <a:moveTo>
                    <a:pt x="453" y="644"/>
                  </a:moveTo>
                  <a:cubicBezTo>
                    <a:pt x="190" y="644"/>
                    <a:pt x="190" y="644"/>
                    <a:pt x="190" y="644"/>
                  </a:cubicBezTo>
                  <a:cubicBezTo>
                    <a:pt x="94" y="548"/>
                    <a:pt x="94" y="548"/>
                    <a:pt x="94" y="548"/>
                  </a:cubicBezTo>
                  <a:cubicBezTo>
                    <a:pt x="34" y="488"/>
                    <a:pt x="0" y="407"/>
                    <a:pt x="0" y="321"/>
                  </a:cubicBezTo>
                  <a:cubicBezTo>
                    <a:pt x="0" y="144"/>
                    <a:pt x="144" y="0"/>
                    <a:pt x="322" y="0"/>
                  </a:cubicBezTo>
                  <a:cubicBezTo>
                    <a:pt x="499" y="0"/>
                    <a:pt x="643" y="144"/>
                    <a:pt x="643" y="321"/>
                  </a:cubicBezTo>
                  <a:cubicBezTo>
                    <a:pt x="643" y="407"/>
                    <a:pt x="609" y="488"/>
                    <a:pt x="549" y="548"/>
                  </a:cubicBezTo>
                  <a:lnTo>
                    <a:pt x="453" y="644"/>
                  </a:lnTo>
                  <a:close/>
                  <a:moveTo>
                    <a:pt x="208" y="602"/>
                  </a:moveTo>
                  <a:cubicBezTo>
                    <a:pt x="435" y="602"/>
                    <a:pt x="435" y="602"/>
                    <a:pt x="435" y="602"/>
                  </a:cubicBezTo>
                  <a:cubicBezTo>
                    <a:pt x="519" y="519"/>
                    <a:pt x="519" y="519"/>
                    <a:pt x="519" y="519"/>
                  </a:cubicBezTo>
                  <a:cubicBezTo>
                    <a:pt x="571" y="466"/>
                    <a:pt x="600" y="396"/>
                    <a:pt x="600" y="321"/>
                  </a:cubicBezTo>
                  <a:cubicBezTo>
                    <a:pt x="600" y="167"/>
                    <a:pt x="475" y="42"/>
                    <a:pt x="322" y="42"/>
                  </a:cubicBezTo>
                  <a:cubicBezTo>
                    <a:pt x="168" y="42"/>
                    <a:pt x="43" y="167"/>
                    <a:pt x="43" y="321"/>
                  </a:cubicBezTo>
                  <a:cubicBezTo>
                    <a:pt x="43" y="396"/>
                    <a:pt x="72" y="466"/>
                    <a:pt x="124" y="519"/>
                  </a:cubicBezTo>
                  <a:lnTo>
                    <a:pt x="208" y="6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3" name="Freeform 189"/>
            <p:cNvSpPr>
              <a:spLocks/>
            </p:cNvSpPr>
            <p:nvPr/>
          </p:nvSpPr>
          <p:spPr bwMode="auto">
            <a:xfrm>
              <a:off x="-3632200" y="1671638"/>
              <a:ext cx="1062038" cy="160338"/>
            </a:xfrm>
            <a:custGeom>
              <a:avLst/>
              <a:gdLst>
                <a:gd name="T0" fmla="*/ 669 w 669"/>
                <a:gd name="T1" fmla="*/ 78 h 101"/>
                <a:gd name="T2" fmla="*/ 645 w 669"/>
                <a:gd name="T3" fmla="*/ 101 h 101"/>
                <a:gd name="T4" fmla="*/ 24 w 669"/>
                <a:gd name="T5" fmla="*/ 101 h 101"/>
                <a:gd name="T6" fmla="*/ 0 w 669"/>
                <a:gd name="T7" fmla="*/ 78 h 101"/>
                <a:gd name="T8" fmla="*/ 0 w 669"/>
                <a:gd name="T9" fmla="*/ 23 h 101"/>
                <a:gd name="T10" fmla="*/ 24 w 669"/>
                <a:gd name="T11" fmla="*/ 0 h 101"/>
                <a:gd name="T12" fmla="*/ 645 w 669"/>
                <a:gd name="T13" fmla="*/ 0 h 101"/>
                <a:gd name="T14" fmla="*/ 669 w 669"/>
                <a:gd name="T15" fmla="*/ 23 h 101"/>
                <a:gd name="T16" fmla="*/ 669 w 669"/>
                <a:gd name="T17" fmla="*/ 7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101">
                  <a:moveTo>
                    <a:pt x="669" y="78"/>
                  </a:moveTo>
                  <a:lnTo>
                    <a:pt x="645" y="101"/>
                  </a:lnTo>
                  <a:lnTo>
                    <a:pt x="24" y="101"/>
                  </a:lnTo>
                  <a:lnTo>
                    <a:pt x="0" y="78"/>
                  </a:lnTo>
                  <a:lnTo>
                    <a:pt x="0" y="23"/>
                  </a:lnTo>
                  <a:lnTo>
                    <a:pt x="24" y="0"/>
                  </a:lnTo>
                  <a:lnTo>
                    <a:pt x="645" y="0"/>
                  </a:lnTo>
                  <a:lnTo>
                    <a:pt x="669" y="23"/>
                  </a:lnTo>
                  <a:lnTo>
                    <a:pt x="669" y="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4" name="Freeform 190"/>
            <p:cNvSpPr>
              <a:spLocks/>
            </p:cNvSpPr>
            <p:nvPr/>
          </p:nvSpPr>
          <p:spPr bwMode="auto">
            <a:xfrm>
              <a:off x="-3632200" y="1911350"/>
              <a:ext cx="1062038" cy="157163"/>
            </a:xfrm>
            <a:custGeom>
              <a:avLst/>
              <a:gdLst>
                <a:gd name="T0" fmla="*/ 669 w 669"/>
                <a:gd name="T1" fmla="*/ 76 h 99"/>
                <a:gd name="T2" fmla="*/ 645 w 669"/>
                <a:gd name="T3" fmla="*/ 99 h 99"/>
                <a:gd name="T4" fmla="*/ 24 w 669"/>
                <a:gd name="T5" fmla="*/ 99 h 99"/>
                <a:gd name="T6" fmla="*/ 0 w 669"/>
                <a:gd name="T7" fmla="*/ 76 h 99"/>
                <a:gd name="T8" fmla="*/ 0 w 669"/>
                <a:gd name="T9" fmla="*/ 24 h 99"/>
                <a:gd name="T10" fmla="*/ 24 w 669"/>
                <a:gd name="T11" fmla="*/ 0 h 99"/>
                <a:gd name="T12" fmla="*/ 645 w 669"/>
                <a:gd name="T13" fmla="*/ 0 h 99"/>
                <a:gd name="T14" fmla="*/ 669 w 669"/>
                <a:gd name="T15" fmla="*/ 24 h 99"/>
                <a:gd name="T16" fmla="*/ 669 w 669"/>
                <a:gd name="T17" fmla="*/ 7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99">
                  <a:moveTo>
                    <a:pt x="669" y="76"/>
                  </a:moveTo>
                  <a:lnTo>
                    <a:pt x="645" y="99"/>
                  </a:lnTo>
                  <a:lnTo>
                    <a:pt x="24" y="99"/>
                  </a:lnTo>
                  <a:lnTo>
                    <a:pt x="0" y="76"/>
                  </a:lnTo>
                  <a:lnTo>
                    <a:pt x="0" y="24"/>
                  </a:lnTo>
                  <a:lnTo>
                    <a:pt x="24" y="0"/>
                  </a:lnTo>
                  <a:lnTo>
                    <a:pt x="645" y="0"/>
                  </a:lnTo>
                  <a:lnTo>
                    <a:pt x="669" y="24"/>
                  </a:lnTo>
                  <a:lnTo>
                    <a:pt x="669" y="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5" name="Freeform 191"/>
            <p:cNvSpPr>
              <a:spLocks/>
            </p:cNvSpPr>
            <p:nvPr/>
          </p:nvSpPr>
          <p:spPr bwMode="auto">
            <a:xfrm>
              <a:off x="-3257550" y="2390775"/>
              <a:ext cx="311150" cy="123825"/>
            </a:xfrm>
            <a:custGeom>
              <a:avLst/>
              <a:gdLst>
                <a:gd name="T0" fmla="*/ 196 w 196"/>
                <a:gd name="T1" fmla="*/ 55 h 78"/>
                <a:gd name="T2" fmla="*/ 173 w 196"/>
                <a:gd name="T3" fmla="*/ 78 h 78"/>
                <a:gd name="T4" fmla="*/ 24 w 196"/>
                <a:gd name="T5" fmla="*/ 78 h 78"/>
                <a:gd name="T6" fmla="*/ 0 w 196"/>
                <a:gd name="T7" fmla="*/ 55 h 78"/>
                <a:gd name="T8" fmla="*/ 0 w 196"/>
                <a:gd name="T9" fmla="*/ 0 h 78"/>
                <a:gd name="T10" fmla="*/ 196 w 196"/>
                <a:gd name="T11" fmla="*/ 0 h 78"/>
                <a:gd name="T12" fmla="*/ 196 w 196"/>
                <a:gd name="T13" fmla="*/ 55 h 78"/>
              </a:gdLst>
              <a:ahLst/>
              <a:cxnLst>
                <a:cxn ang="0">
                  <a:pos x="T0" y="T1"/>
                </a:cxn>
                <a:cxn ang="0">
                  <a:pos x="T2" y="T3"/>
                </a:cxn>
                <a:cxn ang="0">
                  <a:pos x="T4" y="T5"/>
                </a:cxn>
                <a:cxn ang="0">
                  <a:pos x="T6" y="T7"/>
                </a:cxn>
                <a:cxn ang="0">
                  <a:pos x="T8" y="T9"/>
                </a:cxn>
                <a:cxn ang="0">
                  <a:pos x="T10" y="T11"/>
                </a:cxn>
                <a:cxn ang="0">
                  <a:pos x="T12" y="T13"/>
                </a:cxn>
              </a:cxnLst>
              <a:rect l="0" t="0" r="r" b="b"/>
              <a:pathLst>
                <a:path w="196" h="78">
                  <a:moveTo>
                    <a:pt x="196" y="55"/>
                  </a:moveTo>
                  <a:lnTo>
                    <a:pt x="173" y="78"/>
                  </a:lnTo>
                  <a:lnTo>
                    <a:pt x="24" y="78"/>
                  </a:lnTo>
                  <a:lnTo>
                    <a:pt x="0" y="55"/>
                  </a:lnTo>
                  <a:lnTo>
                    <a:pt x="0" y="0"/>
                  </a:lnTo>
                  <a:lnTo>
                    <a:pt x="196" y="0"/>
                  </a:lnTo>
                  <a:lnTo>
                    <a:pt x="196" y="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296" name="Freeform 192"/>
            <p:cNvSpPr>
              <a:spLocks/>
            </p:cNvSpPr>
            <p:nvPr/>
          </p:nvSpPr>
          <p:spPr bwMode="auto">
            <a:xfrm>
              <a:off x="-3516313" y="2151063"/>
              <a:ext cx="828675" cy="157163"/>
            </a:xfrm>
            <a:custGeom>
              <a:avLst/>
              <a:gdLst>
                <a:gd name="T0" fmla="*/ 421 w 522"/>
                <a:gd name="T1" fmla="*/ 99 h 99"/>
                <a:gd name="T2" fmla="*/ 522 w 522"/>
                <a:gd name="T3" fmla="*/ 0 h 99"/>
                <a:gd name="T4" fmla="*/ 0 w 522"/>
                <a:gd name="T5" fmla="*/ 0 h 99"/>
                <a:gd name="T6" fmla="*/ 102 w 522"/>
                <a:gd name="T7" fmla="*/ 99 h 99"/>
                <a:gd name="T8" fmla="*/ 421 w 522"/>
                <a:gd name="T9" fmla="*/ 99 h 99"/>
              </a:gdLst>
              <a:ahLst/>
              <a:cxnLst>
                <a:cxn ang="0">
                  <a:pos x="T0" y="T1"/>
                </a:cxn>
                <a:cxn ang="0">
                  <a:pos x="T2" y="T3"/>
                </a:cxn>
                <a:cxn ang="0">
                  <a:pos x="T4" y="T5"/>
                </a:cxn>
                <a:cxn ang="0">
                  <a:pos x="T6" y="T7"/>
                </a:cxn>
                <a:cxn ang="0">
                  <a:pos x="T8" y="T9"/>
                </a:cxn>
              </a:cxnLst>
              <a:rect l="0" t="0" r="r" b="b"/>
              <a:pathLst>
                <a:path w="522" h="99">
                  <a:moveTo>
                    <a:pt x="421" y="99"/>
                  </a:moveTo>
                  <a:lnTo>
                    <a:pt x="522" y="0"/>
                  </a:lnTo>
                  <a:lnTo>
                    <a:pt x="0" y="0"/>
                  </a:lnTo>
                  <a:lnTo>
                    <a:pt x="102" y="99"/>
                  </a:lnTo>
                  <a:lnTo>
                    <a:pt x="421" y="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10" name="Group 48309"/>
          <p:cNvGrpSpPr/>
          <p:nvPr/>
        </p:nvGrpSpPr>
        <p:grpSpPr>
          <a:xfrm>
            <a:off x="6512107" y="2513994"/>
            <a:ext cx="399491" cy="399788"/>
            <a:chOff x="1543050" y="-6640513"/>
            <a:chExt cx="6411913" cy="6416675"/>
          </a:xfrm>
        </p:grpSpPr>
        <p:sp>
          <p:nvSpPr>
            <p:cNvPr id="48301" name="Freeform 197"/>
            <p:cNvSpPr>
              <a:spLocks/>
            </p:cNvSpPr>
            <p:nvPr/>
          </p:nvSpPr>
          <p:spPr bwMode="auto">
            <a:xfrm>
              <a:off x="1543050" y="-6640513"/>
              <a:ext cx="6411913" cy="6416675"/>
            </a:xfrm>
            <a:custGeom>
              <a:avLst/>
              <a:gdLst>
                <a:gd name="T0" fmla="*/ 269 w 4039"/>
                <a:gd name="T1" fmla="*/ 3031 h 4042"/>
                <a:gd name="T2" fmla="*/ 0 w 4039"/>
                <a:gd name="T3" fmla="*/ 2020 h 4042"/>
                <a:gd name="T4" fmla="*/ 269 w 4039"/>
                <a:gd name="T5" fmla="*/ 1011 h 4042"/>
                <a:gd name="T6" fmla="*/ 1008 w 4039"/>
                <a:gd name="T7" fmla="*/ 272 h 4042"/>
                <a:gd name="T8" fmla="*/ 2019 w 4039"/>
                <a:gd name="T9" fmla="*/ 0 h 4042"/>
                <a:gd name="T10" fmla="*/ 3030 w 4039"/>
                <a:gd name="T11" fmla="*/ 272 h 4042"/>
                <a:gd name="T12" fmla="*/ 3770 w 4039"/>
                <a:gd name="T13" fmla="*/ 1011 h 4042"/>
                <a:gd name="T14" fmla="*/ 4039 w 4039"/>
                <a:gd name="T15" fmla="*/ 2020 h 4042"/>
                <a:gd name="T16" fmla="*/ 3770 w 4039"/>
                <a:gd name="T17" fmla="*/ 3031 h 4042"/>
                <a:gd name="T18" fmla="*/ 3030 w 4039"/>
                <a:gd name="T19" fmla="*/ 3770 h 4042"/>
                <a:gd name="T20" fmla="*/ 2019 w 4039"/>
                <a:gd name="T21" fmla="*/ 4042 h 4042"/>
                <a:gd name="T22" fmla="*/ 1008 w 4039"/>
                <a:gd name="T23" fmla="*/ 3770 h 4042"/>
                <a:gd name="T24" fmla="*/ 269 w 4039"/>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9" h="4042">
                  <a:moveTo>
                    <a:pt x="269" y="3031"/>
                  </a:moveTo>
                  <a:lnTo>
                    <a:pt x="0" y="2020"/>
                  </a:lnTo>
                  <a:lnTo>
                    <a:pt x="269" y="1011"/>
                  </a:lnTo>
                  <a:lnTo>
                    <a:pt x="1008" y="272"/>
                  </a:lnTo>
                  <a:lnTo>
                    <a:pt x="2019" y="0"/>
                  </a:lnTo>
                  <a:lnTo>
                    <a:pt x="3030" y="272"/>
                  </a:lnTo>
                  <a:lnTo>
                    <a:pt x="3770" y="1011"/>
                  </a:lnTo>
                  <a:lnTo>
                    <a:pt x="4039" y="2020"/>
                  </a:lnTo>
                  <a:lnTo>
                    <a:pt x="3770" y="3031"/>
                  </a:lnTo>
                  <a:lnTo>
                    <a:pt x="3030" y="3770"/>
                  </a:lnTo>
                  <a:lnTo>
                    <a:pt x="2019" y="4042"/>
                  </a:lnTo>
                  <a:lnTo>
                    <a:pt x="1008" y="3770"/>
                  </a:lnTo>
                  <a:lnTo>
                    <a:pt x="269"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3" name="Freeform 198"/>
            <p:cNvSpPr>
              <a:spLocks/>
            </p:cNvSpPr>
            <p:nvPr/>
          </p:nvSpPr>
          <p:spPr bwMode="auto">
            <a:xfrm>
              <a:off x="1943100" y="-6238875"/>
              <a:ext cx="5610225" cy="5613400"/>
            </a:xfrm>
            <a:custGeom>
              <a:avLst/>
              <a:gdLst>
                <a:gd name="T0" fmla="*/ 237 w 3534"/>
                <a:gd name="T1" fmla="*/ 2650 h 3536"/>
                <a:gd name="T2" fmla="*/ 0 w 3534"/>
                <a:gd name="T3" fmla="*/ 1767 h 3536"/>
                <a:gd name="T4" fmla="*/ 237 w 3534"/>
                <a:gd name="T5" fmla="*/ 883 h 3536"/>
                <a:gd name="T6" fmla="*/ 884 w 3534"/>
                <a:gd name="T7" fmla="*/ 236 h 3536"/>
                <a:gd name="T8" fmla="*/ 1767 w 3534"/>
                <a:gd name="T9" fmla="*/ 0 h 3536"/>
                <a:gd name="T10" fmla="*/ 2651 w 3534"/>
                <a:gd name="T11" fmla="*/ 236 h 3536"/>
                <a:gd name="T12" fmla="*/ 3298 w 3534"/>
                <a:gd name="T13" fmla="*/ 883 h 3536"/>
                <a:gd name="T14" fmla="*/ 3534 w 3534"/>
                <a:gd name="T15" fmla="*/ 1767 h 3536"/>
                <a:gd name="T16" fmla="*/ 3298 w 3534"/>
                <a:gd name="T17" fmla="*/ 2653 h 3536"/>
                <a:gd name="T18" fmla="*/ 2651 w 3534"/>
                <a:gd name="T19" fmla="*/ 3298 h 3536"/>
                <a:gd name="T20" fmla="*/ 1767 w 3534"/>
                <a:gd name="T21" fmla="*/ 3536 h 3536"/>
                <a:gd name="T22" fmla="*/ 884 w 3534"/>
                <a:gd name="T23" fmla="*/ 3298 h 3536"/>
                <a:gd name="T24" fmla="*/ 237 w 3534"/>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4" h="3536">
                  <a:moveTo>
                    <a:pt x="237" y="2650"/>
                  </a:moveTo>
                  <a:lnTo>
                    <a:pt x="0" y="1767"/>
                  </a:lnTo>
                  <a:lnTo>
                    <a:pt x="237" y="883"/>
                  </a:lnTo>
                  <a:lnTo>
                    <a:pt x="884" y="236"/>
                  </a:lnTo>
                  <a:lnTo>
                    <a:pt x="1767" y="0"/>
                  </a:lnTo>
                  <a:lnTo>
                    <a:pt x="2651" y="236"/>
                  </a:lnTo>
                  <a:lnTo>
                    <a:pt x="3298" y="883"/>
                  </a:lnTo>
                  <a:lnTo>
                    <a:pt x="3534" y="1767"/>
                  </a:lnTo>
                  <a:lnTo>
                    <a:pt x="3298" y="2653"/>
                  </a:lnTo>
                  <a:lnTo>
                    <a:pt x="2651" y="3298"/>
                  </a:lnTo>
                  <a:lnTo>
                    <a:pt x="1767" y="3536"/>
                  </a:lnTo>
                  <a:lnTo>
                    <a:pt x="884" y="3298"/>
                  </a:lnTo>
                  <a:lnTo>
                    <a:pt x="237" y="2650"/>
                  </a:lnTo>
                  <a:close/>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4" name="Freeform 199"/>
            <p:cNvSpPr>
              <a:spLocks/>
            </p:cNvSpPr>
            <p:nvPr/>
          </p:nvSpPr>
          <p:spPr bwMode="auto">
            <a:xfrm>
              <a:off x="3346450" y="-6238875"/>
              <a:ext cx="3317875" cy="5235575"/>
            </a:xfrm>
            <a:custGeom>
              <a:avLst/>
              <a:gdLst>
                <a:gd name="T0" fmla="*/ 883 w 2090"/>
                <a:gd name="T1" fmla="*/ 0 h 3298"/>
                <a:gd name="T2" fmla="*/ 153 w 2090"/>
                <a:gd name="T3" fmla="*/ 2109 h 3298"/>
                <a:gd name="T4" fmla="*/ 638 w 2090"/>
                <a:gd name="T5" fmla="*/ 2109 h 3298"/>
                <a:gd name="T6" fmla="*/ 0 w 2090"/>
                <a:gd name="T7" fmla="*/ 3298 h 3298"/>
                <a:gd name="T8" fmla="*/ 1885 w 2090"/>
                <a:gd name="T9" fmla="*/ 1696 h 3298"/>
                <a:gd name="T10" fmla="*/ 1228 w 2090"/>
                <a:gd name="T11" fmla="*/ 1696 h 3298"/>
                <a:gd name="T12" fmla="*/ 2090 w 2090"/>
                <a:gd name="T13" fmla="*/ 560 h 3298"/>
              </a:gdLst>
              <a:ahLst/>
              <a:cxnLst>
                <a:cxn ang="0">
                  <a:pos x="T0" y="T1"/>
                </a:cxn>
                <a:cxn ang="0">
                  <a:pos x="T2" y="T3"/>
                </a:cxn>
                <a:cxn ang="0">
                  <a:pos x="T4" y="T5"/>
                </a:cxn>
                <a:cxn ang="0">
                  <a:pos x="T6" y="T7"/>
                </a:cxn>
                <a:cxn ang="0">
                  <a:pos x="T8" y="T9"/>
                </a:cxn>
                <a:cxn ang="0">
                  <a:pos x="T10" y="T11"/>
                </a:cxn>
                <a:cxn ang="0">
                  <a:pos x="T12" y="T13"/>
                </a:cxn>
              </a:cxnLst>
              <a:rect l="0" t="0" r="r" b="b"/>
              <a:pathLst>
                <a:path w="2090" h="3298">
                  <a:moveTo>
                    <a:pt x="883" y="0"/>
                  </a:moveTo>
                  <a:lnTo>
                    <a:pt x="153" y="2109"/>
                  </a:lnTo>
                  <a:lnTo>
                    <a:pt x="638" y="2109"/>
                  </a:lnTo>
                  <a:lnTo>
                    <a:pt x="0" y="3298"/>
                  </a:lnTo>
                  <a:lnTo>
                    <a:pt x="1885" y="1696"/>
                  </a:lnTo>
                  <a:lnTo>
                    <a:pt x="1228" y="1696"/>
                  </a:lnTo>
                  <a:lnTo>
                    <a:pt x="2090" y="560"/>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09" name="Group 48308"/>
          <p:cNvGrpSpPr/>
          <p:nvPr/>
        </p:nvGrpSpPr>
        <p:grpSpPr>
          <a:xfrm>
            <a:off x="7067677" y="2509162"/>
            <a:ext cx="399590" cy="399788"/>
            <a:chOff x="10331450" y="-6640513"/>
            <a:chExt cx="6413500" cy="6416675"/>
          </a:xfrm>
        </p:grpSpPr>
        <p:sp>
          <p:nvSpPr>
            <p:cNvPr id="48305" name="Freeform 200"/>
            <p:cNvSpPr>
              <a:spLocks/>
            </p:cNvSpPr>
            <p:nvPr/>
          </p:nvSpPr>
          <p:spPr bwMode="auto">
            <a:xfrm>
              <a:off x="10331450" y="-6640513"/>
              <a:ext cx="6413500" cy="6416675"/>
            </a:xfrm>
            <a:custGeom>
              <a:avLst/>
              <a:gdLst>
                <a:gd name="T0" fmla="*/ 270 w 4040"/>
                <a:gd name="T1" fmla="*/ 3031 h 4042"/>
                <a:gd name="T2" fmla="*/ 0 w 4040"/>
                <a:gd name="T3" fmla="*/ 2020 h 4042"/>
                <a:gd name="T4" fmla="*/ 270 w 4040"/>
                <a:gd name="T5" fmla="*/ 1011 h 4042"/>
                <a:gd name="T6" fmla="*/ 1009 w 4040"/>
                <a:gd name="T7" fmla="*/ 272 h 4042"/>
                <a:gd name="T8" fmla="*/ 2020 w 4040"/>
                <a:gd name="T9" fmla="*/ 0 h 4042"/>
                <a:gd name="T10" fmla="*/ 3029 w 4040"/>
                <a:gd name="T11" fmla="*/ 272 h 4042"/>
                <a:gd name="T12" fmla="*/ 3768 w 4040"/>
                <a:gd name="T13" fmla="*/ 1011 h 4042"/>
                <a:gd name="T14" fmla="*/ 4040 w 4040"/>
                <a:gd name="T15" fmla="*/ 2020 h 4042"/>
                <a:gd name="T16" fmla="*/ 3768 w 4040"/>
                <a:gd name="T17" fmla="*/ 3031 h 4042"/>
                <a:gd name="T18" fmla="*/ 3029 w 4040"/>
                <a:gd name="T19" fmla="*/ 3770 h 4042"/>
                <a:gd name="T20" fmla="*/ 2020 w 4040"/>
                <a:gd name="T21" fmla="*/ 4042 h 4042"/>
                <a:gd name="T22" fmla="*/ 1009 w 4040"/>
                <a:gd name="T23" fmla="*/ 3770 h 4042"/>
                <a:gd name="T24" fmla="*/ 270 w 4040"/>
                <a:gd name="T25" fmla="*/ 3031 h 4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40" h="4042">
                  <a:moveTo>
                    <a:pt x="270" y="3031"/>
                  </a:moveTo>
                  <a:lnTo>
                    <a:pt x="0" y="2020"/>
                  </a:lnTo>
                  <a:lnTo>
                    <a:pt x="270" y="1011"/>
                  </a:lnTo>
                  <a:lnTo>
                    <a:pt x="1009" y="272"/>
                  </a:lnTo>
                  <a:lnTo>
                    <a:pt x="2020" y="0"/>
                  </a:lnTo>
                  <a:lnTo>
                    <a:pt x="3029" y="272"/>
                  </a:lnTo>
                  <a:lnTo>
                    <a:pt x="3768" y="1011"/>
                  </a:lnTo>
                  <a:lnTo>
                    <a:pt x="4040" y="2020"/>
                  </a:lnTo>
                  <a:lnTo>
                    <a:pt x="3768" y="3031"/>
                  </a:lnTo>
                  <a:lnTo>
                    <a:pt x="3029" y="3770"/>
                  </a:lnTo>
                  <a:lnTo>
                    <a:pt x="2020" y="4042"/>
                  </a:lnTo>
                  <a:lnTo>
                    <a:pt x="1009" y="3770"/>
                  </a:lnTo>
                  <a:lnTo>
                    <a:pt x="270" y="3031"/>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6" name="Freeform 201"/>
            <p:cNvSpPr>
              <a:spLocks/>
            </p:cNvSpPr>
            <p:nvPr/>
          </p:nvSpPr>
          <p:spPr bwMode="auto">
            <a:xfrm>
              <a:off x="10729913" y="-6238875"/>
              <a:ext cx="5613400" cy="5613400"/>
            </a:xfrm>
            <a:custGeom>
              <a:avLst/>
              <a:gdLst>
                <a:gd name="T0" fmla="*/ 238 w 3536"/>
                <a:gd name="T1" fmla="*/ 2650 h 3536"/>
                <a:gd name="T2" fmla="*/ 0 w 3536"/>
                <a:gd name="T3" fmla="*/ 1767 h 3536"/>
                <a:gd name="T4" fmla="*/ 238 w 3536"/>
                <a:gd name="T5" fmla="*/ 883 h 3536"/>
                <a:gd name="T6" fmla="*/ 885 w 3536"/>
                <a:gd name="T7" fmla="*/ 236 h 3536"/>
                <a:gd name="T8" fmla="*/ 1769 w 3536"/>
                <a:gd name="T9" fmla="*/ 0 h 3536"/>
                <a:gd name="T10" fmla="*/ 2652 w 3536"/>
                <a:gd name="T11" fmla="*/ 236 h 3536"/>
                <a:gd name="T12" fmla="*/ 3300 w 3536"/>
                <a:gd name="T13" fmla="*/ 883 h 3536"/>
                <a:gd name="T14" fmla="*/ 3536 w 3536"/>
                <a:gd name="T15" fmla="*/ 1767 h 3536"/>
                <a:gd name="T16" fmla="*/ 3300 w 3536"/>
                <a:gd name="T17" fmla="*/ 2653 h 3536"/>
                <a:gd name="T18" fmla="*/ 2652 w 3536"/>
                <a:gd name="T19" fmla="*/ 3298 h 3536"/>
                <a:gd name="T20" fmla="*/ 1769 w 3536"/>
                <a:gd name="T21" fmla="*/ 3536 h 3536"/>
                <a:gd name="T22" fmla="*/ 885 w 3536"/>
                <a:gd name="T23" fmla="*/ 3298 h 3536"/>
                <a:gd name="T24" fmla="*/ 238 w 3536"/>
                <a:gd name="T25" fmla="*/ 265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6" h="3536">
                  <a:moveTo>
                    <a:pt x="238" y="2650"/>
                  </a:moveTo>
                  <a:lnTo>
                    <a:pt x="0" y="1767"/>
                  </a:lnTo>
                  <a:lnTo>
                    <a:pt x="238" y="883"/>
                  </a:lnTo>
                  <a:lnTo>
                    <a:pt x="885" y="236"/>
                  </a:lnTo>
                  <a:lnTo>
                    <a:pt x="1769" y="0"/>
                  </a:lnTo>
                  <a:lnTo>
                    <a:pt x="2652" y="236"/>
                  </a:lnTo>
                  <a:lnTo>
                    <a:pt x="3300" y="883"/>
                  </a:lnTo>
                  <a:lnTo>
                    <a:pt x="3536" y="1767"/>
                  </a:lnTo>
                  <a:lnTo>
                    <a:pt x="3300" y="2653"/>
                  </a:lnTo>
                  <a:lnTo>
                    <a:pt x="2652" y="3298"/>
                  </a:lnTo>
                  <a:lnTo>
                    <a:pt x="1769" y="3536"/>
                  </a:lnTo>
                  <a:lnTo>
                    <a:pt x="885" y="3298"/>
                  </a:lnTo>
                  <a:lnTo>
                    <a:pt x="238" y="2650"/>
                  </a:lnTo>
                  <a:close/>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08" name="Freeform 202"/>
            <p:cNvSpPr>
              <a:spLocks/>
            </p:cNvSpPr>
            <p:nvPr/>
          </p:nvSpPr>
          <p:spPr bwMode="auto">
            <a:xfrm>
              <a:off x="10729913" y="-6238875"/>
              <a:ext cx="5613400" cy="5613400"/>
            </a:xfrm>
            <a:custGeom>
              <a:avLst/>
              <a:gdLst>
                <a:gd name="T0" fmla="*/ 2976 w 3536"/>
                <a:gd name="T1" fmla="*/ 560 h 3536"/>
                <a:gd name="T2" fmla="*/ 2114 w 3536"/>
                <a:gd name="T3" fmla="*/ 1696 h 3536"/>
                <a:gd name="T4" fmla="*/ 2770 w 3536"/>
                <a:gd name="T5" fmla="*/ 1696 h 3536"/>
                <a:gd name="T6" fmla="*/ 885 w 3536"/>
                <a:gd name="T7" fmla="*/ 3298 h 3536"/>
                <a:gd name="T8" fmla="*/ 1521 w 3536"/>
                <a:gd name="T9" fmla="*/ 2109 h 3536"/>
                <a:gd name="T10" fmla="*/ 1039 w 3536"/>
                <a:gd name="T11" fmla="*/ 2109 h 3536"/>
                <a:gd name="T12" fmla="*/ 1769 w 3536"/>
                <a:gd name="T13" fmla="*/ 0 h 3536"/>
                <a:gd name="T14" fmla="*/ 885 w 3536"/>
                <a:gd name="T15" fmla="*/ 236 h 3536"/>
                <a:gd name="T16" fmla="*/ 238 w 3536"/>
                <a:gd name="T17" fmla="*/ 883 h 3536"/>
                <a:gd name="T18" fmla="*/ 0 w 3536"/>
                <a:gd name="T19" fmla="*/ 1767 h 3536"/>
                <a:gd name="T20" fmla="*/ 238 w 3536"/>
                <a:gd name="T21" fmla="*/ 2650 h 3536"/>
                <a:gd name="T22" fmla="*/ 885 w 3536"/>
                <a:gd name="T23" fmla="*/ 3298 h 3536"/>
                <a:gd name="T24" fmla="*/ 1769 w 3536"/>
                <a:gd name="T25" fmla="*/ 3536 h 3536"/>
                <a:gd name="T26" fmla="*/ 2652 w 3536"/>
                <a:gd name="T27" fmla="*/ 3298 h 3536"/>
                <a:gd name="T28" fmla="*/ 3300 w 3536"/>
                <a:gd name="T29" fmla="*/ 2653 h 3536"/>
                <a:gd name="T30" fmla="*/ 3536 w 3536"/>
                <a:gd name="T31" fmla="*/ 1767 h 3536"/>
                <a:gd name="T32" fmla="*/ 3300 w 3536"/>
                <a:gd name="T33" fmla="*/ 883 h 3536"/>
                <a:gd name="T34" fmla="*/ 2976 w 3536"/>
                <a:gd name="T35" fmla="*/ 560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36" h="3536">
                  <a:moveTo>
                    <a:pt x="2976" y="560"/>
                  </a:moveTo>
                  <a:lnTo>
                    <a:pt x="2114" y="1696"/>
                  </a:lnTo>
                  <a:lnTo>
                    <a:pt x="2770" y="1696"/>
                  </a:lnTo>
                  <a:lnTo>
                    <a:pt x="885" y="3298"/>
                  </a:lnTo>
                  <a:lnTo>
                    <a:pt x="1521" y="2109"/>
                  </a:lnTo>
                  <a:lnTo>
                    <a:pt x="1039" y="2109"/>
                  </a:lnTo>
                  <a:lnTo>
                    <a:pt x="1769" y="0"/>
                  </a:lnTo>
                  <a:lnTo>
                    <a:pt x="885" y="236"/>
                  </a:lnTo>
                  <a:lnTo>
                    <a:pt x="238" y="883"/>
                  </a:lnTo>
                  <a:lnTo>
                    <a:pt x="0" y="1767"/>
                  </a:lnTo>
                  <a:lnTo>
                    <a:pt x="238" y="2650"/>
                  </a:lnTo>
                  <a:lnTo>
                    <a:pt x="885" y="3298"/>
                  </a:lnTo>
                  <a:lnTo>
                    <a:pt x="1769" y="3536"/>
                  </a:lnTo>
                  <a:lnTo>
                    <a:pt x="2652" y="3298"/>
                  </a:lnTo>
                  <a:lnTo>
                    <a:pt x="3300" y="2653"/>
                  </a:lnTo>
                  <a:lnTo>
                    <a:pt x="3536" y="1767"/>
                  </a:lnTo>
                  <a:lnTo>
                    <a:pt x="3300" y="883"/>
                  </a:lnTo>
                  <a:lnTo>
                    <a:pt x="2976" y="560"/>
                  </a:lnTo>
                  <a:close/>
                </a:path>
              </a:pathLst>
            </a:custGeom>
            <a:solidFill>
              <a:schemeClr val="accent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25" name="Group 48324"/>
          <p:cNvGrpSpPr/>
          <p:nvPr/>
        </p:nvGrpSpPr>
        <p:grpSpPr>
          <a:xfrm>
            <a:off x="4493388" y="3276282"/>
            <a:ext cx="711431" cy="263470"/>
            <a:chOff x="7959644" y="2338390"/>
            <a:chExt cx="1744645" cy="646113"/>
          </a:xfrm>
        </p:grpSpPr>
        <p:sp>
          <p:nvSpPr>
            <p:cNvPr id="48314" name="Freeform 207"/>
            <p:cNvSpPr>
              <a:spLocks/>
            </p:cNvSpPr>
            <p:nvPr/>
          </p:nvSpPr>
          <p:spPr bwMode="auto">
            <a:xfrm>
              <a:off x="8042191"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5" name="Freeform 208"/>
            <p:cNvSpPr>
              <a:spLocks/>
            </p:cNvSpPr>
            <p:nvPr/>
          </p:nvSpPr>
          <p:spPr bwMode="auto">
            <a:xfrm>
              <a:off x="8237451" y="2420942"/>
              <a:ext cx="157161" cy="481013"/>
            </a:xfrm>
            <a:custGeom>
              <a:avLst/>
              <a:gdLst>
                <a:gd name="T0" fmla="*/ 5 w 99"/>
                <a:gd name="T1" fmla="*/ 303 h 303"/>
                <a:gd name="T2" fmla="*/ 92 w 99"/>
                <a:gd name="T3" fmla="*/ 303 h 303"/>
                <a:gd name="T4" fmla="*/ 99 w 99"/>
                <a:gd name="T5" fmla="*/ 296 h 303"/>
                <a:gd name="T6" fmla="*/ 99 w 99"/>
                <a:gd name="T7" fmla="*/ 7 h 303"/>
                <a:gd name="T8" fmla="*/ 92 w 99"/>
                <a:gd name="T9" fmla="*/ 0 h 303"/>
                <a:gd name="T10" fmla="*/ 5 w 99"/>
                <a:gd name="T11" fmla="*/ 0 h 303"/>
                <a:gd name="T12" fmla="*/ 0 w 99"/>
                <a:gd name="T13" fmla="*/ 7 h 303"/>
                <a:gd name="T14" fmla="*/ 0 w 99"/>
                <a:gd name="T15" fmla="*/ 296 h 303"/>
                <a:gd name="T16" fmla="*/ 5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5" y="303"/>
                  </a:moveTo>
                  <a:lnTo>
                    <a:pt x="92" y="303"/>
                  </a:lnTo>
                  <a:lnTo>
                    <a:pt x="99" y="296"/>
                  </a:lnTo>
                  <a:lnTo>
                    <a:pt x="99" y="7"/>
                  </a:lnTo>
                  <a:lnTo>
                    <a:pt x="92" y="0"/>
                  </a:lnTo>
                  <a:lnTo>
                    <a:pt x="5" y="0"/>
                  </a:lnTo>
                  <a:lnTo>
                    <a:pt x="0" y="7"/>
                  </a:lnTo>
                  <a:lnTo>
                    <a:pt x="0" y="296"/>
                  </a:lnTo>
                  <a:lnTo>
                    <a:pt x="5"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6" name="Freeform 209"/>
            <p:cNvSpPr>
              <a:spLocks/>
            </p:cNvSpPr>
            <p:nvPr/>
          </p:nvSpPr>
          <p:spPr bwMode="auto">
            <a:xfrm>
              <a:off x="8429537"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7" name="Freeform 210"/>
            <p:cNvSpPr>
              <a:spLocks/>
            </p:cNvSpPr>
            <p:nvPr/>
          </p:nvSpPr>
          <p:spPr bwMode="auto">
            <a:xfrm>
              <a:off x="8620035"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accent3"/>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8" name="Freeform 211"/>
            <p:cNvSpPr>
              <a:spLocks/>
            </p:cNvSpPr>
            <p:nvPr/>
          </p:nvSpPr>
          <p:spPr bwMode="auto">
            <a:xfrm>
              <a:off x="8812121"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19" name="Freeform 212"/>
            <p:cNvSpPr>
              <a:spLocks/>
            </p:cNvSpPr>
            <p:nvPr/>
          </p:nvSpPr>
          <p:spPr bwMode="auto">
            <a:xfrm>
              <a:off x="9002619" y="2420942"/>
              <a:ext cx="161923" cy="481013"/>
            </a:xfrm>
            <a:custGeom>
              <a:avLst/>
              <a:gdLst>
                <a:gd name="T0" fmla="*/ 7 w 102"/>
                <a:gd name="T1" fmla="*/ 303 h 303"/>
                <a:gd name="T2" fmla="*/ 95 w 102"/>
                <a:gd name="T3" fmla="*/ 303 h 303"/>
                <a:gd name="T4" fmla="*/ 102 w 102"/>
                <a:gd name="T5" fmla="*/ 296 h 303"/>
                <a:gd name="T6" fmla="*/ 102 w 102"/>
                <a:gd name="T7" fmla="*/ 7 h 303"/>
                <a:gd name="T8" fmla="*/ 95 w 102"/>
                <a:gd name="T9" fmla="*/ 0 h 303"/>
                <a:gd name="T10" fmla="*/ 7 w 102"/>
                <a:gd name="T11" fmla="*/ 0 h 303"/>
                <a:gd name="T12" fmla="*/ 0 w 102"/>
                <a:gd name="T13" fmla="*/ 7 h 303"/>
                <a:gd name="T14" fmla="*/ 0 w 102"/>
                <a:gd name="T15" fmla="*/ 296 h 303"/>
                <a:gd name="T16" fmla="*/ 7 w 102"/>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3">
                  <a:moveTo>
                    <a:pt x="7" y="303"/>
                  </a:moveTo>
                  <a:lnTo>
                    <a:pt x="95" y="303"/>
                  </a:lnTo>
                  <a:lnTo>
                    <a:pt x="102" y="296"/>
                  </a:lnTo>
                  <a:lnTo>
                    <a:pt x="102"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0" name="Freeform 213"/>
            <p:cNvSpPr>
              <a:spLocks/>
            </p:cNvSpPr>
            <p:nvPr/>
          </p:nvSpPr>
          <p:spPr bwMode="auto">
            <a:xfrm>
              <a:off x="9197878" y="2420942"/>
              <a:ext cx="157161" cy="481013"/>
            </a:xfrm>
            <a:custGeom>
              <a:avLst/>
              <a:gdLst>
                <a:gd name="T0" fmla="*/ 7 w 99"/>
                <a:gd name="T1" fmla="*/ 303 h 303"/>
                <a:gd name="T2" fmla="*/ 95 w 99"/>
                <a:gd name="T3" fmla="*/ 303 h 303"/>
                <a:gd name="T4" fmla="*/ 99 w 99"/>
                <a:gd name="T5" fmla="*/ 296 h 303"/>
                <a:gd name="T6" fmla="*/ 99 w 99"/>
                <a:gd name="T7" fmla="*/ 7 h 303"/>
                <a:gd name="T8" fmla="*/ 95 w 99"/>
                <a:gd name="T9" fmla="*/ 0 h 303"/>
                <a:gd name="T10" fmla="*/ 7 w 99"/>
                <a:gd name="T11" fmla="*/ 0 h 303"/>
                <a:gd name="T12" fmla="*/ 0 w 99"/>
                <a:gd name="T13" fmla="*/ 7 h 303"/>
                <a:gd name="T14" fmla="*/ 0 w 99"/>
                <a:gd name="T15" fmla="*/ 296 h 303"/>
                <a:gd name="T16" fmla="*/ 7 w 99"/>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303">
                  <a:moveTo>
                    <a:pt x="7" y="303"/>
                  </a:moveTo>
                  <a:lnTo>
                    <a:pt x="95" y="303"/>
                  </a:lnTo>
                  <a:lnTo>
                    <a:pt x="99" y="296"/>
                  </a:lnTo>
                  <a:lnTo>
                    <a:pt x="99" y="7"/>
                  </a:lnTo>
                  <a:lnTo>
                    <a:pt x="95"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2" name="Freeform 214"/>
            <p:cNvSpPr>
              <a:spLocks/>
            </p:cNvSpPr>
            <p:nvPr/>
          </p:nvSpPr>
          <p:spPr bwMode="auto">
            <a:xfrm>
              <a:off x="9389965" y="2420942"/>
              <a:ext cx="160337" cy="481013"/>
            </a:xfrm>
            <a:custGeom>
              <a:avLst/>
              <a:gdLst>
                <a:gd name="T0" fmla="*/ 7 w 101"/>
                <a:gd name="T1" fmla="*/ 303 h 303"/>
                <a:gd name="T2" fmla="*/ 94 w 101"/>
                <a:gd name="T3" fmla="*/ 303 h 303"/>
                <a:gd name="T4" fmla="*/ 101 w 101"/>
                <a:gd name="T5" fmla="*/ 296 h 303"/>
                <a:gd name="T6" fmla="*/ 101 w 101"/>
                <a:gd name="T7" fmla="*/ 7 h 303"/>
                <a:gd name="T8" fmla="*/ 94 w 101"/>
                <a:gd name="T9" fmla="*/ 0 h 303"/>
                <a:gd name="T10" fmla="*/ 7 w 101"/>
                <a:gd name="T11" fmla="*/ 0 h 303"/>
                <a:gd name="T12" fmla="*/ 0 w 101"/>
                <a:gd name="T13" fmla="*/ 7 h 303"/>
                <a:gd name="T14" fmla="*/ 0 w 101"/>
                <a:gd name="T15" fmla="*/ 296 h 303"/>
                <a:gd name="T16" fmla="*/ 7 w 101"/>
                <a:gd name="T17"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03">
                  <a:moveTo>
                    <a:pt x="7" y="303"/>
                  </a:moveTo>
                  <a:lnTo>
                    <a:pt x="94" y="303"/>
                  </a:lnTo>
                  <a:lnTo>
                    <a:pt x="101" y="296"/>
                  </a:lnTo>
                  <a:lnTo>
                    <a:pt x="101" y="7"/>
                  </a:lnTo>
                  <a:lnTo>
                    <a:pt x="94" y="0"/>
                  </a:lnTo>
                  <a:lnTo>
                    <a:pt x="7" y="0"/>
                  </a:lnTo>
                  <a:lnTo>
                    <a:pt x="0" y="7"/>
                  </a:lnTo>
                  <a:lnTo>
                    <a:pt x="0" y="296"/>
                  </a:lnTo>
                  <a:lnTo>
                    <a:pt x="7" y="303"/>
                  </a:lnTo>
                  <a:close/>
                </a:path>
              </a:pathLst>
            </a:custGeom>
            <a:solidFill>
              <a:schemeClr val="bg1"/>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3" name="Freeform 215"/>
            <p:cNvSpPr>
              <a:spLocks noEditPoints="1"/>
            </p:cNvSpPr>
            <p:nvPr/>
          </p:nvSpPr>
          <p:spPr bwMode="auto">
            <a:xfrm>
              <a:off x="7959644" y="2338390"/>
              <a:ext cx="1744645" cy="646113"/>
            </a:xfrm>
            <a:custGeom>
              <a:avLst/>
              <a:gdLst>
                <a:gd name="T0" fmla="*/ 1019 w 1099"/>
                <a:gd name="T1" fmla="*/ 407 h 407"/>
                <a:gd name="T2" fmla="*/ 36 w 1099"/>
                <a:gd name="T3" fmla="*/ 407 h 407"/>
                <a:gd name="T4" fmla="*/ 0 w 1099"/>
                <a:gd name="T5" fmla="*/ 371 h 407"/>
                <a:gd name="T6" fmla="*/ 0 w 1099"/>
                <a:gd name="T7" fmla="*/ 36 h 407"/>
                <a:gd name="T8" fmla="*/ 36 w 1099"/>
                <a:gd name="T9" fmla="*/ 0 h 407"/>
                <a:gd name="T10" fmla="*/ 1019 w 1099"/>
                <a:gd name="T11" fmla="*/ 0 h 407"/>
                <a:gd name="T12" fmla="*/ 1054 w 1099"/>
                <a:gd name="T13" fmla="*/ 36 h 407"/>
                <a:gd name="T14" fmla="*/ 1054 w 1099"/>
                <a:gd name="T15" fmla="*/ 97 h 407"/>
                <a:gd name="T16" fmla="*/ 1099 w 1099"/>
                <a:gd name="T17" fmla="*/ 144 h 407"/>
                <a:gd name="T18" fmla="*/ 1099 w 1099"/>
                <a:gd name="T19" fmla="*/ 263 h 407"/>
                <a:gd name="T20" fmla="*/ 1054 w 1099"/>
                <a:gd name="T21" fmla="*/ 307 h 407"/>
                <a:gd name="T22" fmla="*/ 1054 w 1099"/>
                <a:gd name="T23" fmla="*/ 371 h 407"/>
                <a:gd name="T24" fmla="*/ 1019 w 1099"/>
                <a:gd name="T25" fmla="*/ 407 h 407"/>
                <a:gd name="T26" fmla="*/ 48 w 1099"/>
                <a:gd name="T27" fmla="*/ 378 h 407"/>
                <a:gd name="T28" fmla="*/ 1007 w 1099"/>
                <a:gd name="T29" fmla="*/ 378 h 407"/>
                <a:gd name="T30" fmla="*/ 1026 w 1099"/>
                <a:gd name="T31" fmla="*/ 359 h 407"/>
                <a:gd name="T32" fmla="*/ 1026 w 1099"/>
                <a:gd name="T33" fmla="*/ 296 h 407"/>
                <a:gd name="T34" fmla="*/ 1071 w 1099"/>
                <a:gd name="T35" fmla="*/ 251 h 407"/>
                <a:gd name="T36" fmla="*/ 1071 w 1099"/>
                <a:gd name="T37" fmla="*/ 156 h 407"/>
                <a:gd name="T38" fmla="*/ 1026 w 1099"/>
                <a:gd name="T39" fmla="*/ 109 h 407"/>
                <a:gd name="T40" fmla="*/ 1026 w 1099"/>
                <a:gd name="T41" fmla="*/ 48 h 407"/>
                <a:gd name="T42" fmla="*/ 1007 w 1099"/>
                <a:gd name="T43" fmla="*/ 29 h 407"/>
                <a:gd name="T44" fmla="*/ 48 w 1099"/>
                <a:gd name="T45" fmla="*/ 29 h 407"/>
                <a:gd name="T46" fmla="*/ 29 w 1099"/>
                <a:gd name="T47" fmla="*/ 48 h 407"/>
                <a:gd name="T48" fmla="*/ 29 w 1099"/>
                <a:gd name="T49" fmla="*/ 359 h 407"/>
                <a:gd name="T50" fmla="*/ 48 w 1099"/>
                <a:gd name="T51" fmla="*/ 37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407">
                  <a:moveTo>
                    <a:pt x="1019" y="407"/>
                  </a:moveTo>
                  <a:lnTo>
                    <a:pt x="36" y="407"/>
                  </a:lnTo>
                  <a:lnTo>
                    <a:pt x="0" y="371"/>
                  </a:lnTo>
                  <a:lnTo>
                    <a:pt x="0" y="36"/>
                  </a:lnTo>
                  <a:lnTo>
                    <a:pt x="36" y="0"/>
                  </a:lnTo>
                  <a:lnTo>
                    <a:pt x="1019" y="0"/>
                  </a:lnTo>
                  <a:lnTo>
                    <a:pt x="1054" y="36"/>
                  </a:lnTo>
                  <a:lnTo>
                    <a:pt x="1054" y="97"/>
                  </a:lnTo>
                  <a:lnTo>
                    <a:pt x="1099" y="144"/>
                  </a:lnTo>
                  <a:lnTo>
                    <a:pt x="1099" y="263"/>
                  </a:lnTo>
                  <a:lnTo>
                    <a:pt x="1054" y="307"/>
                  </a:lnTo>
                  <a:lnTo>
                    <a:pt x="1054" y="371"/>
                  </a:lnTo>
                  <a:lnTo>
                    <a:pt x="1019" y="407"/>
                  </a:lnTo>
                  <a:close/>
                  <a:moveTo>
                    <a:pt x="48" y="378"/>
                  </a:moveTo>
                  <a:lnTo>
                    <a:pt x="1007" y="378"/>
                  </a:lnTo>
                  <a:lnTo>
                    <a:pt x="1026" y="359"/>
                  </a:lnTo>
                  <a:lnTo>
                    <a:pt x="1026" y="296"/>
                  </a:lnTo>
                  <a:lnTo>
                    <a:pt x="1071" y="251"/>
                  </a:lnTo>
                  <a:lnTo>
                    <a:pt x="1071" y="156"/>
                  </a:lnTo>
                  <a:lnTo>
                    <a:pt x="1026" y="109"/>
                  </a:lnTo>
                  <a:lnTo>
                    <a:pt x="1026" y="48"/>
                  </a:lnTo>
                  <a:lnTo>
                    <a:pt x="1007" y="29"/>
                  </a:lnTo>
                  <a:lnTo>
                    <a:pt x="48" y="29"/>
                  </a:lnTo>
                  <a:lnTo>
                    <a:pt x="29" y="48"/>
                  </a:lnTo>
                  <a:lnTo>
                    <a:pt x="29" y="359"/>
                  </a:lnTo>
                  <a:lnTo>
                    <a:pt x="48" y="378"/>
                  </a:lnTo>
                  <a:close/>
                </a:path>
              </a:pathLst>
            </a:cu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24" name="Freeform 216"/>
            <p:cNvSpPr>
              <a:spLocks/>
            </p:cNvSpPr>
            <p:nvPr/>
          </p:nvSpPr>
          <p:spPr bwMode="auto">
            <a:xfrm>
              <a:off x="9588501" y="2560639"/>
              <a:ext cx="38099" cy="195261"/>
            </a:xfrm>
            <a:custGeom>
              <a:avLst/>
              <a:gdLst>
                <a:gd name="T0" fmla="*/ 24 w 24"/>
                <a:gd name="T1" fmla="*/ 23 h 123"/>
                <a:gd name="T2" fmla="*/ 0 w 24"/>
                <a:gd name="T3" fmla="*/ 0 h 123"/>
                <a:gd name="T4" fmla="*/ 0 w 24"/>
                <a:gd name="T5" fmla="*/ 123 h 123"/>
                <a:gd name="T6" fmla="*/ 24 w 24"/>
                <a:gd name="T7" fmla="*/ 97 h 123"/>
                <a:gd name="T8" fmla="*/ 24 w 24"/>
                <a:gd name="T9" fmla="*/ 23 h 123"/>
              </a:gdLst>
              <a:ahLst/>
              <a:cxnLst>
                <a:cxn ang="0">
                  <a:pos x="T0" y="T1"/>
                </a:cxn>
                <a:cxn ang="0">
                  <a:pos x="T2" y="T3"/>
                </a:cxn>
                <a:cxn ang="0">
                  <a:pos x="T4" y="T5"/>
                </a:cxn>
                <a:cxn ang="0">
                  <a:pos x="T6" y="T7"/>
                </a:cxn>
                <a:cxn ang="0">
                  <a:pos x="T8" y="T9"/>
                </a:cxn>
              </a:cxnLst>
              <a:rect l="0" t="0" r="r" b="b"/>
              <a:pathLst>
                <a:path w="24" h="123">
                  <a:moveTo>
                    <a:pt x="24" y="23"/>
                  </a:moveTo>
                  <a:lnTo>
                    <a:pt x="0" y="0"/>
                  </a:lnTo>
                  <a:lnTo>
                    <a:pt x="0" y="123"/>
                  </a:lnTo>
                  <a:lnTo>
                    <a:pt x="24" y="97"/>
                  </a:lnTo>
                  <a:lnTo>
                    <a:pt x="24" y="23"/>
                  </a:lnTo>
                  <a:close/>
                </a:path>
              </a:pathLst>
            </a:custGeom>
            <a:solidFill>
              <a:schemeClr val="bg1"/>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5" name="Group 4"/>
          <p:cNvGrpSpPr/>
          <p:nvPr/>
        </p:nvGrpSpPr>
        <p:grpSpPr>
          <a:xfrm>
            <a:off x="5780876" y="4455142"/>
            <a:ext cx="385673" cy="807296"/>
            <a:chOff x="5780876" y="4455142"/>
            <a:chExt cx="385673" cy="807296"/>
          </a:xfrm>
        </p:grpSpPr>
        <p:sp>
          <p:nvSpPr>
            <p:cNvPr id="48328" name="Freeform 221"/>
            <p:cNvSpPr>
              <a:spLocks/>
            </p:cNvSpPr>
            <p:nvPr/>
          </p:nvSpPr>
          <p:spPr bwMode="auto">
            <a:xfrm>
              <a:off x="5780876" y="4455142"/>
              <a:ext cx="385673" cy="807296"/>
            </a:xfrm>
            <a:custGeom>
              <a:avLst/>
              <a:gdLst>
                <a:gd name="T0" fmla="*/ 316 w 368"/>
                <a:gd name="T1" fmla="*/ 770 h 770"/>
                <a:gd name="T2" fmla="*/ 52 w 368"/>
                <a:gd name="T3" fmla="*/ 770 h 770"/>
                <a:gd name="T4" fmla="*/ 0 w 368"/>
                <a:gd name="T5" fmla="*/ 718 h 770"/>
                <a:gd name="T6" fmla="*/ 0 w 368"/>
                <a:gd name="T7" fmla="*/ 52 h 770"/>
                <a:gd name="T8" fmla="*/ 52 w 368"/>
                <a:gd name="T9" fmla="*/ 0 h 770"/>
                <a:gd name="T10" fmla="*/ 316 w 368"/>
                <a:gd name="T11" fmla="*/ 0 h 770"/>
                <a:gd name="T12" fmla="*/ 368 w 368"/>
                <a:gd name="T13" fmla="*/ 52 h 770"/>
                <a:gd name="T14" fmla="*/ 368 w 368"/>
                <a:gd name="T15" fmla="*/ 718 h 770"/>
                <a:gd name="T16" fmla="*/ 316 w 368"/>
                <a:gd name="T17"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0">
                  <a:moveTo>
                    <a:pt x="316" y="770"/>
                  </a:moveTo>
                  <a:cubicBezTo>
                    <a:pt x="52" y="770"/>
                    <a:pt x="52" y="770"/>
                    <a:pt x="52" y="770"/>
                  </a:cubicBezTo>
                  <a:cubicBezTo>
                    <a:pt x="23" y="770"/>
                    <a:pt x="0" y="747"/>
                    <a:pt x="0" y="718"/>
                  </a:cubicBezTo>
                  <a:cubicBezTo>
                    <a:pt x="0" y="52"/>
                    <a:pt x="0" y="52"/>
                    <a:pt x="0" y="52"/>
                  </a:cubicBezTo>
                  <a:cubicBezTo>
                    <a:pt x="0" y="23"/>
                    <a:pt x="23" y="0"/>
                    <a:pt x="52" y="0"/>
                  </a:cubicBezTo>
                  <a:cubicBezTo>
                    <a:pt x="316" y="0"/>
                    <a:pt x="316" y="0"/>
                    <a:pt x="316" y="0"/>
                  </a:cubicBezTo>
                  <a:cubicBezTo>
                    <a:pt x="344" y="0"/>
                    <a:pt x="368" y="23"/>
                    <a:pt x="368" y="52"/>
                  </a:cubicBezTo>
                  <a:cubicBezTo>
                    <a:pt x="368" y="718"/>
                    <a:pt x="368" y="718"/>
                    <a:pt x="368" y="718"/>
                  </a:cubicBezTo>
                  <a:cubicBezTo>
                    <a:pt x="368" y="747"/>
                    <a:pt x="344" y="770"/>
                    <a:pt x="316" y="77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9" name="Freeform 222"/>
            <p:cNvSpPr>
              <a:spLocks/>
            </p:cNvSpPr>
            <p:nvPr/>
          </p:nvSpPr>
          <p:spPr bwMode="auto">
            <a:xfrm>
              <a:off x="5788421" y="4462687"/>
              <a:ext cx="370139" cy="792206"/>
            </a:xfrm>
            <a:custGeom>
              <a:avLst/>
              <a:gdLst>
                <a:gd name="T0" fmla="*/ 45 w 353"/>
                <a:gd name="T1" fmla="*/ 0 h 756"/>
                <a:gd name="T2" fmla="*/ 0 w 353"/>
                <a:gd name="T3" fmla="*/ 45 h 756"/>
                <a:gd name="T4" fmla="*/ 0 w 353"/>
                <a:gd name="T5" fmla="*/ 711 h 756"/>
                <a:gd name="T6" fmla="*/ 45 w 353"/>
                <a:gd name="T7" fmla="*/ 756 h 756"/>
                <a:gd name="T8" fmla="*/ 309 w 353"/>
                <a:gd name="T9" fmla="*/ 756 h 756"/>
                <a:gd name="T10" fmla="*/ 353 w 353"/>
                <a:gd name="T11" fmla="*/ 711 h 756"/>
                <a:gd name="T12" fmla="*/ 353 w 353"/>
                <a:gd name="T13" fmla="*/ 45 h 756"/>
                <a:gd name="T14" fmla="*/ 309 w 353"/>
                <a:gd name="T15" fmla="*/ 0 h 756"/>
                <a:gd name="T16" fmla="*/ 45 w 353"/>
                <a:gd name="T1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56">
                  <a:moveTo>
                    <a:pt x="45" y="0"/>
                  </a:moveTo>
                  <a:cubicBezTo>
                    <a:pt x="20" y="0"/>
                    <a:pt x="0" y="20"/>
                    <a:pt x="0" y="45"/>
                  </a:cubicBezTo>
                  <a:cubicBezTo>
                    <a:pt x="0" y="711"/>
                    <a:pt x="0" y="711"/>
                    <a:pt x="0" y="711"/>
                  </a:cubicBezTo>
                  <a:cubicBezTo>
                    <a:pt x="0" y="736"/>
                    <a:pt x="20" y="756"/>
                    <a:pt x="45" y="756"/>
                  </a:cubicBezTo>
                  <a:cubicBezTo>
                    <a:pt x="309" y="756"/>
                    <a:pt x="309" y="756"/>
                    <a:pt x="309" y="756"/>
                  </a:cubicBezTo>
                  <a:cubicBezTo>
                    <a:pt x="333" y="756"/>
                    <a:pt x="353" y="736"/>
                    <a:pt x="353" y="711"/>
                  </a:cubicBezTo>
                  <a:cubicBezTo>
                    <a:pt x="353" y="45"/>
                    <a:pt x="353" y="45"/>
                    <a:pt x="353" y="45"/>
                  </a:cubicBezTo>
                  <a:cubicBezTo>
                    <a:pt x="353" y="20"/>
                    <a:pt x="333" y="0"/>
                    <a:pt x="309" y="0"/>
                  </a:cubicBezTo>
                  <a:cubicBezTo>
                    <a:pt x="45" y="0"/>
                    <a:pt x="45" y="0"/>
                    <a:pt x="45" y="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0" name="Freeform 223"/>
            <p:cNvSpPr>
              <a:spLocks/>
            </p:cNvSpPr>
            <p:nvPr/>
          </p:nvSpPr>
          <p:spPr bwMode="auto">
            <a:xfrm>
              <a:off x="5807061" y="4573640"/>
              <a:ext cx="333303" cy="579620"/>
            </a:xfrm>
            <a:custGeom>
              <a:avLst/>
              <a:gdLst>
                <a:gd name="T0" fmla="*/ 309 w 318"/>
                <a:gd name="T1" fmla="*/ 553 h 553"/>
                <a:gd name="T2" fmla="*/ 8 w 318"/>
                <a:gd name="T3" fmla="*/ 553 h 553"/>
                <a:gd name="T4" fmla="*/ 0 w 318"/>
                <a:gd name="T5" fmla="*/ 544 h 553"/>
                <a:gd name="T6" fmla="*/ 0 w 318"/>
                <a:gd name="T7" fmla="*/ 9 h 553"/>
                <a:gd name="T8" fmla="*/ 8 w 318"/>
                <a:gd name="T9" fmla="*/ 0 h 553"/>
                <a:gd name="T10" fmla="*/ 309 w 318"/>
                <a:gd name="T11" fmla="*/ 0 h 553"/>
                <a:gd name="T12" fmla="*/ 318 w 318"/>
                <a:gd name="T13" fmla="*/ 9 h 553"/>
                <a:gd name="T14" fmla="*/ 318 w 318"/>
                <a:gd name="T15" fmla="*/ 544 h 553"/>
                <a:gd name="T16" fmla="*/ 309 w 318"/>
                <a:gd name="T17"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553">
                  <a:moveTo>
                    <a:pt x="309" y="553"/>
                  </a:moveTo>
                  <a:cubicBezTo>
                    <a:pt x="8" y="553"/>
                    <a:pt x="8" y="553"/>
                    <a:pt x="8" y="553"/>
                  </a:cubicBezTo>
                  <a:cubicBezTo>
                    <a:pt x="3" y="553"/>
                    <a:pt x="0" y="549"/>
                    <a:pt x="0" y="544"/>
                  </a:cubicBezTo>
                  <a:cubicBezTo>
                    <a:pt x="0" y="9"/>
                    <a:pt x="0" y="9"/>
                    <a:pt x="0" y="9"/>
                  </a:cubicBezTo>
                  <a:cubicBezTo>
                    <a:pt x="0" y="4"/>
                    <a:pt x="3" y="0"/>
                    <a:pt x="8" y="0"/>
                  </a:cubicBezTo>
                  <a:cubicBezTo>
                    <a:pt x="309" y="0"/>
                    <a:pt x="309" y="0"/>
                    <a:pt x="309" y="0"/>
                  </a:cubicBezTo>
                  <a:cubicBezTo>
                    <a:pt x="314" y="0"/>
                    <a:pt x="318" y="4"/>
                    <a:pt x="318" y="9"/>
                  </a:cubicBezTo>
                  <a:cubicBezTo>
                    <a:pt x="318" y="544"/>
                    <a:pt x="318" y="544"/>
                    <a:pt x="318" y="544"/>
                  </a:cubicBezTo>
                  <a:cubicBezTo>
                    <a:pt x="318" y="549"/>
                    <a:pt x="314" y="553"/>
                    <a:pt x="309" y="553"/>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2" name="Freeform 224"/>
            <p:cNvSpPr>
              <a:spLocks/>
            </p:cNvSpPr>
            <p:nvPr/>
          </p:nvSpPr>
          <p:spPr bwMode="auto">
            <a:xfrm>
              <a:off x="5813274" y="4581185"/>
              <a:ext cx="319989" cy="564974"/>
            </a:xfrm>
            <a:custGeom>
              <a:avLst/>
              <a:gdLst>
                <a:gd name="T0" fmla="*/ 2 w 305"/>
                <a:gd name="T1" fmla="*/ 0 h 539"/>
                <a:gd name="T2" fmla="*/ 0 w 305"/>
                <a:gd name="T3" fmla="*/ 2 h 539"/>
                <a:gd name="T4" fmla="*/ 0 w 305"/>
                <a:gd name="T5" fmla="*/ 537 h 539"/>
                <a:gd name="T6" fmla="*/ 2 w 305"/>
                <a:gd name="T7" fmla="*/ 539 h 539"/>
                <a:gd name="T8" fmla="*/ 303 w 305"/>
                <a:gd name="T9" fmla="*/ 539 h 539"/>
                <a:gd name="T10" fmla="*/ 305 w 305"/>
                <a:gd name="T11" fmla="*/ 537 h 539"/>
                <a:gd name="T12" fmla="*/ 305 w 305"/>
                <a:gd name="T13" fmla="*/ 2 h 539"/>
                <a:gd name="T14" fmla="*/ 303 w 305"/>
                <a:gd name="T15" fmla="*/ 0 h 539"/>
                <a:gd name="T16" fmla="*/ 2 w 305"/>
                <a:gd name="T1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539">
                  <a:moveTo>
                    <a:pt x="2" y="0"/>
                  </a:moveTo>
                  <a:cubicBezTo>
                    <a:pt x="1" y="0"/>
                    <a:pt x="0" y="1"/>
                    <a:pt x="0" y="2"/>
                  </a:cubicBezTo>
                  <a:cubicBezTo>
                    <a:pt x="0" y="537"/>
                    <a:pt x="0" y="537"/>
                    <a:pt x="0" y="537"/>
                  </a:cubicBezTo>
                  <a:cubicBezTo>
                    <a:pt x="0" y="538"/>
                    <a:pt x="1" y="539"/>
                    <a:pt x="2" y="539"/>
                  </a:cubicBezTo>
                  <a:cubicBezTo>
                    <a:pt x="303" y="539"/>
                    <a:pt x="303" y="539"/>
                    <a:pt x="303" y="539"/>
                  </a:cubicBezTo>
                  <a:cubicBezTo>
                    <a:pt x="304" y="539"/>
                    <a:pt x="305" y="538"/>
                    <a:pt x="305" y="537"/>
                  </a:cubicBezTo>
                  <a:cubicBezTo>
                    <a:pt x="305" y="2"/>
                    <a:pt x="305" y="2"/>
                    <a:pt x="305" y="2"/>
                  </a:cubicBezTo>
                  <a:cubicBezTo>
                    <a:pt x="305" y="1"/>
                    <a:pt x="304" y="0"/>
                    <a:pt x="303" y="0"/>
                  </a:cubicBezTo>
                  <a:cubicBezTo>
                    <a:pt x="2" y="0"/>
                    <a:pt x="2" y="0"/>
                    <a:pt x="2" y="0"/>
                  </a:cubicBezTo>
                  <a:close/>
                </a:path>
              </a:pathLst>
            </a:cu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3" name="Oval 225"/>
            <p:cNvSpPr>
              <a:spLocks noChangeArrowheads="1"/>
            </p:cNvSpPr>
            <p:nvPr/>
          </p:nvSpPr>
          <p:spPr bwMode="auto">
            <a:xfrm>
              <a:off x="5933104" y="5159917"/>
              <a:ext cx="81661" cy="81662"/>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4" name="Oval 226"/>
            <p:cNvSpPr>
              <a:spLocks noChangeArrowheads="1"/>
            </p:cNvSpPr>
            <p:nvPr/>
          </p:nvSpPr>
          <p:spPr bwMode="auto">
            <a:xfrm>
              <a:off x="5940205" y="5167018"/>
              <a:ext cx="67016" cy="67016"/>
            </a:xfrm>
            <a:prstGeom prst="ellipse">
              <a:avLst/>
            </a:prstGeom>
            <a:solidFill>
              <a:srgbClr val="FFFFFF"/>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5" name="Oval 227"/>
            <p:cNvSpPr>
              <a:spLocks noChangeArrowheads="1"/>
            </p:cNvSpPr>
            <p:nvPr/>
          </p:nvSpPr>
          <p:spPr bwMode="auto">
            <a:xfrm>
              <a:off x="5964614" y="4489759"/>
              <a:ext cx="18640" cy="17753"/>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36" name="Freeform 228"/>
            <p:cNvSpPr>
              <a:spLocks/>
            </p:cNvSpPr>
            <p:nvPr/>
          </p:nvSpPr>
          <p:spPr bwMode="auto">
            <a:xfrm>
              <a:off x="5940205" y="4524377"/>
              <a:ext cx="66128" cy="8432"/>
            </a:xfrm>
            <a:custGeom>
              <a:avLst/>
              <a:gdLst>
                <a:gd name="T0" fmla="*/ 63 w 63"/>
                <a:gd name="T1" fmla="*/ 4 h 8"/>
                <a:gd name="T2" fmla="*/ 58 w 63"/>
                <a:gd name="T3" fmla="*/ 8 h 8"/>
                <a:gd name="T4" fmla="*/ 5 w 63"/>
                <a:gd name="T5" fmla="*/ 8 h 8"/>
                <a:gd name="T6" fmla="*/ 0 w 63"/>
                <a:gd name="T7" fmla="*/ 4 h 8"/>
                <a:gd name="T8" fmla="*/ 5 w 63"/>
                <a:gd name="T9" fmla="*/ 0 h 8"/>
                <a:gd name="T10" fmla="*/ 58 w 63"/>
                <a:gd name="T11" fmla="*/ 0 h 8"/>
                <a:gd name="T12" fmla="*/ 63 w 63"/>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63" y="4"/>
                  </a:moveTo>
                  <a:cubicBezTo>
                    <a:pt x="63" y="7"/>
                    <a:pt x="61" y="8"/>
                    <a:pt x="58" y="8"/>
                  </a:cubicBezTo>
                  <a:cubicBezTo>
                    <a:pt x="5" y="8"/>
                    <a:pt x="5" y="8"/>
                    <a:pt x="5" y="8"/>
                  </a:cubicBezTo>
                  <a:cubicBezTo>
                    <a:pt x="2" y="8"/>
                    <a:pt x="0" y="7"/>
                    <a:pt x="0" y="4"/>
                  </a:cubicBezTo>
                  <a:cubicBezTo>
                    <a:pt x="0" y="2"/>
                    <a:pt x="2" y="0"/>
                    <a:pt x="5" y="0"/>
                  </a:cubicBezTo>
                  <a:cubicBezTo>
                    <a:pt x="58" y="0"/>
                    <a:pt x="58" y="0"/>
                    <a:pt x="58" y="0"/>
                  </a:cubicBezTo>
                  <a:cubicBezTo>
                    <a:pt x="61" y="0"/>
                    <a:pt x="63" y="2"/>
                    <a:pt x="63" y="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43" name="Group 48342"/>
          <p:cNvGrpSpPr/>
          <p:nvPr/>
        </p:nvGrpSpPr>
        <p:grpSpPr>
          <a:xfrm>
            <a:off x="6391975" y="3882421"/>
            <a:ext cx="1054173" cy="1380017"/>
            <a:chOff x="12852834" y="-1999261"/>
            <a:chExt cx="3297216" cy="4316390"/>
          </a:xfrm>
        </p:grpSpPr>
        <p:sp>
          <p:nvSpPr>
            <p:cNvPr id="48337" name="Freeform 229"/>
            <p:cNvSpPr>
              <a:spLocks/>
            </p:cNvSpPr>
            <p:nvPr/>
          </p:nvSpPr>
          <p:spPr bwMode="auto">
            <a:xfrm>
              <a:off x="12852834" y="-1999261"/>
              <a:ext cx="3297216" cy="4316390"/>
            </a:xfrm>
            <a:custGeom>
              <a:avLst/>
              <a:gdLst>
                <a:gd name="T0" fmla="*/ 58 w 879"/>
                <a:gd name="T1" fmla="*/ 0 h 1151"/>
                <a:gd name="T2" fmla="*/ 0 w 879"/>
                <a:gd name="T3" fmla="*/ 58 h 1151"/>
                <a:gd name="T4" fmla="*/ 0 w 879"/>
                <a:gd name="T5" fmla="*/ 1093 h 1151"/>
                <a:gd name="T6" fmla="*/ 58 w 879"/>
                <a:gd name="T7" fmla="*/ 1151 h 1151"/>
                <a:gd name="T8" fmla="*/ 821 w 879"/>
                <a:gd name="T9" fmla="*/ 1151 h 1151"/>
                <a:gd name="T10" fmla="*/ 879 w 879"/>
                <a:gd name="T11" fmla="*/ 1093 h 1151"/>
                <a:gd name="T12" fmla="*/ 879 w 879"/>
                <a:gd name="T13" fmla="*/ 58 h 1151"/>
                <a:gd name="T14" fmla="*/ 821 w 879"/>
                <a:gd name="T15" fmla="*/ 0 h 1151"/>
                <a:gd name="T16" fmla="*/ 58 w 879"/>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1151">
                  <a:moveTo>
                    <a:pt x="58" y="0"/>
                  </a:moveTo>
                  <a:cubicBezTo>
                    <a:pt x="26" y="0"/>
                    <a:pt x="0" y="26"/>
                    <a:pt x="0" y="58"/>
                  </a:cubicBezTo>
                  <a:cubicBezTo>
                    <a:pt x="0" y="1093"/>
                    <a:pt x="0" y="1093"/>
                    <a:pt x="0" y="1093"/>
                  </a:cubicBezTo>
                  <a:cubicBezTo>
                    <a:pt x="0" y="1125"/>
                    <a:pt x="26" y="1151"/>
                    <a:pt x="58" y="1151"/>
                  </a:cubicBezTo>
                  <a:cubicBezTo>
                    <a:pt x="821" y="1151"/>
                    <a:pt x="821" y="1151"/>
                    <a:pt x="821" y="1151"/>
                  </a:cubicBezTo>
                  <a:cubicBezTo>
                    <a:pt x="853" y="1151"/>
                    <a:pt x="879" y="1125"/>
                    <a:pt x="879" y="1093"/>
                  </a:cubicBezTo>
                  <a:cubicBezTo>
                    <a:pt x="879" y="58"/>
                    <a:pt x="879" y="58"/>
                    <a:pt x="879" y="58"/>
                  </a:cubicBezTo>
                  <a:cubicBezTo>
                    <a:pt x="879" y="26"/>
                    <a:pt x="853" y="0"/>
                    <a:pt x="821" y="0"/>
                  </a:cubicBezTo>
                  <a:cubicBezTo>
                    <a:pt x="58" y="0"/>
                    <a:pt x="58" y="0"/>
                    <a:pt x="58" y="0"/>
                  </a:cubicBez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38" name="Freeform 230"/>
            <p:cNvSpPr>
              <a:spLocks/>
            </p:cNvSpPr>
            <p:nvPr/>
          </p:nvSpPr>
          <p:spPr bwMode="auto">
            <a:xfrm>
              <a:off x="13183030" y="-1597626"/>
              <a:ext cx="2639995" cy="3516294"/>
            </a:xfrm>
            <a:custGeom>
              <a:avLst/>
              <a:gdLst>
                <a:gd name="T0" fmla="*/ 2 w 704"/>
                <a:gd name="T1" fmla="*/ 0 h 938"/>
                <a:gd name="T2" fmla="*/ 0 w 704"/>
                <a:gd name="T3" fmla="*/ 2 h 938"/>
                <a:gd name="T4" fmla="*/ 0 w 704"/>
                <a:gd name="T5" fmla="*/ 935 h 938"/>
                <a:gd name="T6" fmla="*/ 2 w 704"/>
                <a:gd name="T7" fmla="*/ 938 h 938"/>
                <a:gd name="T8" fmla="*/ 702 w 704"/>
                <a:gd name="T9" fmla="*/ 938 h 938"/>
                <a:gd name="T10" fmla="*/ 704 w 704"/>
                <a:gd name="T11" fmla="*/ 935 h 938"/>
                <a:gd name="T12" fmla="*/ 704 w 704"/>
                <a:gd name="T13" fmla="*/ 2 h 938"/>
                <a:gd name="T14" fmla="*/ 702 w 704"/>
                <a:gd name="T15" fmla="*/ 0 h 938"/>
                <a:gd name="T16" fmla="*/ 2 w 704"/>
                <a:gd name="T1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938">
                  <a:moveTo>
                    <a:pt x="2" y="0"/>
                  </a:moveTo>
                  <a:cubicBezTo>
                    <a:pt x="1" y="0"/>
                    <a:pt x="0" y="1"/>
                    <a:pt x="0" y="2"/>
                  </a:cubicBezTo>
                  <a:cubicBezTo>
                    <a:pt x="0" y="935"/>
                    <a:pt x="0" y="935"/>
                    <a:pt x="0" y="935"/>
                  </a:cubicBezTo>
                  <a:cubicBezTo>
                    <a:pt x="0" y="937"/>
                    <a:pt x="1" y="938"/>
                    <a:pt x="2" y="938"/>
                  </a:cubicBezTo>
                  <a:cubicBezTo>
                    <a:pt x="702" y="938"/>
                    <a:pt x="702" y="938"/>
                    <a:pt x="702" y="938"/>
                  </a:cubicBezTo>
                  <a:cubicBezTo>
                    <a:pt x="703" y="938"/>
                    <a:pt x="704" y="937"/>
                    <a:pt x="704" y="935"/>
                  </a:cubicBezTo>
                  <a:cubicBezTo>
                    <a:pt x="704" y="2"/>
                    <a:pt x="704" y="2"/>
                    <a:pt x="704" y="2"/>
                  </a:cubicBezTo>
                  <a:cubicBezTo>
                    <a:pt x="704" y="1"/>
                    <a:pt x="703" y="0"/>
                    <a:pt x="702" y="0"/>
                  </a:cubicBezTo>
                  <a:cubicBezTo>
                    <a:pt x="2" y="0"/>
                    <a:pt x="2" y="0"/>
                    <a:pt x="2" y="0"/>
                  </a:cubicBezTo>
                  <a:close/>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39" name="Oval 231"/>
            <p:cNvSpPr>
              <a:spLocks noChangeArrowheads="1"/>
            </p:cNvSpPr>
            <p:nvPr/>
          </p:nvSpPr>
          <p:spPr bwMode="auto">
            <a:xfrm>
              <a:off x="14405427" y="2023443"/>
              <a:ext cx="192086" cy="192086"/>
            </a:xfrm>
            <a:prstGeom prst="ellipse">
              <a:avLst/>
            </a:pr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40" name="Oval 232"/>
            <p:cNvSpPr>
              <a:spLocks noChangeArrowheads="1"/>
            </p:cNvSpPr>
            <p:nvPr/>
          </p:nvSpPr>
          <p:spPr bwMode="auto">
            <a:xfrm>
              <a:off x="14457883" y="-1853222"/>
              <a:ext cx="87312" cy="87312"/>
            </a:xfrm>
            <a:prstGeom prst="ellipse">
              <a:avLst/>
            </a:pr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7" name="Freeform 7"/>
          <p:cNvSpPr>
            <a:spLocks noEditPoints="1"/>
          </p:cNvSpPr>
          <p:nvPr/>
        </p:nvSpPr>
        <p:spPr bwMode="auto">
          <a:xfrm>
            <a:off x="5537058" y="3197736"/>
            <a:ext cx="249881" cy="406712"/>
          </a:xfrm>
          <a:custGeom>
            <a:avLst/>
            <a:gdLst>
              <a:gd name="T0" fmla="*/ 0 w 13305"/>
              <a:gd name="T1" fmla="*/ 13709 h 21655"/>
              <a:gd name="T2" fmla="*/ 1766 w 13305"/>
              <a:gd name="T3" fmla="*/ 17974 h 21655"/>
              <a:gd name="T4" fmla="*/ 5926 w 13305"/>
              <a:gd name="T5" fmla="*/ 19633 h 21655"/>
              <a:gd name="T6" fmla="*/ 5926 w 13305"/>
              <a:gd name="T7" fmla="*/ 21655 h 21655"/>
              <a:gd name="T8" fmla="*/ 7327 w 13305"/>
              <a:gd name="T9" fmla="*/ 21655 h 21655"/>
              <a:gd name="T10" fmla="*/ 7327 w 13305"/>
              <a:gd name="T11" fmla="*/ 19633 h 21655"/>
              <a:gd name="T12" fmla="*/ 10975 w 13305"/>
              <a:gd name="T13" fmla="*/ 18508 h 21655"/>
              <a:gd name="T14" fmla="*/ 12787 w 13305"/>
              <a:gd name="T15" fmla="*/ 16484 h 21655"/>
              <a:gd name="T16" fmla="*/ 13277 w 13305"/>
              <a:gd name="T17" fmla="*/ 14661 h 21655"/>
              <a:gd name="T18" fmla="*/ 13086 w 13305"/>
              <a:gd name="T19" fmla="*/ 12810 h 21655"/>
              <a:gd name="T20" fmla="*/ 11843 w 13305"/>
              <a:gd name="T21" fmla="*/ 10798 h 21655"/>
              <a:gd name="T22" fmla="*/ 8542 w 13305"/>
              <a:gd name="T23" fmla="*/ 9155 h 21655"/>
              <a:gd name="T24" fmla="*/ 7327 w 13305"/>
              <a:gd name="T25" fmla="*/ 8847 h 21655"/>
              <a:gd name="T26" fmla="*/ 7327 w 13305"/>
              <a:gd name="T27" fmla="*/ 4614 h 21655"/>
              <a:gd name="T28" fmla="*/ 8709 w 13305"/>
              <a:gd name="T29" fmla="*/ 5292 h 21655"/>
              <a:gd name="T30" fmla="*/ 9305 w 13305"/>
              <a:gd name="T31" fmla="*/ 6926 h 21655"/>
              <a:gd name="T32" fmla="*/ 12683 w 13305"/>
              <a:gd name="T33" fmla="*/ 6926 h 21655"/>
              <a:gd name="T34" fmla="*/ 10997 w 13305"/>
              <a:gd name="T35" fmla="*/ 3245 h 21655"/>
              <a:gd name="T36" fmla="*/ 7327 w 13305"/>
              <a:gd name="T37" fmla="*/ 1833 h 21655"/>
              <a:gd name="T38" fmla="*/ 7327 w 13305"/>
              <a:gd name="T39" fmla="*/ 0 h 21655"/>
              <a:gd name="T40" fmla="*/ 5926 w 13305"/>
              <a:gd name="T41" fmla="*/ 0 h 21655"/>
              <a:gd name="T42" fmla="*/ 5926 w 13305"/>
              <a:gd name="T43" fmla="*/ 1833 h 21655"/>
              <a:gd name="T44" fmla="*/ 3224 w 13305"/>
              <a:gd name="T45" fmla="*/ 2514 h 21655"/>
              <a:gd name="T46" fmla="*/ 1201 w 13305"/>
              <a:gd name="T47" fmla="*/ 4205 h 21655"/>
              <a:gd name="T48" fmla="*/ 404 w 13305"/>
              <a:gd name="T49" fmla="*/ 6950 h 21655"/>
              <a:gd name="T50" fmla="*/ 1109 w 13305"/>
              <a:gd name="T51" fmla="*/ 9438 h 21655"/>
              <a:gd name="T52" fmla="*/ 2871 w 13305"/>
              <a:gd name="T53" fmla="*/ 10873 h 21655"/>
              <a:gd name="T54" fmla="*/ 5163 w 13305"/>
              <a:gd name="T55" fmla="*/ 11669 h 21655"/>
              <a:gd name="T56" fmla="*/ 5598 w 13305"/>
              <a:gd name="T57" fmla="*/ 11776 h 21655"/>
              <a:gd name="T58" fmla="*/ 5926 w 13305"/>
              <a:gd name="T59" fmla="*/ 11883 h 21655"/>
              <a:gd name="T60" fmla="*/ 5926 w 13305"/>
              <a:gd name="T61" fmla="*/ 16850 h 21655"/>
              <a:gd name="T62" fmla="*/ 4097 w 13305"/>
              <a:gd name="T63" fmla="*/ 15841 h 21655"/>
              <a:gd name="T64" fmla="*/ 3376 w 13305"/>
              <a:gd name="T65" fmla="*/ 13709 h 21655"/>
              <a:gd name="T66" fmla="*/ 0 w 13305"/>
              <a:gd name="T67" fmla="*/ 13709 h 21655"/>
              <a:gd name="T68" fmla="*/ 5926 w 13305"/>
              <a:gd name="T69" fmla="*/ 8515 h 21655"/>
              <a:gd name="T70" fmla="*/ 4282 w 13305"/>
              <a:gd name="T71" fmla="*/ 7824 h 21655"/>
              <a:gd name="T72" fmla="*/ 3781 w 13305"/>
              <a:gd name="T73" fmla="*/ 6613 h 21655"/>
              <a:gd name="T74" fmla="*/ 4452 w 13305"/>
              <a:gd name="T75" fmla="*/ 5108 h 21655"/>
              <a:gd name="T76" fmla="*/ 5926 w 13305"/>
              <a:gd name="T77" fmla="*/ 4614 h 21655"/>
              <a:gd name="T78" fmla="*/ 5926 w 13305"/>
              <a:gd name="T79" fmla="*/ 8515 h 21655"/>
              <a:gd name="T80" fmla="*/ 7327 w 13305"/>
              <a:gd name="T81" fmla="*/ 16850 h 21655"/>
              <a:gd name="T82" fmla="*/ 7327 w 13305"/>
              <a:gd name="T83" fmla="*/ 12286 h 21655"/>
              <a:gd name="T84" fmla="*/ 9320 w 13305"/>
              <a:gd name="T85" fmla="*/ 13125 h 21655"/>
              <a:gd name="T86" fmla="*/ 9901 w 13305"/>
              <a:gd name="T87" fmla="*/ 14518 h 21655"/>
              <a:gd name="T88" fmla="*/ 9052 w 13305"/>
              <a:gd name="T89" fmla="*/ 16210 h 21655"/>
              <a:gd name="T90" fmla="*/ 7327 w 13305"/>
              <a:gd name="T91" fmla="*/ 16850 h 2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05" h="21655">
                <a:moveTo>
                  <a:pt x="0" y="13709"/>
                </a:moveTo>
                <a:cubicBezTo>
                  <a:pt x="181" y="15574"/>
                  <a:pt x="770" y="16995"/>
                  <a:pt x="1766" y="17974"/>
                </a:cubicBezTo>
                <a:cubicBezTo>
                  <a:pt x="2762" y="18952"/>
                  <a:pt x="4149" y="19505"/>
                  <a:pt x="5926" y="19633"/>
                </a:cubicBezTo>
                <a:lnTo>
                  <a:pt x="5926" y="21655"/>
                </a:lnTo>
                <a:lnTo>
                  <a:pt x="7327" y="21655"/>
                </a:lnTo>
                <a:lnTo>
                  <a:pt x="7327" y="19633"/>
                </a:lnTo>
                <a:cubicBezTo>
                  <a:pt x="8892" y="19499"/>
                  <a:pt x="10108" y="19124"/>
                  <a:pt x="10975" y="18508"/>
                </a:cubicBezTo>
                <a:cubicBezTo>
                  <a:pt x="11842" y="17891"/>
                  <a:pt x="12446" y="17217"/>
                  <a:pt x="12787" y="16484"/>
                </a:cubicBezTo>
                <a:cubicBezTo>
                  <a:pt x="13128" y="15751"/>
                  <a:pt x="13291" y="15143"/>
                  <a:pt x="13277" y="14661"/>
                </a:cubicBezTo>
                <a:cubicBezTo>
                  <a:pt x="13305" y="14115"/>
                  <a:pt x="13241" y="13499"/>
                  <a:pt x="13086" y="12810"/>
                </a:cubicBezTo>
                <a:cubicBezTo>
                  <a:pt x="12931" y="12122"/>
                  <a:pt x="12516" y="11452"/>
                  <a:pt x="11843" y="10798"/>
                </a:cubicBezTo>
                <a:cubicBezTo>
                  <a:pt x="11169" y="10145"/>
                  <a:pt x="10069" y="9597"/>
                  <a:pt x="8542" y="9155"/>
                </a:cubicBezTo>
                <a:lnTo>
                  <a:pt x="7327" y="8847"/>
                </a:lnTo>
                <a:lnTo>
                  <a:pt x="7327" y="4614"/>
                </a:lnTo>
                <a:cubicBezTo>
                  <a:pt x="7877" y="4631"/>
                  <a:pt x="8338" y="4857"/>
                  <a:pt x="8709" y="5292"/>
                </a:cubicBezTo>
                <a:cubicBezTo>
                  <a:pt x="9080" y="5727"/>
                  <a:pt x="9279" y="6271"/>
                  <a:pt x="9305" y="6926"/>
                </a:cubicBezTo>
                <a:lnTo>
                  <a:pt x="12683" y="6926"/>
                </a:lnTo>
                <a:cubicBezTo>
                  <a:pt x="12553" y="5275"/>
                  <a:pt x="11991" y="4048"/>
                  <a:pt x="10997" y="3245"/>
                </a:cubicBezTo>
                <a:cubicBezTo>
                  <a:pt x="10002" y="2443"/>
                  <a:pt x="8779" y="1972"/>
                  <a:pt x="7327" y="1833"/>
                </a:cubicBezTo>
                <a:lnTo>
                  <a:pt x="7327" y="0"/>
                </a:lnTo>
                <a:lnTo>
                  <a:pt x="5926" y="0"/>
                </a:lnTo>
                <a:lnTo>
                  <a:pt x="5926" y="1833"/>
                </a:lnTo>
                <a:cubicBezTo>
                  <a:pt x="4958" y="1895"/>
                  <a:pt x="4057" y="2122"/>
                  <a:pt x="3224" y="2514"/>
                </a:cubicBezTo>
                <a:cubicBezTo>
                  <a:pt x="2391" y="2905"/>
                  <a:pt x="1716" y="3469"/>
                  <a:pt x="1201" y="4205"/>
                </a:cubicBezTo>
                <a:cubicBezTo>
                  <a:pt x="685" y="4941"/>
                  <a:pt x="420" y="5856"/>
                  <a:pt x="404" y="6950"/>
                </a:cubicBezTo>
                <a:cubicBezTo>
                  <a:pt x="419" y="7990"/>
                  <a:pt x="654" y="8819"/>
                  <a:pt x="1109" y="9438"/>
                </a:cubicBezTo>
                <a:cubicBezTo>
                  <a:pt x="1564" y="10057"/>
                  <a:pt x="2152" y="10536"/>
                  <a:pt x="2871" y="10873"/>
                </a:cubicBezTo>
                <a:cubicBezTo>
                  <a:pt x="3591" y="11210"/>
                  <a:pt x="4355" y="11475"/>
                  <a:pt x="5163" y="11669"/>
                </a:cubicBezTo>
                <a:cubicBezTo>
                  <a:pt x="5320" y="11705"/>
                  <a:pt x="5465" y="11741"/>
                  <a:pt x="5598" y="11776"/>
                </a:cubicBezTo>
                <a:cubicBezTo>
                  <a:pt x="5731" y="11812"/>
                  <a:pt x="5841" y="11847"/>
                  <a:pt x="5926" y="11883"/>
                </a:cubicBezTo>
                <a:lnTo>
                  <a:pt x="5926" y="16850"/>
                </a:lnTo>
                <a:cubicBezTo>
                  <a:pt x="5182" y="16705"/>
                  <a:pt x="4573" y="16369"/>
                  <a:pt x="4097" y="15841"/>
                </a:cubicBezTo>
                <a:cubicBezTo>
                  <a:pt x="3622" y="15314"/>
                  <a:pt x="3381" y="14603"/>
                  <a:pt x="3376" y="13709"/>
                </a:cubicBezTo>
                <a:lnTo>
                  <a:pt x="0" y="13709"/>
                </a:lnTo>
                <a:close/>
                <a:moveTo>
                  <a:pt x="5926" y="8515"/>
                </a:moveTo>
                <a:cubicBezTo>
                  <a:pt x="5169" y="8346"/>
                  <a:pt x="4621" y="8115"/>
                  <a:pt x="4282" y="7824"/>
                </a:cubicBezTo>
                <a:cubicBezTo>
                  <a:pt x="3942" y="7532"/>
                  <a:pt x="3775" y="7129"/>
                  <a:pt x="3781" y="6613"/>
                </a:cubicBezTo>
                <a:cubicBezTo>
                  <a:pt x="3804" y="5940"/>
                  <a:pt x="4027" y="5438"/>
                  <a:pt x="4452" y="5108"/>
                </a:cubicBezTo>
                <a:cubicBezTo>
                  <a:pt x="4876" y="4778"/>
                  <a:pt x="5367" y="4613"/>
                  <a:pt x="5926" y="4614"/>
                </a:cubicBezTo>
                <a:lnTo>
                  <a:pt x="5926" y="8515"/>
                </a:lnTo>
                <a:close/>
                <a:moveTo>
                  <a:pt x="7327" y="16850"/>
                </a:moveTo>
                <a:lnTo>
                  <a:pt x="7327" y="12286"/>
                </a:lnTo>
                <a:cubicBezTo>
                  <a:pt x="8258" y="12520"/>
                  <a:pt x="8922" y="12799"/>
                  <a:pt x="9320" y="13125"/>
                </a:cubicBezTo>
                <a:cubicBezTo>
                  <a:pt x="9717" y="13451"/>
                  <a:pt x="9911" y="13915"/>
                  <a:pt x="9901" y="14518"/>
                </a:cubicBezTo>
                <a:cubicBezTo>
                  <a:pt x="9866" y="15274"/>
                  <a:pt x="9583" y="15838"/>
                  <a:pt x="9052" y="16210"/>
                </a:cubicBezTo>
                <a:cubicBezTo>
                  <a:pt x="8520" y="16582"/>
                  <a:pt x="7945" y="16795"/>
                  <a:pt x="7327" y="1685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48261" name="Group 48260"/>
          <p:cNvGrpSpPr/>
          <p:nvPr/>
        </p:nvGrpSpPr>
        <p:grpSpPr>
          <a:xfrm>
            <a:off x="5579248" y="4089180"/>
            <a:ext cx="540924" cy="178703"/>
            <a:chOff x="-3020566" y="1757755"/>
            <a:chExt cx="2856314" cy="943629"/>
          </a:xfrm>
        </p:grpSpPr>
        <p:sp>
          <p:nvSpPr>
            <p:cNvPr id="8" name="Pentagon 7"/>
            <p:cNvSpPr/>
            <p:nvPr/>
          </p:nvSpPr>
          <p:spPr bwMode="gray">
            <a:xfrm rot="18900000">
              <a:off x="-2489064" y="1757755"/>
              <a:ext cx="2324812" cy="822592"/>
            </a:xfrm>
            <a:custGeom>
              <a:avLst/>
              <a:gdLst/>
              <a:ahLst/>
              <a:cxnLst/>
              <a:rect l="l" t="t" r="r" b="b"/>
              <a:pathLst>
                <a:path w="2324812" h="822592">
                  <a:moveTo>
                    <a:pt x="1913516" y="0"/>
                  </a:moveTo>
                  <a:lnTo>
                    <a:pt x="2324812" y="411296"/>
                  </a:lnTo>
                  <a:lnTo>
                    <a:pt x="1913516" y="822592"/>
                  </a:lnTo>
                  <a:lnTo>
                    <a:pt x="822592" y="822592"/>
                  </a:lnTo>
                  <a:lnTo>
                    <a:pt x="0" y="0"/>
                  </a:lnTo>
                  <a:close/>
                </a:path>
              </a:pathLst>
            </a:cu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cxnSp>
          <p:nvCxnSpPr>
            <p:cNvPr id="11" name="Straight Connector 10"/>
            <p:cNvCxnSpPr/>
            <p:nvPr/>
          </p:nvCxnSpPr>
          <p:spPr bwMode="gray">
            <a:xfrm>
              <a:off x="-3020566" y="2701384"/>
              <a:ext cx="280668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8262" name="Group 48261"/>
          <p:cNvGrpSpPr/>
          <p:nvPr/>
        </p:nvGrpSpPr>
        <p:grpSpPr>
          <a:xfrm>
            <a:off x="2870212" y="3852237"/>
            <a:ext cx="170833" cy="476863"/>
            <a:chOff x="-1049651" y="2216707"/>
            <a:chExt cx="170833" cy="476863"/>
          </a:xfrm>
        </p:grpSpPr>
        <p:sp>
          <p:nvSpPr>
            <p:cNvPr id="598" name="Freeform 7"/>
            <p:cNvSpPr>
              <a:spLocks/>
            </p:cNvSpPr>
            <p:nvPr/>
          </p:nvSpPr>
          <p:spPr bwMode="auto">
            <a:xfrm>
              <a:off x="-1049651" y="2343199"/>
              <a:ext cx="170833" cy="350371"/>
            </a:xfrm>
            <a:custGeom>
              <a:avLst/>
              <a:gdLst>
                <a:gd name="T0" fmla="*/ 113 w 628"/>
                <a:gd name="T1" fmla="*/ 0 h 1288"/>
                <a:gd name="T2" fmla="*/ 0 w 628"/>
                <a:gd name="T3" fmla="*/ 114 h 1288"/>
                <a:gd name="T4" fmla="*/ 26 w 628"/>
                <a:gd name="T5" fmla="*/ 560 h 1288"/>
                <a:gd name="T6" fmla="*/ 146 w 628"/>
                <a:gd name="T7" fmla="*/ 681 h 1288"/>
                <a:gd name="T8" fmla="*/ 146 w 628"/>
                <a:gd name="T9" fmla="*/ 1238 h 1288"/>
                <a:gd name="T10" fmla="*/ 196 w 628"/>
                <a:gd name="T11" fmla="*/ 1288 h 1288"/>
                <a:gd name="T12" fmla="*/ 432 w 628"/>
                <a:gd name="T13" fmla="*/ 1288 h 1288"/>
                <a:gd name="T14" fmla="*/ 482 w 628"/>
                <a:gd name="T15" fmla="*/ 1238 h 1288"/>
                <a:gd name="T16" fmla="*/ 482 w 628"/>
                <a:gd name="T17" fmla="*/ 681 h 1288"/>
                <a:gd name="T18" fmla="*/ 602 w 628"/>
                <a:gd name="T19" fmla="*/ 560 h 1288"/>
                <a:gd name="T20" fmla="*/ 628 w 628"/>
                <a:gd name="T21" fmla="*/ 114 h 1288"/>
                <a:gd name="T22" fmla="*/ 515 w 628"/>
                <a:gd name="T23" fmla="*/ 0 h 1288"/>
                <a:gd name="T24" fmla="*/ 113 w 628"/>
                <a:gd name="T25"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1288">
                  <a:moveTo>
                    <a:pt x="113" y="0"/>
                  </a:moveTo>
                  <a:lnTo>
                    <a:pt x="0" y="114"/>
                  </a:lnTo>
                  <a:lnTo>
                    <a:pt x="26" y="560"/>
                  </a:lnTo>
                  <a:lnTo>
                    <a:pt x="146" y="681"/>
                  </a:lnTo>
                  <a:lnTo>
                    <a:pt x="146" y="1238"/>
                  </a:lnTo>
                  <a:lnTo>
                    <a:pt x="196" y="1288"/>
                  </a:lnTo>
                  <a:lnTo>
                    <a:pt x="432" y="1288"/>
                  </a:lnTo>
                  <a:lnTo>
                    <a:pt x="482" y="1238"/>
                  </a:lnTo>
                  <a:lnTo>
                    <a:pt x="482" y="681"/>
                  </a:lnTo>
                  <a:lnTo>
                    <a:pt x="602" y="560"/>
                  </a:lnTo>
                  <a:lnTo>
                    <a:pt x="628" y="114"/>
                  </a:lnTo>
                  <a:lnTo>
                    <a:pt x="515" y="0"/>
                  </a:lnTo>
                  <a:lnTo>
                    <a:pt x="113"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99" name="Oval 8"/>
            <p:cNvSpPr>
              <a:spLocks noChangeArrowheads="1"/>
            </p:cNvSpPr>
            <p:nvPr/>
          </p:nvSpPr>
          <p:spPr bwMode="auto">
            <a:xfrm>
              <a:off x="-1018096" y="2216707"/>
              <a:ext cx="107723"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66" name="Group 48265"/>
          <p:cNvGrpSpPr/>
          <p:nvPr/>
        </p:nvGrpSpPr>
        <p:grpSpPr>
          <a:xfrm>
            <a:off x="1764846" y="3852237"/>
            <a:ext cx="170289" cy="476863"/>
            <a:chOff x="-1570371" y="2216707"/>
            <a:chExt cx="170289" cy="476863"/>
          </a:xfrm>
        </p:grpSpPr>
        <p:sp>
          <p:nvSpPr>
            <p:cNvPr id="603" name="Oval 12"/>
            <p:cNvSpPr>
              <a:spLocks noChangeArrowheads="1"/>
            </p:cNvSpPr>
            <p:nvPr/>
          </p:nvSpPr>
          <p:spPr bwMode="auto">
            <a:xfrm>
              <a:off x="-1539360"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4" name="Freeform 13"/>
            <p:cNvSpPr>
              <a:spLocks/>
            </p:cNvSpPr>
            <p:nvPr/>
          </p:nvSpPr>
          <p:spPr bwMode="auto">
            <a:xfrm>
              <a:off x="-1570371" y="2343199"/>
              <a:ext cx="170289" cy="350371"/>
            </a:xfrm>
            <a:custGeom>
              <a:avLst/>
              <a:gdLst>
                <a:gd name="T0" fmla="*/ 244 w 626"/>
                <a:gd name="T1" fmla="*/ 0 h 1288"/>
                <a:gd name="T2" fmla="*/ 111 w 626"/>
                <a:gd name="T3" fmla="*/ 0 h 1288"/>
                <a:gd name="T4" fmla="*/ 0 w 626"/>
                <a:gd name="T5" fmla="*/ 114 h 1288"/>
                <a:gd name="T6" fmla="*/ 24 w 626"/>
                <a:gd name="T7" fmla="*/ 560 h 1288"/>
                <a:gd name="T8" fmla="*/ 144 w 626"/>
                <a:gd name="T9" fmla="*/ 681 h 1288"/>
                <a:gd name="T10" fmla="*/ 144 w 626"/>
                <a:gd name="T11" fmla="*/ 1238 h 1288"/>
                <a:gd name="T12" fmla="*/ 194 w 626"/>
                <a:gd name="T13" fmla="*/ 1288 h 1288"/>
                <a:gd name="T14" fmla="*/ 430 w 626"/>
                <a:gd name="T15" fmla="*/ 1288 h 1288"/>
                <a:gd name="T16" fmla="*/ 482 w 626"/>
                <a:gd name="T17" fmla="*/ 1238 h 1288"/>
                <a:gd name="T18" fmla="*/ 482 w 626"/>
                <a:gd name="T19" fmla="*/ 681 h 1288"/>
                <a:gd name="T20" fmla="*/ 600 w 626"/>
                <a:gd name="T21" fmla="*/ 560 h 1288"/>
                <a:gd name="T22" fmla="*/ 626 w 626"/>
                <a:gd name="T23" fmla="*/ 114 h 1288"/>
                <a:gd name="T24" fmla="*/ 513 w 626"/>
                <a:gd name="T25" fmla="*/ 0 h 1288"/>
                <a:gd name="T26" fmla="*/ 383 w 626"/>
                <a:gd name="T27" fmla="*/ 0 h 1288"/>
                <a:gd name="T28" fmla="*/ 244 w 626"/>
                <a:gd name="T29" fmla="*/ 0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1288">
                  <a:moveTo>
                    <a:pt x="244" y="0"/>
                  </a:moveTo>
                  <a:lnTo>
                    <a:pt x="111" y="0"/>
                  </a:lnTo>
                  <a:lnTo>
                    <a:pt x="0" y="114"/>
                  </a:lnTo>
                  <a:lnTo>
                    <a:pt x="24" y="560"/>
                  </a:lnTo>
                  <a:lnTo>
                    <a:pt x="144" y="681"/>
                  </a:lnTo>
                  <a:lnTo>
                    <a:pt x="144" y="1238"/>
                  </a:lnTo>
                  <a:lnTo>
                    <a:pt x="194" y="1288"/>
                  </a:lnTo>
                  <a:lnTo>
                    <a:pt x="430" y="1288"/>
                  </a:lnTo>
                  <a:lnTo>
                    <a:pt x="482" y="1238"/>
                  </a:lnTo>
                  <a:lnTo>
                    <a:pt x="482" y="681"/>
                  </a:lnTo>
                  <a:lnTo>
                    <a:pt x="600" y="560"/>
                  </a:lnTo>
                  <a:lnTo>
                    <a:pt x="626" y="114"/>
                  </a:lnTo>
                  <a:lnTo>
                    <a:pt x="513" y="0"/>
                  </a:lnTo>
                  <a:lnTo>
                    <a:pt x="383" y="0"/>
                  </a:lnTo>
                  <a:lnTo>
                    <a:pt x="244"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5" name="Freeform 14"/>
            <p:cNvSpPr>
              <a:spLocks/>
            </p:cNvSpPr>
            <p:nvPr/>
          </p:nvSpPr>
          <p:spPr bwMode="auto">
            <a:xfrm>
              <a:off x="-1503996" y="2343199"/>
              <a:ext cx="37812" cy="117788"/>
            </a:xfrm>
            <a:custGeom>
              <a:avLst/>
              <a:gdLst>
                <a:gd name="T0" fmla="*/ 139 w 139"/>
                <a:gd name="T1" fmla="*/ 0 h 433"/>
                <a:gd name="T2" fmla="*/ 101 w 139"/>
                <a:gd name="T3" fmla="*/ 69 h 433"/>
                <a:gd name="T4" fmla="*/ 137 w 139"/>
                <a:gd name="T5" fmla="*/ 364 h 433"/>
                <a:gd name="T6" fmla="*/ 68 w 139"/>
                <a:gd name="T7" fmla="*/ 433 h 433"/>
                <a:gd name="T8" fmla="*/ 2 w 139"/>
                <a:gd name="T9" fmla="*/ 364 h 433"/>
                <a:gd name="T10" fmla="*/ 37 w 139"/>
                <a:gd name="T11" fmla="*/ 69 h 433"/>
                <a:gd name="T12" fmla="*/ 0 w 139"/>
                <a:gd name="T13" fmla="*/ 0 h 433"/>
              </a:gdLst>
              <a:ahLst/>
              <a:cxnLst>
                <a:cxn ang="0">
                  <a:pos x="T0" y="T1"/>
                </a:cxn>
                <a:cxn ang="0">
                  <a:pos x="T2" y="T3"/>
                </a:cxn>
                <a:cxn ang="0">
                  <a:pos x="T4" y="T5"/>
                </a:cxn>
                <a:cxn ang="0">
                  <a:pos x="T6" y="T7"/>
                </a:cxn>
                <a:cxn ang="0">
                  <a:pos x="T8" y="T9"/>
                </a:cxn>
                <a:cxn ang="0">
                  <a:pos x="T10" y="T11"/>
                </a:cxn>
                <a:cxn ang="0">
                  <a:pos x="T12" y="T13"/>
                </a:cxn>
              </a:cxnLst>
              <a:rect l="0" t="0" r="r" b="b"/>
              <a:pathLst>
                <a:path w="139" h="433">
                  <a:moveTo>
                    <a:pt x="139" y="0"/>
                  </a:moveTo>
                  <a:lnTo>
                    <a:pt x="101" y="69"/>
                  </a:lnTo>
                  <a:lnTo>
                    <a:pt x="137" y="364"/>
                  </a:lnTo>
                  <a:lnTo>
                    <a:pt x="68" y="433"/>
                  </a:lnTo>
                  <a:lnTo>
                    <a:pt x="2" y="364"/>
                  </a:lnTo>
                  <a:lnTo>
                    <a:pt x="37" y="69"/>
                  </a:lnTo>
                  <a:lnTo>
                    <a:pt x="0" y="0"/>
                  </a:lnTo>
                </a:path>
              </a:pathLst>
            </a:custGeom>
            <a:noFill/>
            <a:ln w="63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70" name="Group 48269"/>
          <p:cNvGrpSpPr/>
          <p:nvPr/>
        </p:nvGrpSpPr>
        <p:grpSpPr>
          <a:xfrm>
            <a:off x="2308731" y="3852237"/>
            <a:ext cx="182530" cy="476863"/>
            <a:chOff x="-1428373" y="2216707"/>
            <a:chExt cx="182530" cy="476863"/>
          </a:xfrm>
        </p:grpSpPr>
        <p:sp>
          <p:nvSpPr>
            <p:cNvPr id="601" name="Oval 10"/>
            <p:cNvSpPr>
              <a:spLocks noChangeArrowheads="1"/>
            </p:cNvSpPr>
            <p:nvPr/>
          </p:nvSpPr>
          <p:spPr bwMode="auto">
            <a:xfrm>
              <a:off x="-1391649" y="2216707"/>
              <a:ext cx="108539" cy="108539"/>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2" name="Freeform 11"/>
            <p:cNvSpPr>
              <a:spLocks/>
            </p:cNvSpPr>
            <p:nvPr/>
          </p:nvSpPr>
          <p:spPr bwMode="auto">
            <a:xfrm>
              <a:off x="-1428373" y="2343199"/>
              <a:ext cx="182530" cy="350371"/>
            </a:xfrm>
            <a:custGeom>
              <a:avLst/>
              <a:gdLst>
                <a:gd name="T0" fmla="*/ 532 w 671"/>
                <a:gd name="T1" fmla="*/ 548 h 1288"/>
                <a:gd name="T2" fmla="*/ 629 w 671"/>
                <a:gd name="T3" fmla="*/ 395 h 1288"/>
                <a:gd name="T4" fmla="*/ 501 w 671"/>
                <a:gd name="T5" fmla="*/ 0 h 1288"/>
                <a:gd name="T6" fmla="*/ 404 w 671"/>
                <a:gd name="T7" fmla="*/ 0 h 1288"/>
                <a:gd name="T8" fmla="*/ 336 w 671"/>
                <a:gd name="T9" fmla="*/ 128 h 1288"/>
                <a:gd name="T10" fmla="*/ 265 w 671"/>
                <a:gd name="T11" fmla="*/ 0 h 1288"/>
                <a:gd name="T12" fmla="*/ 168 w 671"/>
                <a:gd name="T13" fmla="*/ 0 h 1288"/>
                <a:gd name="T14" fmla="*/ 41 w 671"/>
                <a:gd name="T15" fmla="*/ 395 h 1288"/>
                <a:gd name="T16" fmla="*/ 137 w 671"/>
                <a:gd name="T17" fmla="*/ 548 h 1288"/>
                <a:gd name="T18" fmla="*/ 0 w 671"/>
                <a:gd name="T19" fmla="*/ 971 h 1288"/>
                <a:gd name="T20" fmla="*/ 182 w 671"/>
                <a:gd name="T21" fmla="*/ 971 h 1288"/>
                <a:gd name="T22" fmla="*/ 244 w 671"/>
                <a:gd name="T23" fmla="*/ 1288 h 1288"/>
                <a:gd name="T24" fmla="*/ 426 w 671"/>
                <a:gd name="T25" fmla="*/ 1288 h 1288"/>
                <a:gd name="T26" fmla="*/ 487 w 671"/>
                <a:gd name="T27" fmla="*/ 971 h 1288"/>
                <a:gd name="T28" fmla="*/ 671 w 671"/>
                <a:gd name="T29" fmla="*/ 971 h 1288"/>
                <a:gd name="T30" fmla="*/ 532 w 671"/>
                <a:gd name="T31" fmla="*/ 54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1" h="1288">
                  <a:moveTo>
                    <a:pt x="532" y="548"/>
                  </a:moveTo>
                  <a:lnTo>
                    <a:pt x="629" y="395"/>
                  </a:lnTo>
                  <a:lnTo>
                    <a:pt x="501" y="0"/>
                  </a:lnTo>
                  <a:lnTo>
                    <a:pt x="404" y="0"/>
                  </a:lnTo>
                  <a:lnTo>
                    <a:pt x="336" y="128"/>
                  </a:lnTo>
                  <a:lnTo>
                    <a:pt x="265" y="0"/>
                  </a:lnTo>
                  <a:lnTo>
                    <a:pt x="168" y="0"/>
                  </a:lnTo>
                  <a:lnTo>
                    <a:pt x="41" y="395"/>
                  </a:lnTo>
                  <a:lnTo>
                    <a:pt x="137" y="548"/>
                  </a:lnTo>
                  <a:lnTo>
                    <a:pt x="0" y="971"/>
                  </a:lnTo>
                  <a:lnTo>
                    <a:pt x="182" y="971"/>
                  </a:lnTo>
                  <a:lnTo>
                    <a:pt x="244" y="1288"/>
                  </a:lnTo>
                  <a:lnTo>
                    <a:pt x="426" y="1288"/>
                  </a:lnTo>
                  <a:lnTo>
                    <a:pt x="487" y="971"/>
                  </a:lnTo>
                  <a:lnTo>
                    <a:pt x="671" y="971"/>
                  </a:lnTo>
                  <a:lnTo>
                    <a:pt x="532" y="548"/>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06" name="Line 15"/>
            <p:cNvSpPr>
              <a:spLocks noChangeShapeType="1"/>
            </p:cNvSpPr>
            <p:nvPr/>
          </p:nvSpPr>
          <p:spPr bwMode="auto">
            <a:xfrm>
              <a:off x="-1378864" y="2604889"/>
              <a:ext cx="82968" cy="0"/>
            </a:xfrm>
            <a:prstGeom prst="line">
              <a:avLst/>
            </a:prstGeom>
            <a:noFill/>
            <a:ln w="1270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283" name="Group 48282"/>
          <p:cNvGrpSpPr/>
          <p:nvPr/>
        </p:nvGrpSpPr>
        <p:grpSpPr>
          <a:xfrm>
            <a:off x="6012084" y="3197192"/>
            <a:ext cx="327607" cy="380587"/>
            <a:chOff x="8024813" y="661988"/>
            <a:chExt cx="3367087" cy="3911601"/>
          </a:xfrm>
          <a:solidFill>
            <a:schemeClr val="bg1"/>
          </a:solidFill>
        </p:grpSpPr>
        <p:sp>
          <p:nvSpPr>
            <p:cNvPr id="48279" name="Rectangle 14"/>
            <p:cNvSpPr>
              <a:spLocks noChangeArrowheads="1"/>
            </p:cNvSpPr>
            <p:nvPr/>
          </p:nvSpPr>
          <p:spPr bwMode="auto">
            <a:xfrm>
              <a:off x="9456738" y="661988"/>
              <a:ext cx="503237" cy="1930400"/>
            </a:xfrm>
            <a:prstGeom prst="rect">
              <a:avLst/>
            </a:prstGeom>
            <a:grp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80" name="Freeform 15"/>
            <p:cNvSpPr>
              <a:spLocks/>
            </p:cNvSpPr>
            <p:nvPr/>
          </p:nvSpPr>
          <p:spPr bwMode="auto">
            <a:xfrm>
              <a:off x="8024813" y="1276351"/>
              <a:ext cx="3367087" cy="3297238"/>
            </a:xfrm>
            <a:custGeom>
              <a:avLst/>
              <a:gdLst>
                <a:gd name="T0" fmla="*/ 578 w 898"/>
                <a:gd name="T1" fmla="*/ 0 h 879"/>
                <a:gd name="T2" fmla="*/ 578 w 898"/>
                <a:gd name="T3" fmla="*/ 193 h 879"/>
                <a:gd name="T4" fmla="*/ 719 w 898"/>
                <a:gd name="T5" fmla="*/ 430 h 879"/>
                <a:gd name="T6" fmla="*/ 449 w 898"/>
                <a:gd name="T7" fmla="*/ 699 h 879"/>
                <a:gd name="T8" fmla="*/ 180 w 898"/>
                <a:gd name="T9" fmla="*/ 430 h 879"/>
                <a:gd name="T10" fmla="*/ 320 w 898"/>
                <a:gd name="T11" fmla="*/ 193 h 879"/>
                <a:gd name="T12" fmla="*/ 320 w 898"/>
                <a:gd name="T13" fmla="*/ 0 h 879"/>
                <a:gd name="T14" fmla="*/ 0 w 898"/>
                <a:gd name="T15" fmla="*/ 430 h 879"/>
                <a:gd name="T16" fmla="*/ 449 w 898"/>
                <a:gd name="T17" fmla="*/ 879 h 879"/>
                <a:gd name="T18" fmla="*/ 898 w 898"/>
                <a:gd name="T19" fmla="*/ 430 h 879"/>
                <a:gd name="T20" fmla="*/ 578 w 898"/>
                <a:gd name="T21"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8" h="879">
                  <a:moveTo>
                    <a:pt x="578" y="0"/>
                  </a:moveTo>
                  <a:cubicBezTo>
                    <a:pt x="578" y="193"/>
                    <a:pt x="578" y="193"/>
                    <a:pt x="578" y="193"/>
                  </a:cubicBezTo>
                  <a:cubicBezTo>
                    <a:pt x="662" y="239"/>
                    <a:pt x="719" y="328"/>
                    <a:pt x="719" y="430"/>
                  </a:cubicBezTo>
                  <a:cubicBezTo>
                    <a:pt x="719" y="579"/>
                    <a:pt x="598" y="699"/>
                    <a:pt x="449" y="699"/>
                  </a:cubicBezTo>
                  <a:cubicBezTo>
                    <a:pt x="300" y="699"/>
                    <a:pt x="180" y="579"/>
                    <a:pt x="180" y="430"/>
                  </a:cubicBezTo>
                  <a:cubicBezTo>
                    <a:pt x="180" y="328"/>
                    <a:pt x="236" y="239"/>
                    <a:pt x="320" y="193"/>
                  </a:cubicBezTo>
                  <a:cubicBezTo>
                    <a:pt x="320" y="0"/>
                    <a:pt x="320" y="0"/>
                    <a:pt x="320" y="0"/>
                  </a:cubicBezTo>
                  <a:cubicBezTo>
                    <a:pt x="135" y="55"/>
                    <a:pt x="0" y="227"/>
                    <a:pt x="0" y="430"/>
                  </a:cubicBezTo>
                  <a:cubicBezTo>
                    <a:pt x="0" y="678"/>
                    <a:pt x="201" y="879"/>
                    <a:pt x="449" y="879"/>
                  </a:cubicBezTo>
                  <a:cubicBezTo>
                    <a:pt x="697" y="879"/>
                    <a:pt x="898" y="678"/>
                    <a:pt x="898" y="430"/>
                  </a:cubicBezTo>
                  <a:cubicBezTo>
                    <a:pt x="898" y="227"/>
                    <a:pt x="763" y="55"/>
                    <a:pt x="57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92" name="Group 48291"/>
          <p:cNvGrpSpPr/>
          <p:nvPr/>
        </p:nvGrpSpPr>
        <p:grpSpPr>
          <a:xfrm>
            <a:off x="6526856" y="3212976"/>
            <a:ext cx="369992" cy="369581"/>
            <a:chOff x="8942388" y="-858838"/>
            <a:chExt cx="4294188" cy="4289425"/>
          </a:xfrm>
        </p:grpSpPr>
        <p:sp>
          <p:nvSpPr>
            <p:cNvPr id="48289" name="Freeform 20"/>
            <p:cNvSpPr>
              <a:spLocks noEditPoints="1"/>
            </p:cNvSpPr>
            <p:nvPr/>
          </p:nvSpPr>
          <p:spPr bwMode="auto">
            <a:xfrm>
              <a:off x="9002713" y="-858838"/>
              <a:ext cx="4233863" cy="4135438"/>
            </a:xfrm>
            <a:custGeom>
              <a:avLst/>
              <a:gdLst>
                <a:gd name="T0" fmla="*/ 1048 w 1129"/>
                <a:gd name="T1" fmla="*/ 283 h 1103"/>
                <a:gd name="T2" fmla="*/ 1001 w 1129"/>
                <a:gd name="T3" fmla="*/ 342 h 1103"/>
                <a:gd name="T4" fmla="*/ 864 w 1129"/>
                <a:gd name="T5" fmla="*/ 309 h 1103"/>
                <a:gd name="T6" fmla="*/ 889 w 1129"/>
                <a:gd name="T7" fmla="*/ 391 h 1103"/>
                <a:gd name="T8" fmla="*/ 383 w 1129"/>
                <a:gd name="T9" fmla="*/ 124 h 1103"/>
                <a:gd name="T10" fmla="*/ 447 w 1129"/>
                <a:gd name="T11" fmla="*/ 206 h 1103"/>
                <a:gd name="T12" fmla="*/ 411 w 1129"/>
                <a:gd name="T13" fmla="*/ 252 h 1103"/>
                <a:gd name="T14" fmla="*/ 360 w 1129"/>
                <a:gd name="T15" fmla="*/ 188 h 1103"/>
                <a:gd name="T16" fmla="*/ 383 w 1129"/>
                <a:gd name="T17" fmla="*/ 124 h 1103"/>
                <a:gd name="T18" fmla="*/ 340 w 1129"/>
                <a:gd name="T19" fmla="*/ 122 h 1103"/>
                <a:gd name="T20" fmla="*/ 304 w 1129"/>
                <a:gd name="T21" fmla="*/ 94 h 1103"/>
                <a:gd name="T22" fmla="*/ 255 w 1129"/>
                <a:gd name="T23" fmla="*/ 129 h 1103"/>
                <a:gd name="T24" fmla="*/ 444 w 1129"/>
                <a:gd name="T25" fmla="*/ 986 h 1103"/>
                <a:gd name="T26" fmla="*/ 310 w 1129"/>
                <a:gd name="T27" fmla="*/ 1088 h 1103"/>
                <a:gd name="T28" fmla="*/ 301 w 1129"/>
                <a:gd name="T29" fmla="*/ 859 h 1103"/>
                <a:gd name="T30" fmla="*/ 278 w 1129"/>
                <a:gd name="T31" fmla="*/ 739 h 1103"/>
                <a:gd name="T32" fmla="*/ 179 w 1129"/>
                <a:gd name="T33" fmla="*/ 627 h 1103"/>
                <a:gd name="T34" fmla="*/ 37 w 1129"/>
                <a:gd name="T35" fmla="*/ 501 h 1103"/>
                <a:gd name="T36" fmla="*/ 242 w 1129"/>
                <a:gd name="T37" fmla="*/ 129 h 1103"/>
                <a:gd name="T38" fmla="*/ 309 w 1129"/>
                <a:gd name="T39" fmla="*/ 171 h 1103"/>
                <a:gd name="T40" fmla="*/ 303 w 1129"/>
                <a:gd name="T41" fmla="*/ 334 h 1103"/>
                <a:gd name="T42" fmla="*/ 326 w 1129"/>
                <a:gd name="T43" fmla="*/ 238 h 1103"/>
                <a:gd name="T44" fmla="*/ 466 w 1129"/>
                <a:gd name="T45" fmla="*/ 304 h 1103"/>
                <a:gd name="T46" fmla="*/ 430 w 1129"/>
                <a:gd name="T47" fmla="*/ 352 h 1103"/>
                <a:gd name="T48" fmla="*/ 395 w 1129"/>
                <a:gd name="T49" fmla="*/ 408 h 1103"/>
                <a:gd name="T50" fmla="*/ 293 w 1129"/>
                <a:gd name="T51" fmla="*/ 548 h 1103"/>
                <a:gd name="T52" fmla="*/ 169 w 1129"/>
                <a:gd name="T53" fmla="*/ 540 h 1103"/>
                <a:gd name="T54" fmla="*/ 286 w 1129"/>
                <a:gd name="T55" fmla="*/ 665 h 1103"/>
                <a:gd name="T56" fmla="*/ 533 w 1129"/>
                <a:gd name="T57" fmla="*/ 773 h 1103"/>
                <a:gd name="T58" fmla="*/ 281 w 1129"/>
                <a:gd name="T59" fmla="*/ 217 h 1103"/>
                <a:gd name="T60" fmla="*/ 510 w 1129"/>
                <a:gd name="T61" fmla="*/ 391 h 1103"/>
                <a:gd name="T62" fmla="*/ 491 w 1129"/>
                <a:gd name="T63" fmla="*/ 391 h 1103"/>
                <a:gd name="T64" fmla="*/ 359 w 1129"/>
                <a:gd name="T65" fmla="*/ 606 h 1103"/>
                <a:gd name="T66" fmla="*/ 286 w 1129"/>
                <a:gd name="T67" fmla="*/ 568 h 1103"/>
                <a:gd name="T68" fmla="*/ 618 w 1129"/>
                <a:gd name="T69" fmla="*/ 213 h 1103"/>
                <a:gd name="T70" fmla="*/ 551 w 1129"/>
                <a:gd name="T71" fmla="*/ 181 h 1103"/>
                <a:gd name="T72" fmla="*/ 496 w 1129"/>
                <a:gd name="T73" fmla="*/ 80 h 1103"/>
                <a:gd name="T74" fmla="*/ 394 w 1129"/>
                <a:gd name="T75" fmla="*/ 23 h 1103"/>
                <a:gd name="T76" fmla="*/ 757 w 1129"/>
                <a:gd name="T77" fmla="*/ 94 h 1103"/>
                <a:gd name="T78" fmla="*/ 744 w 1129"/>
                <a:gd name="T79" fmla="*/ 137 h 1103"/>
                <a:gd name="T80" fmla="*/ 731 w 1129"/>
                <a:gd name="T81" fmla="*/ 178 h 1103"/>
                <a:gd name="T82" fmla="*/ 740 w 1129"/>
                <a:gd name="T83" fmla="*/ 236 h 1103"/>
                <a:gd name="T84" fmla="*/ 812 w 1129"/>
                <a:gd name="T85" fmla="*/ 232 h 1103"/>
                <a:gd name="T86" fmla="*/ 733 w 1129"/>
                <a:gd name="T87" fmla="*/ 247 h 1103"/>
                <a:gd name="T88" fmla="*/ 950 w 1129"/>
                <a:gd name="T89" fmla="*/ 885 h 1103"/>
                <a:gd name="T90" fmla="*/ 803 w 1129"/>
                <a:gd name="T91" fmla="*/ 765 h 1103"/>
                <a:gd name="T92" fmla="*/ 779 w 1129"/>
                <a:gd name="T93" fmla="*/ 588 h 1103"/>
                <a:gd name="T94" fmla="*/ 947 w 1129"/>
                <a:gd name="T95" fmla="*/ 528 h 1103"/>
                <a:gd name="T96" fmla="*/ 1111 w 1129"/>
                <a:gd name="T97" fmla="*/ 591 h 1103"/>
                <a:gd name="T98" fmla="*/ 1077 w 1129"/>
                <a:gd name="T99" fmla="*/ 520 h 1103"/>
                <a:gd name="T100" fmla="*/ 1043 w 1129"/>
                <a:gd name="T101" fmla="*/ 484 h 1103"/>
                <a:gd name="T102" fmla="*/ 1014 w 1129"/>
                <a:gd name="T103" fmla="*/ 488 h 1103"/>
                <a:gd name="T104" fmla="*/ 989 w 1129"/>
                <a:gd name="T105" fmla="*/ 527 h 1103"/>
                <a:gd name="T106" fmla="*/ 891 w 1129"/>
                <a:gd name="T107" fmla="*/ 478 h 1103"/>
                <a:gd name="T108" fmla="*/ 817 w 1129"/>
                <a:gd name="T109" fmla="*/ 507 h 1103"/>
                <a:gd name="T110" fmla="*/ 874 w 1129"/>
                <a:gd name="T111" fmla="*/ 424 h 1103"/>
                <a:gd name="T112" fmla="*/ 927 w 1129"/>
                <a:gd name="T113" fmla="*/ 382 h 1103"/>
                <a:gd name="T114" fmla="*/ 1003 w 1129"/>
                <a:gd name="T115" fmla="*/ 377 h 1103"/>
                <a:gd name="T116" fmla="*/ 1129 w 1129"/>
                <a:gd name="T117" fmla="*/ 572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9" h="1103">
                  <a:moveTo>
                    <a:pt x="957" y="264"/>
                  </a:moveTo>
                  <a:cubicBezTo>
                    <a:pt x="983" y="258"/>
                    <a:pt x="983" y="258"/>
                    <a:pt x="983" y="258"/>
                  </a:cubicBezTo>
                  <a:cubicBezTo>
                    <a:pt x="1016" y="232"/>
                    <a:pt x="1016" y="232"/>
                    <a:pt x="1016" y="232"/>
                  </a:cubicBezTo>
                  <a:cubicBezTo>
                    <a:pt x="1028" y="248"/>
                    <a:pt x="1039" y="265"/>
                    <a:pt x="1050" y="282"/>
                  </a:cubicBezTo>
                  <a:cubicBezTo>
                    <a:pt x="1048" y="283"/>
                    <a:pt x="1048" y="283"/>
                    <a:pt x="1048" y="283"/>
                  </a:cubicBezTo>
                  <a:cubicBezTo>
                    <a:pt x="1038" y="303"/>
                    <a:pt x="1038" y="303"/>
                    <a:pt x="1038" y="303"/>
                  </a:cubicBezTo>
                  <a:cubicBezTo>
                    <a:pt x="1042" y="320"/>
                    <a:pt x="1042" y="320"/>
                    <a:pt x="1042" y="320"/>
                  </a:cubicBezTo>
                  <a:cubicBezTo>
                    <a:pt x="1024" y="328"/>
                    <a:pt x="1024" y="328"/>
                    <a:pt x="1024" y="328"/>
                  </a:cubicBezTo>
                  <a:cubicBezTo>
                    <a:pt x="1017" y="345"/>
                    <a:pt x="1017" y="345"/>
                    <a:pt x="1017" y="345"/>
                  </a:cubicBezTo>
                  <a:cubicBezTo>
                    <a:pt x="1001" y="342"/>
                    <a:pt x="1001" y="342"/>
                    <a:pt x="1001" y="342"/>
                  </a:cubicBezTo>
                  <a:cubicBezTo>
                    <a:pt x="989" y="315"/>
                    <a:pt x="989" y="315"/>
                    <a:pt x="989" y="315"/>
                  </a:cubicBezTo>
                  <a:cubicBezTo>
                    <a:pt x="970" y="311"/>
                    <a:pt x="970" y="311"/>
                    <a:pt x="970" y="311"/>
                  </a:cubicBezTo>
                  <a:cubicBezTo>
                    <a:pt x="952" y="309"/>
                    <a:pt x="952" y="309"/>
                    <a:pt x="952" y="309"/>
                  </a:cubicBezTo>
                  <a:lnTo>
                    <a:pt x="957" y="264"/>
                  </a:lnTo>
                  <a:close/>
                  <a:moveTo>
                    <a:pt x="864" y="309"/>
                  </a:moveTo>
                  <a:cubicBezTo>
                    <a:pt x="879" y="309"/>
                    <a:pt x="879" y="309"/>
                    <a:pt x="879" y="309"/>
                  </a:cubicBezTo>
                  <a:cubicBezTo>
                    <a:pt x="895" y="341"/>
                    <a:pt x="895" y="341"/>
                    <a:pt x="895" y="341"/>
                  </a:cubicBezTo>
                  <a:cubicBezTo>
                    <a:pt x="916" y="360"/>
                    <a:pt x="916" y="360"/>
                    <a:pt x="916" y="360"/>
                  </a:cubicBezTo>
                  <a:cubicBezTo>
                    <a:pt x="910" y="377"/>
                    <a:pt x="910" y="377"/>
                    <a:pt x="910" y="377"/>
                  </a:cubicBezTo>
                  <a:cubicBezTo>
                    <a:pt x="889" y="391"/>
                    <a:pt x="889" y="391"/>
                    <a:pt x="889" y="391"/>
                  </a:cubicBezTo>
                  <a:cubicBezTo>
                    <a:pt x="874" y="387"/>
                    <a:pt x="874" y="387"/>
                    <a:pt x="874" y="387"/>
                  </a:cubicBezTo>
                  <a:cubicBezTo>
                    <a:pt x="874" y="350"/>
                    <a:pt x="874" y="350"/>
                    <a:pt x="874" y="350"/>
                  </a:cubicBezTo>
                  <a:cubicBezTo>
                    <a:pt x="859" y="340"/>
                    <a:pt x="859" y="340"/>
                    <a:pt x="859" y="340"/>
                  </a:cubicBezTo>
                  <a:lnTo>
                    <a:pt x="864" y="309"/>
                  </a:lnTo>
                  <a:close/>
                  <a:moveTo>
                    <a:pt x="383" y="124"/>
                  </a:moveTo>
                  <a:cubicBezTo>
                    <a:pt x="407" y="138"/>
                    <a:pt x="407" y="138"/>
                    <a:pt x="407" y="138"/>
                  </a:cubicBezTo>
                  <a:cubicBezTo>
                    <a:pt x="411" y="151"/>
                    <a:pt x="411" y="151"/>
                    <a:pt x="411" y="151"/>
                  </a:cubicBezTo>
                  <a:cubicBezTo>
                    <a:pt x="427" y="174"/>
                    <a:pt x="427" y="174"/>
                    <a:pt x="427" y="174"/>
                  </a:cubicBezTo>
                  <a:cubicBezTo>
                    <a:pt x="458" y="197"/>
                    <a:pt x="458" y="197"/>
                    <a:pt x="458" y="197"/>
                  </a:cubicBezTo>
                  <a:cubicBezTo>
                    <a:pt x="447" y="206"/>
                    <a:pt x="447" y="206"/>
                    <a:pt x="447" y="206"/>
                  </a:cubicBezTo>
                  <a:cubicBezTo>
                    <a:pt x="431" y="197"/>
                    <a:pt x="431" y="197"/>
                    <a:pt x="431" y="197"/>
                  </a:cubicBezTo>
                  <a:cubicBezTo>
                    <a:pt x="421" y="211"/>
                    <a:pt x="421" y="211"/>
                    <a:pt x="421" y="211"/>
                  </a:cubicBezTo>
                  <a:cubicBezTo>
                    <a:pt x="437" y="232"/>
                    <a:pt x="437" y="232"/>
                    <a:pt x="437" y="232"/>
                  </a:cubicBezTo>
                  <a:cubicBezTo>
                    <a:pt x="416" y="236"/>
                    <a:pt x="416" y="236"/>
                    <a:pt x="416" y="236"/>
                  </a:cubicBezTo>
                  <a:cubicBezTo>
                    <a:pt x="411" y="252"/>
                    <a:pt x="411" y="252"/>
                    <a:pt x="411" y="252"/>
                  </a:cubicBezTo>
                  <a:cubicBezTo>
                    <a:pt x="399" y="252"/>
                    <a:pt x="399" y="252"/>
                    <a:pt x="399" y="252"/>
                  </a:cubicBezTo>
                  <a:cubicBezTo>
                    <a:pt x="365" y="211"/>
                    <a:pt x="365" y="211"/>
                    <a:pt x="365" y="211"/>
                  </a:cubicBezTo>
                  <a:cubicBezTo>
                    <a:pt x="340" y="210"/>
                    <a:pt x="340" y="210"/>
                    <a:pt x="340" y="210"/>
                  </a:cubicBezTo>
                  <a:cubicBezTo>
                    <a:pt x="340" y="193"/>
                    <a:pt x="340" y="193"/>
                    <a:pt x="340" y="193"/>
                  </a:cubicBezTo>
                  <a:cubicBezTo>
                    <a:pt x="360" y="188"/>
                    <a:pt x="360" y="188"/>
                    <a:pt x="360" y="188"/>
                  </a:cubicBezTo>
                  <a:cubicBezTo>
                    <a:pt x="355" y="167"/>
                    <a:pt x="355" y="167"/>
                    <a:pt x="355" y="167"/>
                  </a:cubicBezTo>
                  <a:cubicBezTo>
                    <a:pt x="360" y="160"/>
                    <a:pt x="360" y="160"/>
                    <a:pt x="360" y="160"/>
                  </a:cubicBezTo>
                  <a:cubicBezTo>
                    <a:pt x="345" y="149"/>
                    <a:pt x="345" y="149"/>
                    <a:pt x="345" y="149"/>
                  </a:cubicBezTo>
                  <a:cubicBezTo>
                    <a:pt x="355" y="134"/>
                    <a:pt x="355" y="134"/>
                    <a:pt x="355" y="134"/>
                  </a:cubicBezTo>
                  <a:lnTo>
                    <a:pt x="383" y="124"/>
                  </a:lnTo>
                  <a:close/>
                  <a:moveTo>
                    <a:pt x="330" y="100"/>
                  </a:moveTo>
                  <a:cubicBezTo>
                    <a:pt x="337" y="94"/>
                    <a:pt x="337" y="94"/>
                    <a:pt x="337" y="94"/>
                  </a:cubicBezTo>
                  <a:cubicBezTo>
                    <a:pt x="348" y="108"/>
                    <a:pt x="348" y="108"/>
                    <a:pt x="348" y="108"/>
                  </a:cubicBezTo>
                  <a:cubicBezTo>
                    <a:pt x="348" y="122"/>
                    <a:pt x="348" y="122"/>
                    <a:pt x="348" y="122"/>
                  </a:cubicBezTo>
                  <a:cubicBezTo>
                    <a:pt x="340" y="122"/>
                    <a:pt x="340" y="122"/>
                    <a:pt x="340" y="122"/>
                  </a:cubicBezTo>
                  <a:cubicBezTo>
                    <a:pt x="330" y="113"/>
                    <a:pt x="330" y="113"/>
                    <a:pt x="330" y="113"/>
                  </a:cubicBezTo>
                  <a:lnTo>
                    <a:pt x="330" y="100"/>
                  </a:lnTo>
                  <a:close/>
                  <a:moveTo>
                    <a:pt x="319" y="52"/>
                  </a:moveTo>
                  <a:cubicBezTo>
                    <a:pt x="323" y="77"/>
                    <a:pt x="323" y="77"/>
                    <a:pt x="323" y="77"/>
                  </a:cubicBezTo>
                  <a:cubicBezTo>
                    <a:pt x="304" y="94"/>
                    <a:pt x="304" y="94"/>
                    <a:pt x="304" y="94"/>
                  </a:cubicBezTo>
                  <a:cubicBezTo>
                    <a:pt x="296" y="114"/>
                    <a:pt x="296" y="114"/>
                    <a:pt x="296" y="114"/>
                  </a:cubicBezTo>
                  <a:cubicBezTo>
                    <a:pt x="312" y="114"/>
                    <a:pt x="312" y="114"/>
                    <a:pt x="312" y="114"/>
                  </a:cubicBezTo>
                  <a:cubicBezTo>
                    <a:pt x="318" y="119"/>
                    <a:pt x="318" y="119"/>
                    <a:pt x="318" y="119"/>
                  </a:cubicBezTo>
                  <a:cubicBezTo>
                    <a:pt x="299" y="129"/>
                    <a:pt x="299" y="129"/>
                    <a:pt x="299" y="129"/>
                  </a:cubicBezTo>
                  <a:cubicBezTo>
                    <a:pt x="255" y="129"/>
                    <a:pt x="255" y="129"/>
                    <a:pt x="255" y="129"/>
                  </a:cubicBezTo>
                  <a:cubicBezTo>
                    <a:pt x="249" y="99"/>
                    <a:pt x="249" y="99"/>
                    <a:pt x="249" y="99"/>
                  </a:cubicBezTo>
                  <a:cubicBezTo>
                    <a:pt x="249" y="99"/>
                    <a:pt x="247" y="96"/>
                    <a:pt x="245" y="92"/>
                  </a:cubicBezTo>
                  <a:cubicBezTo>
                    <a:pt x="268" y="77"/>
                    <a:pt x="293" y="63"/>
                    <a:pt x="319" y="52"/>
                  </a:cubicBezTo>
                  <a:close/>
                  <a:moveTo>
                    <a:pt x="538" y="935"/>
                  </a:moveTo>
                  <a:cubicBezTo>
                    <a:pt x="444" y="986"/>
                    <a:pt x="444" y="986"/>
                    <a:pt x="444" y="986"/>
                  </a:cubicBezTo>
                  <a:cubicBezTo>
                    <a:pt x="444" y="1024"/>
                    <a:pt x="444" y="1024"/>
                    <a:pt x="444" y="1024"/>
                  </a:cubicBezTo>
                  <a:cubicBezTo>
                    <a:pt x="402" y="1063"/>
                    <a:pt x="402" y="1063"/>
                    <a:pt x="402" y="1063"/>
                  </a:cubicBezTo>
                  <a:cubicBezTo>
                    <a:pt x="370" y="1075"/>
                    <a:pt x="370" y="1075"/>
                    <a:pt x="370" y="1075"/>
                  </a:cubicBezTo>
                  <a:cubicBezTo>
                    <a:pt x="344" y="1103"/>
                    <a:pt x="344" y="1103"/>
                    <a:pt x="344" y="1103"/>
                  </a:cubicBezTo>
                  <a:cubicBezTo>
                    <a:pt x="333" y="1098"/>
                    <a:pt x="321" y="1093"/>
                    <a:pt x="310" y="1088"/>
                  </a:cubicBezTo>
                  <a:cubicBezTo>
                    <a:pt x="309" y="1062"/>
                    <a:pt x="309" y="1062"/>
                    <a:pt x="309" y="1062"/>
                  </a:cubicBezTo>
                  <a:cubicBezTo>
                    <a:pt x="314" y="961"/>
                    <a:pt x="314" y="961"/>
                    <a:pt x="314" y="961"/>
                  </a:cubicBezTo>
                  <a:cubicBezTo>
                    <a:pt x="335" y="932"/>
                    <a:pt x="335" y="932"/>
                    <a:pt x="335" y="932"/>
                  </a:cubicBezTo>
                  <a:cubicBezTo>
                    <a:pt x="337" y="877"/>
                    <a:pt x="337" y="877"/>
                    <a:pt x="337" y="877"/>
                  </a:cubicBezTo>
                  <a:cubicBezTo>
                    <a:pt x="301" y="859"/>
                    <a:pt x="301" y="859"/>
                    <a:pt x="301" y="859"/>
                  </a:cubicBezTo>
                  <a:cubicBezTo>
                    <a:pt x="291" y="838"/>
                    <a:pt x="291" y="838"/>
                    <a:pt x="291" y="838"/>
                  </a:cubicBezTo>
                  <a:cubicBezTo>
                    <a:pt x="283" y="823"/>
                    <a:pt x="283" y="823"/>
                    <a:pt x="283" y="823"/>
                  </a:cubicBezTo>
                  <a:cubicBezTo>
                    <a:pt x="263" y="798"/>
                    <a:pt x="263" y="798"/>
                    <a:pt x="263" y="798"/>
                  </a:cubicBezTo>
                  <a:cubicBezTo>
                    <a:pt x="276" y="785"/>
                    <a:pt x="276" y="785"/>
                    <a:pt x="276" y="785"/>
                  </a:cubicBezTo>
                  <a:cubicBezTo>
                    <a:pt x="278" y="739"/>
                    <a:pt x="278" y="739"/>
                    <a:pt x="278" y="739"/>
                  </a:cubicBezTo>
                  <a:cubicBezTo>
                    <a:pt x="291" y="727"/>
                    <a:pt x="291" y="727"/>
                    <a:pt x="291" y="727"/>
                  </a:cubicBezTo>
                  <a:cubicBezTo>
                    <a:pt x="291" y="706"/>
                    <a:pt x="291" y="706"/>
                    <a:pt x="291" y="706"/>
                  </a:cubicBezTo>
                  <a:cubicBezTo>
                    <a:pt x="260" y="686"/>
                    <a:pt x="260" y="686"/>
                    <a:pt x="260" y="686"/>
                  </a:cubicBezTo>
                  <a:cubicBezTo>
                    <a:pt x="215" y="640"/>
                    <a:pt x="215" y="640"/>
                    <a:pt x="215" y="640"/>
                  </a:cubicBezTo>
                  <a:cubicBezTo>
                    <a:pt x="179" y="627"/>
                    <a:pt x="179" y="627"/>
                    <a:pt x="179" y="627"/>
                  </a:cubicBezTo>
                  <a:cubicBezTo>
                    <a:pt x="107" y="584"/>
                    <a:pt x="107" y="584"/>
                    <a:pt x="107" y="584"/>
                  </a:cubicBezTo>
                  <a:cubicBezTo>
                    <a:pt x="88" y="534"/>
                    <a:pt x="88" y="534"/>
                    <a:pt x="88" y="534"/>
                  </a:cubicBezTo>
                  <a:cubicBezTo>
                    <a:pt x="62" y="519"/>
                    <a:pt x="62" y="519"/>
                    <a:pt x="62" y="519"/>
                  </a:cubicBezTo>
                  <a:cubicBezTo>
                    <a:pt x="60" y="529"/>
                    <a:pt x="60" y="529"/>
                    <a:pt x="60" y="529"/>
                  </a:cubicBezTo>
                  <a:cubicBezTo>
                    <a:pt x="37" y="501"/>
                    <a:pt x="37" y="501"/>
                    <a:pt x="37" y="501"/>
                  </a:cubicBezTo>
                  <a:cubicBezTo>
                    <a:pt x="0" y="439"/>
                    <a:pt x="0" y="439"/>
                    <a:pt x="0" y="439"/>
                  </a:cubicBezTo>
                  <a:cubicBezTo>
                    <a:pt x="26" y="329"/>
                    <a:pt x="84" y="232"/>
                    <a:pt x="162" y="158"/>
                  </a:cubicBezTo>
                  <a:cubicBezTo>
                    <a:pt x="197" y="153"/>
                    <a:pt x="197" y="153"/>
                    <a:pt x="197" y="153"/>
                  </a:cubicBezTo>
                  <a:cubicBezTo>
                    <a:pt x="226" y="129"/>
                    <a:pt x="226" y="129"/>
                    <a:pt x="226" y="129"/>
                  </a:cubicBezTo>
                  <a:cubicBezTo>
                    <a:pt x="242" y="129"/>
                    <a:pt x="242" y="129"/>
                    <a:pt x="242" y="129"/>
                  </a:cubicBezTo>
                  <a:cubicBezTo>
                    <a:pt x="245" y="149"/>
                    <a:pt x="245" y="149"/>
                    <a:pt x="245" y="149"/>
                  </a:cubicBezTo>
                  <a:cubicBezTo>
                    <a:pt x="258" y="151"/>
                    <a:pt x="258" y="151"/>
                    <a:pt x="258" y="151"/>
                  </a:cubicBezTo>
                  <a:cubicBezTo>
                    <a:pt x="265" y="143"/>
                    <a:pt x="265" y="143"/>
                    <a:pt x="265" y="143"/>
                  </a:cubicBezTo>
                  <a:cubicBezTo>
                    <a:pt x="290" y="143"/>
                    <a:pt x="290" y="143"/>
                    <a:pt x="290" y="143"/>
                  </a:cubicBezTo>
                  <a:cubicBezTo>
                    <a:pt x="309" y="171"/>
                    <a:pt x="309" y="171"/>
                    <a:pt x="309" y="171"/>
                  </a:cubicBezTo>
                  <a:cubicBezTo>
                    <a:pt x="240" y="210"/>
                    <a:pt x="240" y="210"/>
                    <a:pt x="240" y="210"/>
                  </a:cubicBezTo>
                  <a:cubicBezTo>
                    <a:pt x="220" y="238"/>
                    <a:pt x="220" y="238"/>
                    <a:pt x="220" y="238"/>
                  </a:cubicBezTo>
                  <a:cubicBezTo>
                    <a:pt x="257" y="293"/>
                    <a:pt x="257" y="293"/>
                    <a:pt x="257" y="293"/>
                  </a:cubicBezTo>
                  <a:cubicBezTo>
                    <a:pt x="290" y="299"/>
                    <a:pt x="290" y="299"/>
                    <a:pt x="290" y="299"/>
                  </a:cubicBezTo>
                  <a:cubicBezTo>
                    <a:pt x="303" y="334"/>
                    <a:pt x="303" y="334"/>
                    <a:pt x="303" y="334"/>
                  </a:cubicBezTo>
                  <a:cubicBezTo>
                    <a:pt x="314" y="321"/>
                    <a:pt x="314" y="321"/>
                    <a:pt x="314" y="321"/>
                  </a:cubicBezTo>
                  <a:cubicBezTo>
                    <a:pt x="323" y="306"/>
                    <a:pt x="323" y="306"/>
                    <a:pt x="323" y="306"/>
                  </a:cubicBezTo>
                  <a:cubicBezTo>
                    <a:pt x="341" y="296"/>
                    <a:pt x="341" y="296"/>
                    <a:pt x="341" y="296"/>
                  </a:cubicBezTo>
                  <a:cubicBezTo>
                    <a:pt x="329" y="266"/>
                    <a:pt x="329" y="266"/>
                    <a:pt x="329" y="266"/>
                  </a:cubicBezTo>
                  <a:cubicBezTo>
                    <a:pt x="326" y="238"/>
                    <a:pt x="326" y="238"/>
                    <a:pt x="326" y="238"/>
                  </a:cubicBezTo>
                  <a:cubicBezTo>
                    <a:pt x="383" y="248"/>
                    <a:pt x="383" y="248"/>
                    <a:pt x="383" y="248"/>
                  </a:cubicBezTo>
                  <a:cubicBezTo>
                    <a:pt x="402" y="278"/>
                    <a:pt x="402" y="278"/>
                    <a:pt x="402" y="278"/>
                  </a:cubicBezTo>
                  <a:cubicBezTo>
                    <a:pt x="433" y="268"/>
                    <a:pt x="433" y="268"/>
                    <a:pt x="433" y="268"/>
                  </a:cubicBezTo>
                  <a:cubicBezTo>
                    <a:pt x="444" y="304"/>
                    <a:pt x="444" y="304"/>
                    <a:pt x="444" y="304"/>
                  </a:cubicBezTo>
                  <a:cubicBezTo>
                    <a:pt x="466" y="304"/>
                    <a:pt x="466" y="304"/>
                    <a:pt x="466" y="304"/>
                  </a:cubicBezTo>
                  <a:cubicBezTo>
                    <a:pt x="469" y="337"/>
                    <a:pt x="469" y="337"/>
                    <a:pt x="469" y="337"/>
                  </a:cubicBezTo>
                  <a:cubicBezTo>
                    <a:pt x="491" y="337"/>
                    <a:pt x="491" y="337"/>
                    <a:pt x="491" y="337"/>
                  </a:cubicBezTo>
                  <a:cubicBezTo>
                    <a:pt x="486" y="383"/>
                    <a:pt x="486" y="383"/>
                    <a:pt x="486" y="383"/>
                  </a:cubicBezTo>
                  <a:cubicBezTo>
                    <a:pt x="446" y="373"/>
                    <a:pt x="446" y="373"/>
                    <a:pt x="446" y="373"/>
                  </a:cubicBezTo>
                  <a:cubicBezTo>
                    <a:pt x="430" y="352"/>
                    <a:pt x="430" y="352"/>
                    <a:pt x="430" y="352"/>
                  </a:cubicBezTo>
                  <a:cubicBezTo>
                    <a:pt x="400" y="378"/>
                    <a:pt x="400" y="378"/>
                    <a:pt x="400" y="378"/>
                  </a:cubicBezTo>
                  <a:cubicBezTo>
                    <a:pt x="418" y="378"/>
                    <a:pt x="418" y="378"/>
                    <a:pt x="418" y="378"/>
                  </a:cubicBezTo>
                  <a:cubicBezTo>
                    <a:pt x="438" y="408"/>
                    <a:pt x="438" y="408"/>
                    <a:pt x="438" y="408"/>
                  </a:cubicBezTo>
                  <a:cubicBezTo>
                    <a:pt x="418" y="408"/>
                    <a:pt x="418" y="408"/>
                    <a:pt x="418" y="408"/>
                  </a:cubicBezTo>
                  <a:cubicBezTo>
                    <a:pt x="395" y="408"/>
                    <a:pt x="395" y="408"/>
                    <a:pt x="395" y="408"/>
                  </a:cubicBezTo>
                  <a:cubicBezTo>
                    <a:pt x="372" y="441"/>
                    <a:pt x="372" y="441"/>
                    <a:pt x="372" y="441"/>
                  </a:cubicBezTo>
                  <a:cubicBezTo>
                    <a:pt x="324" y="454"/>
                    <a:pt x="324" y="454"/>
                    <a:pt x="324" y="454"/>
                  </a:cubicBezTo>
                  <a:cubicBezTo>
                    <a:pt x="321" y="487"/>
                    <a:pt x="321" y="487"/>
                    <a:pt x="321" y="487"/>
                  </a:cubicBezTo>
                  <a:cubicBezTo>
                    <a:pt x="291" y="515"/>
                    <a:pt x="291" y="515"/>
                    <a:pt x="291" y="515"/>
                  </a:cubicBezTo>
                  <a:cubicBezTo>
                    <a:pt x="293" y="548"/>
                    <a:pt x="293" y="548"/>
                    <a:pt x="293" y="548"/>
                  </a:cubicBezTo>
                  <a:cubicBezTo>
                    <a:pt x="283" y="553"/>
                    <a:pt x="283" y="553"/>
                    <a:pt x="283" y="553"/>
                  </a:cubicBezTo>
                  <a:cubicBezTo>
                    <a:pt x="252" y="515"/>
                    <a:pt x="252" y="515"/>
                    <a:pt x="252" y="515"/>
                  </a:cubicBezTo>
                  <a:cubicBezTo>
                    <a:pt x="225" y="523"/>
                    <a:pt x="225" y="523"/>
                    <a:pt x="225" y="523"/>
                  </a:cubicBezTo>
                  <a:cubicBezTo>
                    <a:pt x="197" y="523"/>
                    <a:pt x="197" y="523"/>
                    <a:pt x="197" y="523"/>
                  </a:cubicBezTo>
                  <a:cubicBezTo>
                    <a:pt x="169" y="540"/>
                    <a:pt x="169" y="540"/>
                    <a:pt x="169" y="540"/>
                  </a:cubicBezTo>
                  <a:cubicBezTo>
                    <a:pt x="173" y="584"/>
                    <a:pt x="173" y="584"/>
                    <a:pt x="173" y="584"/>
                  </a:cubicBezTo>
                  <a:cubicBezTo>
                    <a:pt x="202" y="594"/>
                    <a:pt x="202" y="594"/>
                    <a:pt x="202" y="594"/>
                  </a:cubicBezTo>
                  <a:cubicBezTo>
                    <a:pt x="222" y="584"/>
                    <a:pt x="222" y="584"/>
                    <a:pt x="222" y="584"/>
                  </a:cubicBezTo>
                  <a:cubicBezTo>
                    <a:pt x="245" y="625"/>
                    <a:pt x="245" y="625"/>
                    <a:pt x="245" y="625"/>
                  </a:cubicBezTo>
                  <a:cubicBezTo>
                    <a:pt x="286" y="665"/>
                    <a:pt x="286" y="665"/>
                    <a:pt x="286" y="665"/>
                  </a:cubicBezTo>
                  <a:cubicBezTo>
                    <a:pt x="410" y="671"/>
                    <a:pt x="410" y="671"/>
                    <a:pt x="410" y="671"/>
                  </a:cubicBezTo>
                  <a:cubicBezTo>
                    <a:pt x="451" y="713"/>
                    <a:pt x="451" y="713"/>
                    <a:pt x="451" y="713"/>
                  </a:cubicBezTo>
                  <a:cubicBezTo>
                    <a:pt x="482" y="742"/>
                    <a:pt x="482" y="742"/>
                    <a:pt x="482" y="742"/>
                  </a:cubicBezTo>
                  <a:cubicBezTo>
                    <a:pt x="486" y="772"/>
                    <a:pt x="486" y="772"/>
                    <a:pt x="486" y="772"/>
                  </a:cubicBezTo>
                  <a:cubicBezTo>
                    <a:pt x="533" y="773"/>
                    <a:pt x="533" y="773"/>
                    <a:pt x="533" y="773"/>
                  </a:cubicBezTo>
                  <a:cubicBezTo>
                    <a:pt x="601" y="816"/>
                    <a:pt x="601" y="816"/>
                    <a:pt x="601" y="816"/>
                  </a:cubicBezTo>
                  <a:lnTo>
                    <a:pt x="538" y="935"/>
                  </a:lnTo>
                  <a:close/>
                  <a:moveTo>
                    <a:pt x="296" y="208"/>
                  </a:moveTo>
                  <a:cubicBezTo>
                    <a:pt x="296" y="219"/>
                    <a:pt x="296" y="219"/>
                    <a:pt x="296" y="219"/>
                  </a:cubicBezTo>
                  <a:cubicBezTo>
                    <a:pt x="281" y="217"/>
                    <a:pt x="281" y="217"/>
                    <a:pt x="281" y="217"/>
                  </a:cubicBezTo>
                  <a:cubicBezTo>
                    <a:pt x="278" y="208"/>
                    <a:pt x="278" y="208"/>
                    <a:pt x="278" y="208"/>
                  </a:cubicBezTo>
                  <a:cubicBezTo>
                    <a:pt x="286" y="199"/>
                    <a:pt x="286" y="199"/>
                    <a:pt x="286" y="199"/>
                  </a:cubicBezTo>
                  <a:lnTo>
                    <a:pt x="296" y="208"/>
                  </a:lnTo>
                  <a:close/>
                  <a:moveTo>
                    <a:pt x="491" y="391"/>
                  </a:moveTo>
                  <a:cubicBezTo>
                    <a:pt x="510" y="391"/>
                    <a:pt x="510" y="391"/>
                    <a:pt x="510" y="391"/>
                  </a:cubicBezTo>
                  <a:cubicBezTo>
                    <a:pt x="524" y="410"/>
                    <a:pt x="524" y="410"/>
                    <a:pt x="524" y="410"/>
                  </a:cubicBezTo>
                  <a:cubicBezTo>
                    <a:pt x="507" y="417"/>
                    <a:pt x="507" y="417"/>
                    <a:pt x="507" y="417"/>
                  </a:cubicBezTo>
                  <a:cubicBezTo>
                    <a:pt x="493" y="417"/>
                    <a:pt x="493" y="417"/>
                    <a:pt x="493" y="417"/>
                  </a:cubicBezTo>
                  <a:cubicBezTo>
                    <a:pt x="487" y="404"/>
                    <a:pt x="487" y="404"/>
                    <a:pt x="487" y="404"/>
                  </a:cubicBezTo>
                  <a:lnTo>
                    <a:pt x="491" y="391"/>
                  </a:lnTo>
                  <a:close/>
                  <a:moveTo>
                    <a:pt x="365" y="614"/>
                  </a:moveTo>
                  <a:cubicBezTo>
                    <a:pt x="355" y="619"/>
                    <a:pt x="355" y="619"/>
                    <a:pt x="355" y="619"/>
                  </a:cubicBezTo>
                  <a:cubicBezTo>
                    <a:pt x="345" y="619"/>
                    <a:pt x="345" y="619"/>
                    <a:pt x="345" y="619"/>
                  </a:cubicBezTo>
                  <a:cubicBezTo>
                    <a:pt x="345" y="606"/>
                    <a:pt x="345" y="606"/>
                    <a:pt x="345" y="606"/>
                  </a:cubicBezTo>
                  <a:cubicBezTo>
                    <a:pt x="359" y="606"/>
                    <a:pt x="359" y="606"/>
                    <a:pt x="359" y="606"/>
                  </a:cubicBezTo>
                  <a:lnTo>
                    <a:pt x="365" y="614"/>
                  </a:lnTo>
                  <a:close/>
                  <a:moveTo>
                    <a:pt x="328" y="614"/>
                  </a:moveTo>
                  <a:cubicBezTo>
                    <a:pt x="306" y="609"/>
                    <a:pt x="306" y="609"/>
                    <a:pt x="306" y="609"/>
                  </a:cubicBezTo>
                  <a:cubicBezTo>
                    <a:pt x="278" y="582"/>
                    <a:pt x="278" y="582"/>
                    <a:pt x="278" y="582"/>
                  </a:cubicBezTo>
                  <a:cubicBezTo>
                    <a:pt x="278" y="582"/>
                    <a:pt x="282" y="565"/>
                    <a:pt x="286" y="568"/>
                  </a:cubicBezTo>
                  <a:cubicBezTo>
                    <a:pt x="290" y="570"/>
                    <a:pt x="324" y="592"/>
                    <a:pt x="324" y="592"/>
                  </a:cubicBezTo>
                  <a:lnTo>
                    <a:pt x="328" y="614"/>
                  </a:lnTo>
                  <a:close/>
                  <a:moveTo>
                    <a:pt x="681" y="188"/>
                  </a:moveTo>
                  <a:cubicBezTo>
                    <a:pt x="658" y="209"/>
                    <a:pt x="658" y="209"/>
                    <a:pt x="658" y="209"/>
                  </a:cubicBezTo>
                  <a:cubicBezTo>
                    <a:pt x="618" y="213"/>
                    <a:pt x="618" y="213"/>
                    <a:pt x="618" y="213"/>
                  </a:cubicBezTo>
                  <a:cubicBezTo>
                    <a:pt x="579" y="268"/>
                    <a:pt x="579" y="268"/>
                    <a:pt x="579" y="268"/>
                  </a:cubicBezTo>
                  <a:cubicBezTo>
                    <a:pt x="579" y="268"/>
                    <a:pt x="560" y="270"/>
                    <a:pt x="559" y="270"/>
                  </a:cubicBezTo>
                  <a:cubicBezTo>
                    <a:pt x="557" y="269"/>
                    <a:pt x="530" y="226"/>
                    <a:pt x="530" y="226"/>
                  </a:cubicBezTo>
                  <a:cubicBezTo>
                    <a:pt x="527" y="199"/>
                    <a:pt x="527" y="199"/>
                    <a:pt x="527" y="199"/>
                  </a:cubicBezTo>
                  <a:cubicBezTo>
                    <a:pt x="551" y="181"/>
                    <a:pt x="551" y="181"/>
                    <a:pt x="551" y="181"/>
                  </a:cubicBezTo>
                  <a:cubicBezTo>
                    <a:pt x="551" y="168"/>
                    <a:pt x="551" y="168"/>
                    <a:pt x="551" y="168"/>
                  </a:cubicBezTo>
                  <a:cubicBezTo>
                    <a:pt x="524" y="144"/>
                    <a:pt x="524" y="144"/>
                    <a:pt x="524" y="144"/>
                  </a:cubicBezTo>
                  <a:cubicBezTo>
                    <a:pt x="522" y="131"/>
                    <a:pt x="522" y="131"/>
                    <a:pt x="522" y="131"/>
                  </a:cubicBezTo>
                  <a:cubicBezTo>
                    <a:pt x="502" y="129"/>
                    <a:pt x="502" y="129"/>
                    <a:pt x="502" y="129"/>
                  </a:cubicBezTo>
                  <a:cubicBezTo>
                    <a:pt x="496" y="80"/>
                    <a:pt x="496" y="80"/>
                    <a:pt x="496" y="80"/>
                  </a:cubicBezTo>
                  <a:cubicBezTo>
                    <a:pt x="480" y="82"/>
                    <a:pt x="480" y="82"/>
                    <a:pt x="480" y="82"/>
                  </a:cubicBezTo>
                  <a:cubicBezTo>
                    <a:pt x="426" y="69"/>
                    <a:pt x="426" y="69"/>
                    <a:pt x="426" y="69"/>
                  </a:cubicBezTo>
                  <a:cubicBezTo>
                    <a:pt x="432" y="50"/>
                    <a:pt x="432" y="50"/>
                    <a:pt x="432" y="50"/>
                  </a:cubicBezTo>
                  <a:cubicBezTo>
                    <a:pt x="407" y="34"/>
                    <a:pt x="407" y="34"/>
                    <a:pt x="407" y="34"/>
                  </a:cubicBezTo>
                  <a:cubicBezTo>
                    <a:pt x="394" y="23"/>
                    <a:pt x="394" y="23"/>
                    <a:pt x="394" y="23"/>
                  </a:cubicBezTo>
                  <a:cubicBezTo>
                    <a:pt x="446" y="8"/>
                    <a:pt x="500" y="0"/>
                    <a:pt x="556" y="0"/>
                  </a:cubicBezTo>
                  <a:cubicBezTo>
                    <a:pt x="640" y="0"/>
                    <a:pt x="719" y="18"/>
                    <a:pt x="791" y="50"/>
                  </a:cubicBezTo>
                  <a:cubicBezTo>
                    <a:pt x="786" y="68"/>
                    <a:pt x="786" y="68"/>
                    <a:pt x="786" y="68"/>
                  </a:cubicBezTo>
                  <a:cubicBezTo>
                    <a:pt x="760" y="84"/>
                    <a:pt x="760" y="84"/>
                    <a:pt x="760" y="84"/>
                  </a:cubicBezTo>
                  <a:cubicBezTo>
                    <a:pt x="757" y="94"/>
                    <a:pt x="757" y="94"/>
                    <a:pt x="757" y="94"/>
                  </a:cubicBezTo>
                  <a:cubicBezTo>
                    <a:pt x="769" y="101"/>
                    <a:pt x="769" y="101"/>
                    <a:pt x="769" y="101"/>
                  </a:cubicBezTo>
                  <a:cubicBezTo>
                    <a:pt x="751" y="118"/>
                    <a:pt x="751" y="118"/>
                    <a:pt x="751" y="118"/>
                  </a:cubicBezTo>
                  <a:cubicBezTo>
                    <a:pt x="717" y="121"/>
                    <a:pt x="717" y="121"/>
                    <a:pt x="717" y="121"/>
                  </a:cubicBezTo>
                  <a:cubicBezTo>
                    <a:pt x="715" y="136"/>
                    <a:pt x="715" y="136"/>
                    <a:pt x="715" y="136"/>
                  </a:cubicBezTo>
                  <a:cubicBezTo>
                    <a:pt x="744" y="137"/>
                    <a:pt x="744" y="137"/>
                    <a:pt x="744" y="137"/>
                  </a:cubicBezTo>
                  <a:cubicBezTo>
                    <a:pt x="754" y="151"/>
                    <a:pt x="754" y="151"/>
                    <a:pt x="754" y="151"/>
                  </a:cubicBezTo>
                  <a:cubicBezTo>
                    <a:pt x="738" y="159"/>
                    <a:pt x="738" y="159"/>
                    <a:pt x="738" y="159"/>
                  </a:cubicBezTo>
                  <a:cubicBezTo>
                    <a:pt x="715" y="163"/>
                    <a:pt x="715" y="163"/>
                    <a:pt x="715" y="163"/>
                  </a:cubicBezTo>
                  <a:cubicBezTo>
                    <a:pt x="714" y="175"/>
                    <a:pt x="714" y="175"/>
                    <a:pt x="714" y="175"/>
                  </a:cubicBezTo>
                  <a:cubicBezTo>
                    <a:pt x="731" y="178"/>
                    <a:pt x="731" y="178"/>
                    <a:pt x="731" y="178"/>
                  </a:cubicBezTo>
                  <a:cubicBezTo>
                    <a:pt x="724" y="191"/>
                    <a:pt x="724" y="191"/>
                    <a:pt x="724" y="191"/>
                  </a:cubicBezTo>
                  <a:lnTo>
                    <a:pt x="681" y="188"/>
                  </a:lnTo>
                  <a:close/>
                  <a:moveTo>
                    <a:pt x="733" y="247"/>
                  </a:moveTo>
                  <a:cubicBezTo>
                    <a:pt x="731" y="235"/>
                    <a:pt x="731" y="235"/>
                    <a:pt x="731" y="235"/>
                  </a:cubicBezTo>
                  <a:cubicBezTo>
                    <a:pt x="740" y="236"/>
                    <a:pt x="740" y="236"/>
                    <a:pt x="740" y="236"/>
                  </a:cubicBezTo>
                  <a:cubicBezTo>
                    <a:pt x="758" y="215"/>
                    <a:pt x="758" y="215"/>
                    <a:pt x="758" y="215"/>
                  </a:cubicBezTo>
                  <a:cubicBezTo>
                    <a:pt x="781" y="219"/>
                    <a:pt x="781" y="219"/>
                    <a:pt x="781" y="219"/>
                  </a:cubicBezTo>
                  <a:cubicBezTo>
                    <a:pt x="791" y="225"/>
                    <a:pt x="791" y="225"/>
                    <a:pt x="791" y="225"/>
                  </a:cubicBezTo>
                  <a:cubicBezTo>
                    <a:pt x="803" y="215"/>
                    <a:pt x="803" y="215"/>
                    <a:pt x="803" y="215"/>
                  </a:cubicBezTo>
                  <a:cubicBezTo>
                    <a:pt x="812" y="232"/>
                    <a:pt x="812" y="232"/>
                    <a:pt x="812" y="232"/>
                  </a:cubicBezTo>
                  <a:cubicBezTo>
                    <a:pt x="800" y="244"/>
                    <a:pt x="800" y="244"/>
                    <a:pt x="800" y="244"/>
                  </a:cubicBezTo>
                  <a:cubicBezTo>
                    <a:pt x="776" y="256"/>
                    <a:pt x="776" y="256"/>
                    <a:pt x="776" y="256"/>
                  </a:cubicBezTo>
                  <a:cubicBezTo>
                    <a:pt x="759" y="256"/>
                    <a:pt x="759" y="256"/>
                    <a:pt x="759" y="256"/>
                  </a:cubicBezTo>
                  <a:cubicBezTo>
                    <a:pt x="744" y="245"/>
                    <a:pt x="744" y="245"/>
                    <a:pt x="744" y="245"/>
                  </a:cubicBezTo>
                  <a:lnTo>
                    <a:pt x="733" y="247"/>
                  </a:lnTo>
                  <a:close/>
                  <a:moveTo>
                    <a:pt x="929" y="1005"/>
                  </a:moveTo>
                  <a:cubicBezTo>
                    <a:pt x="927" y="989"/>
                    <a:pt x="927" y="989"/>
                    <a:pt x="927" y="989"/>
                  </a:cubicBezTo>
                  <a:cubicBezTo>
                    <a:pt x="943" y="945"/>
                    <a:pt x="943" y="945"/>
                    <a:pt x="943" y="945"/>
                  </a:cubicBezTo>
                  <a:cubicBezTo>
                    <a:pt x="937" y="916"/>
                    <a:pt x="937" y="916"/>
                    <a:pt x="937" y="916"/>
                  </a:cubicBezTo>
                  <a:cubicBezTo>
                    <a:pt x="950" y="885"/>
                    <a:pt x="950" y="885"/>
                    <a:pt x="950" y="885"/>
                  </a:cubicBezTo>
                  <a:cubicBezTo>
                    <a:pt x="923" y="827"/>
                    <a:pt x="923" y="827"/>
                    <a:pt x="923" y="827"/>
                  </a:cubicBezTo>
                  <a:cubicBezTo>
                    <a:pt x="924" y="798"/>
                    <a:pt x="924" y="798"/>
                    <a:pt x="924" y="798"/>
                  </a:cubicBezTo>
                  <a:cubicBezTo>
                    <a:pt x="924" y="798"/>
                    <a:pt x="892" y="777"/>
                    <a:pt x="890" y="776"/>
                  </a:cubicBezTo>
                  <a:cubicBezTo>
                    <a:pt x="888" y="776"/>
                    <a:pt x="851" y="779"/>
                    <a:pt x="849" y="779"/>
                  </a:cubicBezTo>
                  <a:cubicBezTo>
                    <a:pt x="847" y="779"/>
                    <a:pt x="803" y="765"/>
                    <a:pt x="803" y="765"/>
                  </a:cubicBezTo>
                  <a:cubicBezTo>
                    <a:pt x="759" y="699"/>
                    <a:pt x="759" y="699"/>
                    <a:pt x="759" y="699"/>
                  </a:cubicBezTo>
                  <a:cubicBezTo>
                    <a:pt x="759" y="668"/>
                    <a:pt x="759" y="668"/>
                    <a:pt x="759" y="668"/>
                  </a:cubicBezTo>
                  <a:cubicBezTo>
                    <a:pt x="774" y="631"/>
                    <a:pt x="774" y="631"/>
                    <a:pt x="774" y="631"/>
                  </a:cubicBezTo>
                  <a:cubicBezTo>
                    <a:pt x="770" y="610"/>
                    <a:pt x="770" y="610"/>
                    <a:pt x="770" y="610"/>
                  </a:cubicBezTo>
                  <a:cubicBezTo>
                    <a:pt x="779" y="588"/>
                    <a:pt x="779" y="588"/>
                    <a:pt x="779" y="588"/>
                  </a:cubicBezTo>
                  <a:cubicBezTo>
                    <a:pt x="809" y="581"/>
                    <a:pt x="809" y="581"/>
                    <a:pt x="809" y="581"/>
                  </a:cubicBezTo>
                  <a:cubicBezTo>
                    <a:pt x="825" y="552"/>
                    <a:pt x="825" y="552"/>
                    <a:pt x="825" y="552"/>
                  </a:cubicBezTo>
                  <a:cubicBezTo>
                    <a:pt x="856" y="527"/>
                    <a:pt x="856" y="527"/>
                    <a:pt x="856" y="527"/>
                  </a:cubicBezTo>
                  <a:cubicBezTo>
                    <a:pt x="906" y="532"/>
                    <a:pt x="906" y="532"/>
                    <a:pt x="906" y="532"/>
                  </a:cubicBezTo>
                  <a:cubicBezTo>
                    <a:pt x="947" y="528"/>
                    <a:pt x="947" y="528"/>
                    <a:pt x="947" y="528"/>
                  </a:cubicBezTo>
                  <a:cubicBezTo>
                    <a:pt x="957" y="556"/>
                    <a:pt x="957" y="556"/>
                    <a:pt x="957" y="556"/>
                  </a:cubicBezTo>
                  <a:cubicBezTo>
                    <a:pt x="1009" y="587"/>
                    <a:pt x="1009" y="587"/>
                    <a:pt x="1009" y="587"/>
                  </a:cubicBezTo>
                  <a:cubicBezTo>
                    <a:pt x="1042" y="591"/>
                    <a:pt x="1042" y="591"/>
                    <a:pt x="1042" y="591"/>
                  </a:cubicBezTo>
                  <a:cubicBezTo>
                    <a:pt x="1080" y="572"/>
                    <a:pt x="1080" y="572"/>
                    <a:pt x="1080" y="572"/>
                  </a:cubicBezTo>
                  <a:cubicBezTo>
                    <a:pt x="1111" y="591"/>
                    <a:pt x="1111" y="591"/>
                    <a:pt x="1111" y="591"/>
                  </a:cubicBezTo>
                  <a:cubicBezTo>
                    <a:pt x="1127" y="579"/>
                    <a:pt x="1127" y="579"/>
                    <a:pt x="1127" y="579"/>
                  </a:cubicBezTo>
                  <a:cubicBezTo>
                    <a:pt x="1120" y="531"/>
                    <a:pt x="1120" y="531"/>
                    <a:pt x="1120" y="531"/>
                  </a:cubicBezTo>
                  <a:cubicBezTo>
                    <a:pt x="1100" y="513"/>
                    <a:pt x="1100" y="513"/>
                    <a:pt x="1100" y="513"/>
                  </a:cubicBezTo>
                  <a:cubicBezTo>
                    <a:pt x="1077" y="511"/>
                    <a:pt x="1077" y="511"/>
                    <a:pt x="1077" y="511"/>
                  </a:cubicBezTo>
                  <a:cubicBezTo>
                    <a:pt x="1077" y="520"/>
                    <a:pt x="1077" y="520"/>
                    <a:pt x="1077" y="520"/>
                  </a:cubicBezTo>
                  <a:cubicBezTo>
                    <a:pt x="1067" y="531"/>
                    <a:pt x="1067" y="531"/>
                    <a:pt x="1067" y="531"/>
                  </a:cubicBezTo>
                  <a:cubicBezTo>
                    <a:pt x="1054" y="531"/>
                    <a:pt x="1054" y="531"/>
                    <a:pt x="1054" y="531"/>
                  </a:cubicBezTo>
                  <a:cubicBezTo>
                    <a:pt x="1052" y="517"/>
                    <a:pt x="1052" y="517"/>
                    <a:pt x="1052" y="517"/>
                  </a:cubicBezTo>
                  <a:cubicBezTo>
                    <a:pt x="1057" y="500"/>
                    <a:pt x="1057" y="500"/>
                    <a:pt x="1057" y="500"/>
                  </a:cubicBezTo>
                  <a:cubicBezTo>
                    <a:pt x="1043" y="484"/>
                    <a:pt x="1043" y="484"/>
                    <a:pt x="1043" y="484"/>
                  </a:cubicBezTo>
                  <a:cubicBezTo>
                    <a:pt x="1023" y="483"/>
                    <a:pt x="1023" y="483"/>
                    <a:pt x="1023" y="483"/>
                  </a:cubicBezTo>
                  <a:cubicBezTo>
                    <a:pt x="1010" y="462"/>
                    <a:pt x="1010" y="462"/>
                    <a:pt x="1010" y="462"/>
                  </a:cubicBezTo>
                  <a:cubicBezTo>
                    <a:pt x="993" y="460"/>
                    <a:pt x="993" y="460"/>
                    <a:pt x="993" y="460"/>
                  </a:cubicBezTo>
                  <a:cubicBezTo>
                    <a:pt x="993" y="469"/>
                    <a:pt x="993" y="469"/>
                    <a:pt x="993" y="469"/>
                  </a:cubicBezTo>
                  <a:cubicBezTo>
                    <a:pt x="1014" y="488"/>
                    <a:pt x="1014" y="488"/>
                    <a:pt x="1014" y="488"/>
                  </a:cubicBezTo>
                  <a:cubicBezTo>
                    <a:pt x="1024" y="512"/>
                    <a:pt x="1024" y="512"/>
                    <a:pt x="1024" y="512"/>
                  </a:cubicBezTo>
                  <a:cubicBezTo>
                    <a:pt x="1014" y="506"/>
                    <a:pt x="1014" y="506"/>
                    <a:pt x="1014" y="506"/>
                  </a:cubicBezTo>
                  <a:cubicBezTo>
                    <a:pt x="1008" y="509"/>
                    <a:pt x="1008" y="509"/>
                    <a:pt x="1008" y="509"/>
                  </a:cubicBezTo>
                  <a:cubicBezTo>
                    <a:pt x="999" y="527"/>
                    <a:pt x="999" y="527"/>
                    <a:pt x="999" y="527"/>
                  </a:cubicBezTo>
                  <a:cubicBezTo>
                    <a:pt x="989" y="527"/>
                    <a:pt x="989" y="527"/>
                    <a:pt x="989" y="527"/>
                  </a:cubicBezTo>
                  <a:cubicBezTo>
                    <a:pt x="995" y="514"/>
                    <a:pt x="995" y="514"/>
                    <a:pt x="995" y="514"/>
                  </a:cubicBezTo>
                  <a:cubicBezTo>
                    <a:pt x="993" y="497"/>
                    <a:pt x="993" y="497"/>
                    <a:pt x="993" y="497"/>
                  </a:cubicBezTo>
                  <a:cubicBezTo>
                    <a:pt x="961" y="462"/>
                    <a:pt x="961" y="462"/>
                    <a:pt x="961" y="462"/>
                  </a:cubicBezTo>
                  <a:cubicBezTo>
                    <a:pt x="933" y="462"/>
                    <a:pt x="933" y="462"/>
                    <a:pt x="933" y="462"/>
                  </a:cubicBezTo>
                  <a:cubicBezTo>
                    <a:pt x="891" y="478"/>
                    <a:pt x="891" y="478"/>
                    <a:pt x="891" y="478"/>
                  </a:cubicBezTo>
                  <a:cubicBezTo>
                    <a:pt x="877" y="491"/>
                    <a:pt x="877" y="491"/>
                    <a:pt x="877" y="491"/>
                  </a:cubicBezTo>
                  <a:cubicBezTo>
                    <a:pt x="872" y="506"/>
                    <a:pt x="872" y="506"/>
                    <a:pt x="872" y="506"/>
                  </a:cubicBezTo>
                  <a:cubicBezTo>
                    <a:pt x="856" y="518"/>
                    <a:pt x="856" y="518"/>
                    <a:pt x="856" y="518"/>
                  </a:cubicBezTo>
                  <a:cubicBezTo>
                    <a:pt x="830" y="507"/>
                    <a:pt x="830" y="507"/>
                    <a:pt x="830" y="507"/>
                  </a:cubicBezTo>
                  <a:cubicBezTo>
                    <a:pt x="817" y="507"/>
                    <a:pt x="817" y="507"/>
                    <a:pt x="817" y="507"/>
                  </a:cubicBezTo>
                  <a:cubicBezTo>
                    <a:pt x="821" y="481"/>
                    <a:pt x="821" y="481"/>
                    <a:pt x="821" y="481"/>
                  </a:cubicBezTo>
                  <a:cubicBezTo>
                    <a:pt x="826" y="455"/>
                    <a:pt x="826" y="455"/>
                    <a:pt x="826" y="455"/>
                  </a:cubicBezTo>
                  <a:cubicBezTo>
                    <a:pt x="839" y="449"/>
                    <a:pt x="839" y="449"/>
                    <a:pt x="839" y="449"/>
                  </a:cubicBezTo>
                  <a:cubicBezTo>
                    <a:pt x="870" y="449"/>
                    <a:pt x="870" y="449"/>
                    <a:pt x="870" y="449"/>
                  </a:cubicBezTo>
                  <a:cubicBezTo>
                    <a:pt x="874" y="424"/>
                    <a:pt x="874" y="424"/>
                    <a:pt x="874" y="424"/>
                  </a:cubicBezTo>
                  <a:cubicBezTo>
                    <a:pt x="866" y="417"/>
                    <a:pt x="866" y="417"/>
                    <a:pt x="866" y="417"/>
                  </a:cubicBezTo>
                  <a:cubicBezTo>
                    <a:pt x="869" y="404"/>
                    <a:pt x="869" y="404"/>
                    <a:pt x="869" y="404"/>
                  </a:cubicBezTo>
                  <a:cubicBezTo>
                    <a:pt x="880" y="402"/>
                    <a:pt x="880" y="402"/>
                    <a:pt x="880" y="402"/>
                  </a:cubicBezTo>
                  <a:cubicBezTo>
                    <a:pt x="911" y="407"/>
                    <a:pt x="911" y="407"/>
                    <a:pt x="911" y="407"/>
                  </a:cubicBezTo>
                  <a:cubicBezTo>
                    <a:pt x="927" y="382"/>
                    <a:pt x="927" y="382"/>
                    <a:pt x="927" y="382"/>
                  </a:cubicBezTo>
                  <a:cubicBezTo>
                    <a:pt x="957" y="363"/>
                    <a:pt x="957" y="363"/>
                    <a:pt x="957" y="363"/>
                  </a:cubicBezTo>
                  <a:cubicBezTo>
                    <a:pt x="959" y="344"/>
                    <a:pt x="959" y="344"/>
                    <a:pt x="959" y="344"/>
                  </a:cubicBezTo>
                  <a:cubicBezTo>
                    <a:pt x="967" y="337"/>
                    <a:pt x="967" y="337"/>
                    <a:pt x="967" y="337"/>
                  </a:cubicBezTo>
                  <a:cubicBezTo>
                    <a:pt x="987" y="359"/>
                    <a:pt x="987" y="359"/>
                    <a:pt x="987" y="359"/>
                  </a:cubicBezTo>
                  <a:cubicBezTo>
                    <a:pt x="1003" y="377"/>
                    <a:pt x="1003" y="377"/>
                    <a:pt x="1003" y="377"/>
                  </a:cubicBezTo>
                  <a:cubicBezTo>
                    <a:pt x="1036" y="372"/>
                    <a:pt x="1036" y="372"/>
                    <a:pt x="1036" y="372"/>
                  </a:cubicBezTo>
                  <a:cubicBezTo>
                    <a:pt x="1050" y="348"/>
                    <a:pt x="1050" y="348"/>
                    <a:pt x="1050" y="348"/>
                  </a:cubicBezTo>
                  <a:cubicBezTo>
                    <a:pt x="1065" y="317"/>
                    <a:pt x="1065" y="317"/>
                    <a:pt x="1065" y="317"/>
                  </a:cubicBezTo>
                  <a:cubicBezTo>
                    <a:pt x="1068" y="315"/>
                    <a:pt x="1068" y="315"/>
                    <a:pt x="1068" y="315"/>
                  </a:cubicBezTo>
                  <a:cubicBezTo>
                    <a:pt x="1107" y="392"/>
                    <a:pt x="1129" y="479"/>
                    <a:pt x="1129" y="572"/>
                  </a:cubicBezTo>
                  <a:cubicBezTo>
                    <a:pt x="1129" y="745"/>
                    <a:pt x="1051" y="900"/>
                    <a:pt x="929" y="1005"/>
                  </a:cubicBez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290" name="Oval 21"/>
            <p:cNvSpPr>
              <a:spLocks noChangeArrowheads="1"/>
            </p:cNvSpPr>
            <p:nvPr/>
          </p:nvSpPr>
          <p:spPr bwMode="auto">
            <a:xfrm>
              <a:off x="8942388" y="-858838"/>
              <a:ext cx="4294188" cy="4289425"/>
            </a:xfrm>
            <a:prstGeom prst="ellipse">
              <a:avLst/>
            </a:prstGeom>
            <a:noFill/>
            <a:ln w="1270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26" name="Group 48325"/>
          <p:cNvGrpSpPr/>
          <p:nvPr/>
        </p:nvGrpSpPr>
        <p:grpSpPr>
          <a:xfrm>
            <a:off x="7129140" y="3128283"/>
            <a:ext cx="224467" cy="477877"/>
            <a:chOff x="9444038" y="441325"/>
            <a:chExt cx="1662112" cy="3538538"/>
          </a:xfrm>
        </p:grpSpPr>
        <p:sp>
          <p:nvSpPr>
            <p:cNvPr id="48302" name="Freeform 26"/>
            <p:cNvSpPr>
              <a:spLocks/>
            </p:cNvSpPr>
            <p:nvPr/>
          </p:nvSpPr>
          <p:spPr bwMode="auto">
            <a:xfrm>
              <a:off x="9829800" y="1366838"/>
              <a:ext cx="1276350" cy="2613025"/>
            </a:xfrm>
            <a:custGeom>
              <a:avLst/>
              <a:gdLst>
                <a:gd name="T0" fmla="*/ 660 w 804"/>
                <a:gd name="T1" fmla="*/ 0 h 1646"/>
                <a:gd name="T2" fmla="*/ 492 w 804"/>
                <a:gd name="T3" fmla="*/ 0 h 1646"/>
                <a:gd name="T4" fmla="*/ 442 w 804"/>
                <a:gd name="T5" fmla="*/ 85 h 1646"/>
                <a:gd name="T6" fmla="*/ 487 w 804"/>
                <a:gd name="T7" fmla="*/ 465 h 1646"/>
                <a:gd name="T8" fmla="*/ 402 w 804"/>
                <a:gd name="T9" fmla="*/ 550 h 1646"/>
                <a:gd name="T10" fmla="*/ 317 w 804"/>
                <a:gd name="T11" fmla="*/ 465 h 1646"/>
                <a:gd name="T12" fmla="*/ 362 w 804"/>
                <a:gd name="T13" fmla="*/ 85 h 1646"/>
                <a:gd name="T14" fmla="*/ 312 w 804"/>
                <a:gd name="T15" fmla="*/ 0 h 1646"/>
                <a:gd name="T16" fmla="*/ 145 w 804"/>
                <a:gd name="T17" fmla="*/ 0 h 1646"/>
                <a:gd name="T18" fmla="*/ 0 w 804"/>
                <a:gd name="T19" fmla="*/ 144 h 1646"/>
                <a:gd name="T20" fmla="*/ 34 w 804"/>
                <a:gd name="T21" fmla="*/ 716 h 1646"/>
                <a:gd name="T22" fmla="*/ 187 w 804"/>
                <a:gd name="T23" fmla="*/ 867 h 1646"/>
                <a:gd name="T24" fmla="*/ 187 w 804"/>
                <a:gd name="T25" fmla="*/ 1580 h 1646"/>
                <a:gd name="T26" fmla="*/ 251 w 804"/>
                <a:gd name="T27" fmla="*/ 1646 h 1646"/>
                <a:gd name="T28" fmla="*/ 553 w 804"/>
                <a:gd name="T29" fmla="*/ 1646 h 1646"/>
                <a:gd name="T30" fmla="*/ 617 w 804"/>
                <a:gd name="T31" fmla="*/ 1580 h 1646"/>
                <a:gd name="T32" fmla="*/ 617 w 804"/>
                <a:gd name="T33" fmla="*/ 867 h 1646"/>
                <a:gd name="T34" fmla="*/ 771 w 804"/>
                <a:gd name="T35" fmla="*/ 716 h 1646"/>
                <a:gd name="T36" fmla="*/ 804 w 804"/>
                <a:gd name="T37" fmla="*/ 144 h 1646"/>
                <a:gd name="T38" fmla="*/ 660 w 804"/>
                <a:gd name="T39"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 h="1646">
                  <a:moveTo>
                    <a:pt x="660" y="0"/>
                  </a:moveTo>
                  <a:lnTo>
                    <a:pt x="492" y="0"/>
                  </a:lnTo>
                  <a:lnTo>
                    <a:pt x="442" y="85"/>
                  </a:lnTo>
                  <a:lnTo>
                    <a:pt x="487" y="465"/>
                  </a:lnTo>
                  <a:lnTo>
                    <a:pt x="402" y="550"/>
                  </a:lnTo>
                  <a:lnTo>
                    <a:pt x="317" y="465"/>
                  </a:lnTo>
                  <a:lnTo>
                    <a:pt x="362" y="85"/>
                  </a:lnTo>
                  <a:lnTo>
                    <a:pt x="312" y="0"/>
                  </a:lnTo>
                  <a:lnTo>
                    <a:pt x="145" y="0"/>
                  </a:lnTo>
                  <a:lnTo>
                    <a:pt x="0" y="144"/>
                  </a:lnTo>
                  <a:lnTo>
                    <a:pt x="34" y="716"/>
                  </a:lnTo>
                  <a:lnTo>
                    <a:pt x="187" y="867"/>
                  </a:lnTo>
                  <a:lnTo>
                    <a:pt x="187" y="1580"/>
                  </a:lnTo>
                  <a:lnTo>
                    <a:pt x="251" y="1646"/>
                  </a:lnTo>
                  <a:lnTo>
                    <a:pt x="553" y="1646"/>
                  </a:lnTo>
                  <a:lnTo>
                    <a:pt x="617" y="1580"/>
                  </a:lnTo>
                  <a:lnTo>
                    <a:pt x="617" y="867"/>
                  </a:lnTo>
                  <a:lnTo>
                    <a:pt x="771" y="716"/>
                  </a:lnTo>
                  <a:lnTo>
                    <a:pt x="804" y="144"/>
                  </a:lnTo>
                  <a:lnTo>
                    <a:pt x="660"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07" name="Oval 27"/>
            <p:cNvSpPr>
              <a:spLocks noChangeArrowheads="1"/>
            </p:cNvSpPr>
            <p:nvPr/>
          </p:nvSpPr>
          <p:spPr bwMode="auto">
            <a:xfrm>
              <a:off x="10063163" y="441325"/>
              <a:ext cx="809625" cy="809625"/>
            </a:xfrm>
            <a:prstGeom prst="ellipse">
              <a:avLst/>
            </a:pr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1" name="Rectangle 28"/>
            <p:cNvSpPr>
              <a:spLocks noChangeArrowheads="1"/>
            </p:cNvSpPr>
            <p:nvPr/>
          </p:nvSpPr>
          <p:spPr bwMode="auto">
            <a:xfrm>
              <a:off x="9444038" y="3313113"/>
              <a:ext cx="592138" cy="666750"/>
            </a:xfrm>
            <a:prstGeom prst="rect">
              <a:avLst/>
            </a:prstGeom>
            <a:solidFill>
              <a:srgbClr val="FFFFFF"/>
            </a:solidFill>
            <a:ln w="12700">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12" name="Freeform 29"/>
            <p:cNvSpPr>
              <a:spLocks/>
            </p:cNvSpPr>
            <p:nvPr/>
          </p:nvSpPr>
          <p:spPr bwMode="auto">
            <a:xfrm>
              <a:off x="9444038" y="3313113"/>
              <a:ext cx="592138" cy="666750"/>
            </a:xfrm>
            <a:custGeom>
              <a:avLst/>
              <a:gdLst>
                <a:gd name="T0" fmla="*/ 373 w 373"/>
                <a:gd name="T1" fmla="*/ 420 h 420"/>
                <a:gd name="T2" fmla="*/ 0 w 373"/>
                <a:gd name="T3" fmla="*/ 420 h 420"/>
                <a:gd name="T4" fmla="*/ 0 w 373"/>
                <a:gd name="T5" fmla="*/ 0 h 420"/>
                <a:gd name="T6" fmla="*/ 373 w 373"/>
                <a:gd name="T7" fmla="*/ 0 h 420"/>
              </a:gdLst>
              <a:ahLst/>
              <a:cxnLst>
                <a:cxn ang="0">
                  <a:pos x="T0" y="T1"/>
                </a:cxn>
                <a:cxn ang="0">
                  <a:pos x="T2" y="T3"/>
                </a:cxn>
                <a:cxn ang="0">
                  <a:pos x="T4" y="T5"/>
                </a:cxn>
                <a:cxn ang="0">
                  <a:pos x="T6" y="T7"/>
                </a:cxn>
              </a:cxnLst>
              <a:rect l="0" t="0" r="r" b="b"/>
              <a:pathLst>
                <a:path w="373" h="420">
                  <a:moveTo>
                    <a:pt x="373" y="420"/>
                  </a:moveTo>
                  <a:lnTo>
                    <a:pt x="0" y="420"/>
                  </a:lnTo>
                  <a:lnTo>
                    <a:pt x="0" y="0"/>
                  </a:lnTo>
                  <a:lnTo>
                    <a:pt x="373" y="0"/>
                  </a:lnTo>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313" name="Freeform 30"/>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 name="T8" fmla="*/ 0 w 167"/>
                <a:gd name="T9" fmla="*/ 81 h 81"/>
              </a:gdLst>
              <a:ahLst/>
              <a:cxnLst>
                <a:cxn ang="0">
                  <a:pos x="T0" y="T1"/>
                </a:cxn>
                <a:cxn ang="0">
                  <a:pos x="T2" y="T3"/>
                </a:cxn>
                <a:cxn ang="0">
                  <a:pos x="T4" y="T5"/>
                </a:cxn>
                <a:cxn ang="0">
                  <a:pos x="T6" y="T7"/>
                </a:cxn>
                <a:cxn ang="0">
                  <a:pos x="T8" y="T9"/>
                </a:cxn>
              </a:cxnLst>
              <a:rect l="0" t="0" r="r" b="b"/>
              <a:pathLst>
                <a:path w="167" h="81">
                  <a:moveTo>
                    <a:pt x="0" y="81"/>
                  </a:moveTo>
                  <a:lnTo>
                    <a:pt x="0" y="22"/>
                  </a:lnTo>
                  <a:lnTo>
                    <a:pt x="21" y="0"/>
                  </a:lnTo>
                  <a:lnTo>
                    <a:pt x="167" y="0"/>
                  </a:lnTo>
                  <a:lnTo>
                    <a:pt x="0" y="81"/>
                  </a:lnTo>
                  <a:close/>
                </a:path>
              </a:pathLst>
            </a:custGeom>
            <a:solidFill>
              <a:srgbClr val="FFFFFF"/>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21" name="Freeform 31"/>
            <p:cNvSpPr>
              <a:spLocks/>
            </p:cNvSpPr>
            <p:nvPr/>
          </p:nvSpPr>
          <p:spPr bwMode="auto">
            <a:xfrm>
              <a:off x="9771063" y="3109913"/>
              <a:ext cx="265113" cy="128587"/>
            </a:xfrm>
            <a:custGeom>
              <a:avLst/>
              <a:gdLst>
                <a:gd name="T0" fmla="*/ 0 w 167"/>
                <a:gd name="T1" fmla="*/ 81 h 81"/>
                <a:gd name="T2" fmla="*/ 0 w 167"/>
                <a:gd name="T3" fmla="*/ 22 h 81"/>
                <a:gd name="T4" fmla="*/ 21 w 167"/>
                <a:gd name="T5" fmla="*/ 0 h 81"/>
                <a:gd name="T6" fmla="*/ 167 w 167"/>
                <a:gd name="T7" fmla="*/ 0 h 81"/>
              </a:gdLst>
              <a:ahLst/>
              <a:cxnLst>
                <a:cxn ang="0">
                  <a:pos x="T0" y="T1"/>
                </a:cxn>
                <a:cxn ang="0">
                  <a:pos x="T2" y="T3"/>
                </a:cxn>
                <a:cxn ang="0">
                  <a:pos x="T4" y="T5"/>
                </a:cxn>
                <a:cxn ang="0">
                  <a:pos x="T6" y="T7"/>
                </a:cxn>
              </a:cxnLst>
              <a:rect l="0" t="0" r="r" b="b"/>
              <a:pathLst>
                <a:path w="167" h="81">
                  <a:moveTo>
                    <a:pt x="0" y="81"/>
                  </a:moveTo>
                  <a:lnTo>
                    <a:pt x="0" y="22"/>
                  </a:lnTo>
                  <a:lnTo>
                    <a:pt x="21" y="0"/>
                  </a:lnTo>
                  <a:lnTo>
                    <a:pt x="167" y="0"/>
                  </a:lnTo>
                </a:path>
              </a:pathLst>
            </a:cu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8346" name="Freeform 38"/>
          <p:cNvSpPr>
            <a:spLocks noEditPoints="1"/>
          </p:cNvSpPr>
          <p:nvPr/>
        </p:nvSpPr>
        <p:spPr bwMode="auto">
          <a:xfrm>
            <a:off x="3272747" y="3883026"/>
            <a:ext cx="424232" cy="425138"/>
          </a:xfrm>
          <a:custGeom>
            <a:avLst/>
            <a:gdLst>
              <a:gd name="T0" fmla="*/ 365 w 792"/>
              <a:gd name="T1" fmla="*/ 776 h 794"/>
              <a:gd name="T2" fmla="*/ 288 w 792"/>
              <a:gd name="T3" fmla="*/ 593 h 794"/>
              <a:gd name="T4" fmla="*/ 202 w 792"/>
              <a:gd name="T5" fmla="*/ 734 h 794"/>
              <a:gd name="T6" fmla="*/ 195 w 792"/>
              <a:gd name="T7" fmla="*/ 725 h 794"/>
              <a:gd name="T8" fmla="*/ 308 w 792"/>
              <a:gd name="T9" fmla="*/ 536 h 794"/>
              <a:gd name="T10" fmla="*/ 358 w 792"/>
              <a:gd name="T11" fmla="*/ 531 h 794"/>
              <a:gd name="T12" fmla="*/ 452 w 792"/>
              <a:gd name="T13" fmla="*/ 489 h 794"/>
              <a:gd name="T14" fmla="*/ 372 w 792"/>
              <a:gd name="T15" fmla="*/ 344 h 794"/>
              <a:gd name="T16" fmla="*/ 407 w 792"/>
              <a:gd name="T17" fmla="*/ 263 h 794"/>
              <a:gd name="T18" fmla="*/ 387 w 792"/>
              <a:gd name="T19" fmla="*/ 264 h 794"/>
              <a:gd name="T20" fmla="*/ 305 w 792"/>
              <a:gd name="T21" fmla="*/ 306 h 794"/>
              <a:gd name="T22" fmla="*/ 282 w 792"/>
              <a:gd name="T23" fmla="*/ 460 h 794"/>
              <a:gd name="T24" fmla="*/ 279 w 792"/>
              <a:gd name="T25" fmla="*/ 520 h 794"/>
              <a:gd name="T26" fmla="*/ 257 w 792"/>
              <a:gd name="T27" fmla="*/ 574 h 794"/>
              <a:gd name="T28" fmla="*/ 203 w 792"/>
              <a:gd name="T29" fmla="*/ 516 h 794"/>
              <a:gd name="T30" fmla="*/ 55 w 792"/>
              <a:gd name="T31" fmla="*/ 594 h 794"/>
              <a:gd name="T32" fmla="*/ 52 w 792"/>
              <a:gd name="T33" fmla="*/ 578 h 794"/>
              <a:gd name="T34" fmla="*/ 165 w 792"/>
              <a:gd name="T35" fmla="*/ 406 h 794"/>
              <a:gd name="T36" fmla="*/ 0 w 792"/>
              <a:gd name="T37" fmla="*/ 398 h 794"/>
              <a:gd name="T38" fmla="*/ 8 w 792"/>
              <a:gd name="T39" fmla="*/ 379 h 794"/>
              <a:gd name="T40" fmla="*/ 187 w 792"/>
              <a:gd name="T41" fmla="*/ 291 h 794"/>
              <a:gd name="T42" fmla="*/ 50 w 792"/>
              <a:gd name="T43" fmla="*/ 199 h 794"/>
              <a:gd name="T44" fmla="*/ 70 w 792"/>
              <a:gd name="T45" fmla="*/ 185 h 794"/>
              <a:gd name="T46" fmla="*/ 263 w 792"/>
              <a:gd name="T47" fmla="*/ 202 h 794"/>
              <a:gd name="T48" fmla="*/ 191 w 792"/>
              <a:gd name="T49" fmla="*/ 55 h 794"/>
              <a:gd name="T50" fmla="*/ 221 w 792"/>
              <a:gd name="T51" fmla="*/ 51 h 794"/>
              <a:gd name="T52" fmla="*/ 374 w 792"/>
              <a:gd name="T53" fmla="*/ 162 h 794"/>
              <a:gd name="T54" fmla="*/ 389 w 792"/>
              <a:gd name="T55" fmla="*/ 0 h 794"/>
              <a:gd name="T56" fmla="*/ 417 w 792"/>
              <a:gd name="T57" fmla="*/ 14 h 794"/>
              <a:gd name="T58" fmla="*/ 490 w 792"/>
              <a:gd name="T59" fmla="*/ 183 h 794"/>
              <a:gd name="T60" fmla="*/ 586 w 792"/>
              <a:gd name="T61" fmla="*/ 47 h 794"/>
              <a:gd name="T62" fmla="*/ 605 w 792"/>
              <a:gd name="T63" fmla="*/ 75 h 794"/>
              <a:gd name="T64" fmla="*/ 580 w 792"/>
              <a:gd name="T65" fmla="*/ 258 h 794"/>
              <a:gd name="T66" fmla="*/ 733 w 792"/>
              <a:gd name="T67" fmla="*/ 186 h 794"/>
              <a:gd name="T68" fmla="*/ 737 w 792"/>
              <a:gd name="T69" fmla="*/ 223 h 794"/>
              <a:gd name="T70" fmla="*/ 621 w 792"/>
              <a:gd name="T71" fmla="*/ 367 h 794"/>
              <a:gd name="T72" fmla="*/ 792 w 792"/>
              <a:gd name="T73" fmla="*/ 381 h 794"/>
              <a:gd name="T74" fmla="*/ 778 w 792"/>
              <a:gd name="T75" fmla="*/ 418 h 794"/>
              <a:gd name="T76" fmla="*/ 603 w 792"/>
              <a:gd name="T77" fmla="*/ 481 h 794"/>
              <a:gd name="T78" fmla="*/ 745 w 792"/>
              <a:gd name="T79" fmla="*/ 584 h 794"/>
              <a:gd name="T80" fmla="*/ 711 w 792"/>
              <a:gd name="T81" fmla="*/ 606 h 794"/>
              <a:gd name="T82" fmla="*/ 532 w 792"/>
              <a:gd name="T83" fmla="*/ 572 h 794"/>
              <a:gd name="T84" fmla="*/ 605 w 792"/>
              <a:gd name="T85" fmla="*/ 734 h 794"/>
              <a:gd name="T86" fmla="*/ 562 w 792"/>
              <a:gd name="T87" fmla="*/ 738 h 794"/>
              <a:gd name="T88" fmla="*/ 426 w 792"/>
              <a:gd name="T89" fmla="*/ 616 h 794"/>
              <a:gd name="T90" fmla="*/ 408 w 792"/>
              <a:gd name="T91" fmla="*/ 794 h 794"/>
              <a:gd name="T92" fmla="*/ 477 w 792"/>
              <a:gd name="T93" fmla="*/ 375 h 794"/>
              <a:gd name="T94" fmla="*/ 499 w 792"/>
              <a:gd name="T95" fmla="*/ 316 h 794"/>
              <a:gd name="T96" fmla="*/ 479 w 792"/>
              <a:gd name="T97" fmla="*/ 317 h 794"/>
              <a:gd name="T98" fmla="*/ 477 w 792"/>
              <a:gd name="T99" fmla="*/ 3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2" h="794">
                <a:moveTo>
                  <a:pt x="383" y="794"/>
                </a:moveTo>
                <a:cubicBezTo>
                  <a:pt x="365" y="776"/>
                  <a:pt x="365" y="776"/>
                  <a:pt x="365" y="776"/>
                </a:cubicBezTo>
                <a:cubicBezTo>
                  <a:pt x="365" y="617"/>
                  <a:pt x="365" y="617"/>
                  <a:pt x="365" y="617"/>
                </a:cubicBezTo>
                <a:cubicBezTo>
                  <a:pt x="338" y="614"/>
                  <a:pt x="312" y="606"/>
                  <a:pt x="288" y="593"/>
                </a:cubicBezTo>
                <a:cubicBezTo>
                  <a:pt x="208" y="733"/>
                  <a:pt x="208" y="733"/>
                  <a:pt x="208" y="733"/>
                </a:cubicBezTo>
                <a:cubicBezTo>
                  <a:pt x="202" y="734"/>
                  <a:pt x="202" y="734"/>
                  <a:pt x="202" y="734"/>
                </a:cubicBezTo>
                <a:cubicBezTo>
                  <a:pt x="196" y="731"/>
                  <a:pt x="196" y="731"/>
                  <a:pt x="196" y="731"/>
                </a:cubicBezTo>
                <a:cubicBezTo>
                  <a:pt x="195" y="725"/>
                  <a:pt x="195" y="725"/>
                  <a:pt x="195" y="725"/>
                </a:cubicBezTo>
                <a:cubicBezTo>
                  <a:pt x="276" y="584"/>
                  <a:pt x="276" y="584"/>
                  <a:pt x="276" y="584"/>
                </a:cubicBezTo>
                <a:cubicBezTo>
                  <a:pt x="308" y="536"/>
                  <a:pt x="308" y="536"/>
                  <a:pt x="308" y="536"/>
                </a:cubicBezTo>
                <a:cubicBezTo>
                  <a:pt x="320" y="543"/>
                  <a:pt x="320" y="543"/>
                  <a:pt x="320" y="543"/>
                </a:cubicBezTo>
                <a:cubicBezTo>
                  <a:pt x="358" y="531"/>
                  <a:pt x="358" y="531"/>
                  <a:pt x="358" y="531"/>
                </a:cubicBezTo>
                <a:cubicBezTo>
                  <a:pt x="372" y="510"/>
                  <a:pt x="372" y="510"/>
                  <a:pt x="372" y="510"/>
                </a:cubicBezTo>
                <a:cubicBezTo>
                  <a:pt x="452" y="489"/>
                  <a:pt x="452" y="489"/>
                  <a:pt x="452" y="489"/>
                </a:cubicBezTo>
                <a:cubicBezTo>
                  <a:pt x="500" y="417"/>
                  <a:pt x="500" y="417"/>
                  <a:pt x="500" y="417"/>
                </a:cubicBezTo>
                <a:cubicBezTo>
                  <a:pt x="372" y="344"/>
                  <a:pt x="372" y="344"/>
                  <a:pt x="372" y="344"/>
                </a:cubicBezTo>
                <a:cubicBezTo>
                  <a:pt x="410" y="277"/>
                  <a:pt x="410" y="277"/>
                  <a:pt x="410" y="277"/>
                </a:cubicBezTo>
                <a:cubicBezTo>
                  <a:pt x="407" y="263"/>
                  <a:pt x="407" y="263"/>
                  <a:pt x="407" y="263"/>
                </a:cubicBezTo>
                <a:cubicBezTo>
                  <a:pt x="402" y="259"/>
                  <a:pt x="402" y="259"/>
                  <a:pt x="402" y="259"/>
                </a:cubicBezTo>
                <a:cubicBezTo>
                  <a:pt x="387" y="264"/>
                  <a:pt x="387" y="264"/>
                  <a:pt x="387" y="264"/>
                </a:cubicBezTo>
                <a:cubicBezTo>
                  <a:pt x="349" y="331"/>
                  <a:pt x="349" y="331"/>
                  <a:pt x="349" y="331"/>
                </a:cubicBezTo>
                <a:cubicBezTo>
                  <a:pt x="305" y="306"/>
                  <a:pt x="305" y="306"/>
                  <a:pt x="305" y="306"/>
                </a:cubicBezTo>
                <a:cubicBezTo>
                  <a:pt x="263" y="383"/>
                  <a:pt x="263" y="383"/>
                  <a:pt x="263" y="383"/>
                </a:cubicBezTo>
                <a:cubicBezTo>
                  <a:pt x="282" y="460"/>
                  <a:pt x="282" y="460"/>
                  <a:pt x="282" y="460"/>
                </a:cubicBezTo>
                <a:cubicBezTo>
                  <a:pt x="269" y="482"/>
                  <a:pt x="269" y="482"/>
                  <a:pt x="269" y="482"/>
                </a:cubicBezTo>
                <a:cubicBezTo>
                  <a:pt x="279" y="520"/>
                  <a:pt x="279" y="520"/>
                  <a:pt x="279" y="520"/>
                </a:cubicBezTo>
                <a:cubicBezTo>
                  <a:pt x="288" y="525"/>
                  <a:pt x="288" y="525"/>
                  <a:pt x="288" y="525"/>
                </a:cubicBezTo>
                <a:cubicBezTo>
                  <a:pt x="257" y="574"/>
                  <a:pt x="257" y="574"/>
                  <a:pt x="257" y="574"/>
                </a:cubicBezTo>
                <a:cubicBezTo>
                  <a:pt x="256" y="573"/>
                  <a:pt x="256" y="573"/>
                  <a:pt x="256" y="573"/>
                </a:cubicBezTo>
                <a:cubicBezTo>
                  <a:pt x="235" y="557"/>
                  <a:pt x="217" y="538"/>
                  <a:pt x="203" y="516"/>
                </a:cubicBezTo>
                <a:cubicBezTo>
                  <a:pt x="63" y="597"/>
                  <a:pt x="63" y="597"/>
                  <a:pt x="63" y="597"/>
                </a:cubicBezTo>
                <a:cubicBezTo>
                  <a:pt x="55" y="594"/>
                  <a:pt x="55" y="594"/>
                  <a:pt x="55" y="594"/>
                </a:cubicBezTo>
                <a:cubicBezTo>
                  <a:pt x="50" y="586"/>
                  <a:pt x="50" y="586"/>
                  <a:pt x="50" y="586"/>
                </a:cubicBezTo>
                <a:cubicBezTo>
                  <a:pt x="52" y="578"/>
                  <a:pt x="52" y="578"/>
                  <a:pt x="52" y="578"/>
                </a:cubicBezTo>
                <a:cubicBezTo>
                  <a:pt x="192" y="498"/>
                  <a:pt x="192" y="498"/>
                  <a:pt x="192" y="498"/>
                </a:cubicBezTo>
                <a:cubicBezTo>
                  <a:pt x="176" y="470"/>
                  <a:pt x="168" y="439"/>
                  <a:pt x="165" y="406"/>
                </a:cubicBezTo>
                <a:cubicBezTo>
                  <a:pt x="8" y="406"/>
                  <a:pt x="8" y="406"/>
                  <a:pt x="8" y="406"/>
                </a:cubicBezTo>
                <a:cubicBezTo>
                  <a:pt x="0" y="398"/>
                  <a:pt x="0" y="398"/>
                  <a:pt x="0" y="398"/>
                </a:cubicBezTo>
                <a:cubicBezTo>
                  <a:pt x="0" y="386"/>
                  <a:pt x="0" y="386"/>
                  <a:pt x="0" y="386"/>
                </a:cubicBezTo>
                <a:cubicBezTo>
                  <a:pt x="8" y="379"/>
                  <a:pt x="8" y="379"/>
                  <a:pt x="8" y="379"/>
                </a:cubicBezTo>
                <a:cubicBezTo>
                  <a:pt x="165" y="379"/>
                  <a:pt x="165" y="379"/>
                  <a:pt x="165" y="379"/>
                </a:cubicBezTo>
                <a:cubicBezTo>
                  <a:pt x="167" y="348"/>
                  <a:pt x="174" y="319"/>
                  <a:pt x="187" y="291"/>
                </a:cubicBezTo>
                <a:cubicBezTo>
                  <a:pt x="54" y="214"/>
                  <a:pt x="54" y="214"/>
                  <a:pt x="54" y="214"/>
                </a:cubicBezTo>
                <a:cubicBezTo>
                  <a:pt x="50" y="199"/>
                  <a:pt x="50" y="199"/>
                  <a:pt x="50" y="199"/>
                </a:cubicBezTo>
                <a:cubicBezTo>
                  <a:pt x="55" y="189"/>
                  <a:pt x="55" y="189"/>
                  <a:pt x="55" y="189"/>
                </a:cubicBezTo>
                <a:cubicBezTo>
                  <a:pt x="70" y="185"/>
                  <a:pt x="70" y="185"/>
                  <a:pt x="70" y="185"/>
                </a:cubicBezTo>
                <a:cubicBezTo>
                  <a:pt x="204" y="262"/>
                  <a:pt x="204" y="262"/>
                  <a:pt x="204" y="262"/>
                </a:cubicBezTo>
                <a:cubicBezTo>
                  <a:pt x="220" y="239"/>
                  <a:pt x="240" y="219"/>
                  <a:pt x="263" y="202"/>
                </a:cubicBezTo>
                <a:cubicBezTo>
                  <a:pt x="187" y="71"/>
                  <a:pt x="187" y="71"/>
                  <a:pt x="187" y="71"/>
                </a:cubicBezTo>
                <a:cubicBezTo>
                  <a:pt x="191" y="55"/>
                  <a:pt x="191" y="55"/>
                  <a:pt x="191" y="55"/>
                </a:cubicBezTo>
                <a:cubicBezTo>
                  <a:pt x="206" y="47"/>
                  <a:pt x="206" y="47"/>
                  <a:pt x="206" y="47"/>
                </a:cubicBezTo>
                <a:cubicBezTo>
                  <a:pt x="221" y="51"/>
                  <a:pt x="221" y="51"/>
                  <a:pt x="221" y="51"/>
                </a:cubicBezTo>
                <a:cubicBezTo>
                  <a:pt x="297" y="183"/>
                  <a:pt x="297" y="183"/>
                  <a:pt x="297" y="183"/>
                </a:cubicBezTo>
                <a:cubicBezTo>
                  <a:pt x="322" y="171"/>
                  <a:pt x="348" y="165"/>
                  <a:pt x="374" y="162"/>
                </a:cubicBezTo>
                <a:cubicBezTo>
                  <a:pt x="374" y="14"/>
                  <a:pt x="374" y="14"/>
                  <a:pt x="374" y="14"/>
                </a:cubicBezTo>
                <a:cubicBezTo>
                  <a:pt x="389" y="0"/>
                  <a:pt x="389" y="0"/>
                  <a:pt x="389" y="0"/>
                </a:cubicBezTo>
                <a:cubicBezTo>
                  <a:pt x="402" y="0"/>
                  <a:pt x="402" y="0"/>
                  <a:pt x="402" y="0"/>
                </a:cubicBezTo>
                <a:cubicBezTo>
                  <a:pt x="417" y="14"/>
                  <a:pt x="417" y="14"/>
                  <a:pt x="417" y="14"/>
                </a:cubicBezTo>
                <a:cubicBezTo>
                  <a:pt x="417" y="163"/>
                  <a:pt x="417" y="163"/>
                  <a:pt x="417" y="163"/>
                </a:cubicBezTo>
                <a:cubicBezTo>
                  <a:pt x="442" y="165"/>
                  <a:pt x="467" y="172"/>
                  <a:pt x="490" y="183"/>
                </a:cubicBezTo>
                <a:cubicBezTo>
                  <a:pt x="566" y="52"/>
                  <a:pt x="566" y="52"/>
                  <a:pt x="566" y="52"/>
                </a:cubicBezTo>
                <a:cubicBezTo>
                  <a:pt x="586" y="47"/>
                  <a:pt x="586" y="47"/>
                  <a:pt x="586" y="47"/>
                </a:cubicBezTo>
                <a:cubicBezTo>
                  <a:pt x="599" y="55"/>
                  <a:pt x="599" y="55"/>
                  <a:pt x="599" y="55"/>
                </a:cubicBezTo>
                <a:cubicBezTo>
                  <a:pt x="605" y="75"/>
                  <a:pt x="605" y="75"/>
                  <a:pt x="605" y="75"/>
                </a:cubicBezTo>
                <a:cubicBezTo>
                  <a:pt x="529" y="206"/>
                  <a:pt x="529" y="206"/>
                  <a:pt x="529" y="206"/>
                </a:cubicBezTo>
                <a:cubicBezTo>
                  <a:pt x="549" y="221"/>
                  <a:pt x="566" y="238"/>
                  <a:pt x="580" y="258"/>
                </a:cubicBezTo>
                <a:cubicBezTo>
                  <a:pt x="713" y="181"/>
                  <a:pt x="713" y="181"/>
                  <a:pt x="713" y="181"/>
                </a:cubicBezTo>
                <a:cubicBezTo>
                  <a:pt x="733" y="186"/>
                  <a:pt x="733" y="186"/>
                  <a:pt x="733" y="186"/>
                </a:cubicBezTo>
                <a:cubicBezTo>
                  <a:pt x="743" y="203"/>
                  <a:pt x="743" y="203"/>
                  <a:pt x="743" y="203"/>
                </a:cubicBezTo>
                <a:cubicBezTo>
                  <a:pt x="737" y="223"/>
                  <a:pt x="737" y="223"/>
                  <a:pt x="737" y="223"/>
                </a:cubicBezTo>
                <a:cubicBezTo>
                  <a:pt x="604" y="300"/>
                  <a:pt x="604" y="300"/>
                  <a:pt x="604" y="300"/>
                </a:cubicBezTo>
                <a:cubicBezTo>
                  <a:pt x="613" y="321"/>
                  <a:pt x="619" y="344"/>
                  <a:pt x="621" y="367"/>
                </a:cubicBezTo>
                <a:cubicBezTo>
                  <a:pt x="778" y="367"/>
                  <a:pt x="778" y="367"/>
                  <a:pt x="778" y="367"/>
                </a:cubicBezTo>
                <a:cubicBezTo>
                  <a:pt x="792" y="381"/>
                  <a:pt x="792" y="381"/>
                  <a:pt x="792" y="381"/>
                </a:cubicBezTo>
                <a:cubicBezTo>
                  <a:pt x="792" y="403"/>
                  <a:pt x="792" y="403"/>
                  <a:pt x="792" y="403"/>
                </a:cubicBezTo>
                <a:cubicBezTo>
                  <a:pt x="778" y="418"/>
                  <a:pt x="778" y="418"/>
                  <a:pt x="778" y="418"/>
                </a:cubicBezTo>
                <a:cubicBezTo>
                  <a:pt x="620" y="418"/>
                  <a:pt x="620" y="418"/>
                  <a:pt x="620" y="418"/>
                </a:cubicBezTo>
                <a:cubicBezTo>
                  <a:pt x="618" y="440"/>
                  <a:pt x="612" y="461"/>
                  <a:pt x="603" y="481"/>
                </a:cubicBezTo>
                <a:cubicBezTo>
                  <a:pt x="739" y="559"/>
                  <a:pt x="739" y="559"/>
                  <a:pt x="739" y="559"/>
                </a:cubicBezTo>
                <a:cubicBezTo>
                  <a:pt x="745" y="584"/>
                  <a:pt x="745" y="584"/>
                  <a:pt x="745" y="584"/>
                </a:cubicBezTo>
                <a:cubicBezTo>
                  <a:pt x="736" y="600"/>
                  <a:pt x="736" y="600"/>
                  <a:pt x="736" y="600"/>
                </a:cubicBezTo>
                <a:cubicBezTo>
                  <a:pt x="711" y="606"/>
                  <a:pt x="711" y="606"/>
                  <a:pt x="711" y="606"/>
                </a:cubicBezTo>
                <a:cubicBezTo>
                  <a:pt x="576" y="528"/>
                  <a:pt x="576" y="528"/>
                  <a:pt x="576" y="528"/>
                </a:cubicBezTo>
                <a:cubicBezTo>
                  <a:pt x="563" y="544"/>
                  <a:pt x="549" y="559"/>
                  <a:pt x="532" y="572"/>
                </a:cubicBezTo>
                <a:cubicBezTo>
                  <a:pt x="611" y="709"/>
                  <a:pt x="611" y="709"/>
                  <a:pt x="611" y="709"/>
                </a:cubicBezTo>
                <a:cubicBezTo>
                  <a:pt x="605" y="734"/>
                  <a:pt x="605" y="734"/>
                  <a:pt x="605" y="734"/>
                </a:cubicBezTo>
                <a:cubicBezTo>
                  <a:pt x="586" y="744"/>
                  <a:pt x="586" y="744"/>
                  <a:pt x="586" y="744"/>
                </a:cubicBezTo>
                <a:cubicBezTo>
                  <a:pt x="562" y="738"/>
                  <a:pt x="562" y="738"/>
                  <a:pt x="562" y="738"/>
                </a:cubicBezTo>
                <a:cubicBezTo>
                  <a:pt x="483" y="601"/>
                  <a:pt x="483" y="601"/>
                  <a:pt x="483" y="601"/>
                </a:cubicBezTo>
                <a:cubicBezTo>
                  <a:pt x="465" y="608"/>
                  <a:pt x="446" y="614"/>
                  <a:pt x="426" y="616"/>
                </a:cubicBezTo>
                <a:cubicBezTo>
                  <a:pt x="426" y="776"/>
                  <a:pt x="426" y="776"/>
                  <a:pt x="426" y="776"/>
                </a:cubicBezTo>
                <a:cubicBezTo>
                  <a:pt x="408" y="794"/>
                  <a:pt x="408" y="794"/>
                  <a:pt x="408" y="794"/>
                </a:cubicBezTo>
                <a:lnTo>
                  <a:pt x="383" y="794"/>
                </a:lnTo>
                <a:close/>
                <a:moveTo>
                  <a:pt x="477" y="375"/>
                </a:moveTo>
                <a:cubicBezTo>
                  <a:pt x="502" y="330"/>
                  <a:pt x="502" y="330"/>
                  <a:pt x="502" y="330"/>
                </a:cubicBezTo>
                <a:cubicBezTo>
                  <a:pt x="499" y="316"/>
                  <a:pt x="499" y="316"/>
                  <a:pt x="499" y="316"/>
                </a:cubicBezTo>
                <a:cubicBezTo>
                  <a:pt x="493" y="312"/>
                  <a:pt x="493" y="312"/>
                  <a:pt x="493" y="312"/>
                </a:cubicBezTo>
                <a:cubicBezTo>
                  <a:pt x="479" y="317"/>
                  <a:pt x="479" y="317"/>
                  <a:pt x="479" y="317"/>
                </a:cubicBezTo>
                <a:cubicBezTo>
                  <a:pt x="453" y="361"/>
                  <a:pt x="453" y="361"/>
                  <a:pt x="453" y="361"/>
                </a:cubicBezTo>
                <a:lnTo>
                  <a:pt x="477" y="375"/>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49" name="Freeform 41"/>
          <p:cNvSpPr>
            <a:spLocks/>
          </p:cNvSpPr>
          <p:nvPr/>
        </p:nvSpPr>
        <p:spPr bwMode="auto">
          <a:xfrm>
            <a:off x="3513886" y="4050132"/>
            <a:ext cx="27889" cy="35371"/>
          </a:xfrm>
          <a:custGeom>
            <a:avLst/>
            <a:gdLst>
              <a:gd name="T0" fmla="*/ 62 w 123"/>
              <a:gd name="T1" fmla="*/ 156 h 156"/>
              <a:gd name="T2" fmla="*/ 0 w 123"/>
              <a:gd name="T3" fmla="*/ 121 h 156"/>
              <a:gd name="T4" fmla="*/ 64 w 123"/>
              <a:gd name="T5" fmla="*/ 12 h 156"/>
              <a:gd name="T6" fmla="*/ 102 w 123"/>
              <a:gd name="T7" fmla="*/ 0 h 156"/>
              <a:gd name="T8" fmla="*/ 118 w 123"/>
              <a:gd name="T9" fmla="*/ 10 h 156"/>
              <a:gd name="T10" fmla="*/ 123 w 123"/>
              <a:gd name="T11" fmla="*/ 45 h 156"/>
              <a:gd name="T12" fmla="*/ 62 w 123"/>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3" h="156">
                <a:moveTo>
                  <a:pt x="62" y="156"/>
                </a:moveTo>
                <a:lnTo>
                  <a:pt x="0" y="121"/>
                </a:lnTo>
                <a:lnTo>
                  <a:pt x="64" y="12"/>
                </a:lnTo>
                <a:lnTo>
                  <a:pt x="102" y="0"/>
                </a:lnTo>
                <a:lnTo>
                  <a:pt x="118" y="10"/>
                </a:lnTo>
                <a:lnTo>
                  <a:pt x="123" y="45"/>
                </a:lnTo>
                <a:lnTo>
                  <a:pt x="62" y="15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0" name="Freeform 42"/>
          <p:cNvSpPr>
            <a:spLocks/>
          </p:cNvSpPr>
          <p:nvPr/>
        </p:nvSpPr>
        <p:spPr bwMode="auto">
          <a:xfrm>
            <a:off x="3410039" y="4021789"/>
            <a:ext cx="131283" cy="175044"/>
          </a:xfrm>
          <a:custGeom>
            <a:avLst/>
            <a:gdLst>
              <a:gd name="T0" fmla="*/ 20 w 245"/>
              <a:gd name="T1" fmla="*/ 327 h 327"/>
              <a:gd name="T2" fmla="*/ 0 w 245"/>
              <a:gd name="T3" fmla="*/ 313 h 327"/>
              <a:gd name="T4" fmla="*/ 29 w 245"/>
              <a:gd name="T5" fmla="*/ 268 h 327"/>
              <a:gd name="T6" fmla="*/ 20 w 245"/>
              <a:gd name="T7" fmla="*/ 263 h 327"/>
              <a:gd name="T8" fmla="*/ 10 w 245"/>
              <a:gd name="T9" fmla="*/ 224 h 327"/>
              <a:gd name="T10" fmla="*/ 24 w 245"/>
              <a:gd name="T11" fmla="*/ 202 h 327"/>
              <a:gd name="T12" fmla="*/ 5 w 245"/>
              <a:gd name="T13" fmla="*/ 125 h 327"/>
              <a:gd name="T14" fmla="*/ 48 w 245"/>
              <a:gd name="T15" fmla="*/ 46 h 327"/>
              <a:gd name="T16" fmla="*/ 91 w 245"/>
              <a:gd name="T17" fmla="*/ 71 h 327"/>
              <a:gd name="T18" fmla="*/ 129 w 245"/>
              <a:gd name="T19" fmla="*/ 5 h 327"/>
              <a:gd name="T20" fmla="*/ 145 w 245"/>
              <a:gd name="T21" fmla="*/ 0 h 327"/>
              <a:gd name="T22" fmla="*/ 152 w 245"/>
              <a:gd name="T23" fmla="*/ 4 h 327"/>
              <a:gd name="T24" fmla="*/ 155 w 245"/>
              <a:gd name="T25" fmla="*/ 19 h 327"/>
              <a:gd name="T26" fmla="*/ 117 w 245"/>
              <a:gd name="T27" fmla="*/ 86 h 327"/>
              <a:gd name="T28" fmla="*/ 245 w 245"/>
              <a:gd name="T29" fmla="*/ 158 h 327"/>
              <a:gd name="T30" fmla="*/ 196 w 245"/>
              <a:gd name="T31" fmla="*/ 232 h 327"/>
              <a:gd name="T32" fmla="*/ 116 w 245"/>
              <a:gd name="T33" fmla="*/ 253 h 327"/>
              <a:gd name="T34" fmla="*/ 102 w 245"/>
              <a:gd name="T35" fmla="*/ 274 h 327"/>
              <a:gd name="T36" fmla="*/ 63 w 245"/>
              <a:gd name="T37" fmla="*/ 287 h 327"/>
              <a:gd name="T38" fmla="*/ 51 w 245"/>
              <a:gd name="T39" fmla="*/ 280 h 327"/>
              <a:gd name="T40" fmla="*/ 20 w 245"/>
              <a:gd name="T41"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5" h="327">
                <a:moveTo>
                  <a:pt x="20" y="327"/>
                </a:moveTo>
                <a:cubicBezTo>
                  <a:pt x="13" y="323"/>
                  <a:pt x="6" y="318"/>
                  <a:pt x="0" y="313"/>
                </a:cubicBezTo>
                <a:cubicBezTo>
                  <a:pt x="29" y="268"/>
                  <a:pt x="29" y="268"/>
                  <a:pt x="29" y="268"/>
                </a:cubicBezTo>
                <a:cubicBezTo>
                  <a:pt x="20" y="263"/>
                  <a:pt x="20" y="263"/>
                  <a:pt x="20" y="263"/>
                </a:cubicBezTo>
                <a:cubicBezTo>
                  <a:pt x="10" y="224"/>
                  <a:pt x="10" y="224"/>
                  <a:pt x="10" y="224"/>
                </a:cubicBezTo>
                <a:cubicBezTo>
                  <a:pt x="24" y="202"/>
                  <a:pt x="24" y="202"/>
                  <a:pt x="24" y="202"/>
                </a:cubicBezTo>
                <a:cubicBezTo>
                  <a:pt x="5" y="125"/>
                  <a:pt x="5" y="125"/>
                  <a:pt x="5" y="125"/>
                </a:cubicBezTo>
                <a:cubicBezTo>
                  <a:pt x="48" y="46"/>
                  <a:pt x="48" y="46"/>
                  <a:pt x="48" y="46"/>
                </a:cubicBezTo>
                <a:cubicBezTo>
                  <a:pt x="91" y="71"/>
                  <a:pt x="91" y="71"/>
                  <a:pt x="91" y="71"/>
                </a:cubicBezTo>
                <a:cubicBezTo>
                  <a:pt x="129" y="5"/>
                  <a:pt x="129" y="5"/>
                  <a:pt x="129" y="5"/>
                </a:cubicBezTo>
                <a:cubicBezTo>
                  <a:pt x="145" y="0"/>
                  <a:pt x="145" y="0"/>
                  <a:pt x="145" y="0"/>
                </a:cubicBezTo>
                <a:cubicBezTo>
                  <a:pt x="152" y="4"/>
                  <a:pt x="152" y="4"/>
                  <a:pt x="152" y="4"/>
                </a:cubicBezTo>
                <a:cubicBezTo>
                  <a:pt x="155" y="19"/>
                  <a:pt x="155" y="19"/>
                  <a:pt x="155" y="19"/>
                </a:cubicBezTo>
                <a:cubicBezTo>
                  <a:pt x="117" y="86"/>
                  <a:pt x="117" y="86"/>
                  <a:pt x="117" y="86"/>
                </a:cubicBezTo>
                <a:cubicBezTo>
                  <a:pt x="245" y="158"/>
                  <a:pt x="245" y="158"/>
                  <a:pt x="245" y="158"/>
                </a:cubicBezTo>
                <a:cubicBezTo>
                  <a:pt x="196" y="232"/>
                  <a:pt x="196" y="232"/>
                  <a:pt x="196" y="232"/>
                </a:cubicBezTo>
                <a:cubicBezTo>
                  <a:pt x="116" y="253"/>
                  <a:pt x="116" y="253"/>
                  <a:pt x="116" y="253"/>
                </a:cubicBezTo>
                <a:cubicBezTo>
                  <a:pt x="102" y="274"/>
                  <a:pt x="102" y="274"/>
                  <a:pt x="102" y="274"/>
                </a:cubicBezTo>
                <a:cubicBezTo>
                  <a:pt x="63" y="287"/>
                  <a:pt x="63" y="287"/>
                  <a:pt x="63" y="287"/>
                </a:cubicBezTo>
                <a:cubicBezTo>
                  <a:pt x="51" y="280"/>
                  <a:pt x="51" y="280"/>
                  <a:pt x="51" y="280"/>
                </a:cubicBezTo>
                <a:cubicBezTo>
                  <a:pt x="20" y="327"/>
                  <a:pt x="20" y="327"/>
                  <a:pt x="20" y="32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71" name="Group 170"/>
          <p:cNvGrpSpPr/>
          <p:nvPr/>
        </p:nvGrpSpPr>
        <p:grpSpPr>
          <a:xfrm>
            <a:off x="3825665" y="3917874"/>
            <a:ext cx="416136" cy="346332"/>
            <a:chOff x="8391525" y="153988"/>
            <a:chExt cx="3454401" cy="2874962"/>
          </a:xfrm>
        </p:grpSpPr>
        <p:sp>
          <p:nvSpPr>
            <p:cNvPr id="112" name="Freeform 47"/>
            <p:cNvSpPr>
              <a:spLocks/>
            </p:cNvSpPr>
            <p:nvPr/>
          </p:nvSpPr>
          <p:spPr bwMode="auto">
            <a:xfrm>
              <a:off x="10901363" y="1082675"/>
              <a:ext cx="944563" cy="1309687"/>
            </a:xfrm>
            <a:custGeom>
              <a:avLst/>
              <a:gdLst>
                <a:gd name="T0" fmla="*/ 279 w 595"/>
                <a:gd name="T1" fmla="*/ 185 h 825"/>
                <a:gd name="T2" fmla="*/ 361 w 595"/>
                <a:gd name="T3" fmla="*/ 43 h 825"/>
                <a:gd name="T4" fmla="*/ 352 w 595"/>
                <a:gd name="T5" fmla="*/ 10 h 825"/>
                <a:gd name="T6" fmla="*/ 338 w 595"/>
                <a:gd name="T7" fmla="*/ 0 h 825"/>
                <a:gd name="T8" fmla="*/ 305 w 595"/>
                <a:gd name="T9" fmla="*/ 10 h 825"/>
                <a:gd name="T10" fmla="*/ 222 w 595"/>
                <a:gd name="T11" fmla="*/ 152 h 825"/>
                <a:gd name="T12" fmla="*/ 128 w 595"/>
                <a:gd name="T13" fmla="*/ 97 h 825"/>
                <a:gd name="T14" fmla="*/ 33 w 595"/>
                <a:gd name="T15" fmla="*/ 263 h 825"/>
                <a:gd name="T16" fmla="*/ 83 w 595"/>
                <a:gd name="T17" fmla="*/ 449 h 825"/>
                <a:gd name="T18" fmla="*/ 52 w 595"/>
                <a:gd name="T19" fmla="*/ 504 h 825"/>
                <a:gd name="T20" fmla="*/ 78 w 595"/>
                <a:gd name="T21" fmla="*/ 605 h 825"/>
                <a:gd name="T22" fmla="*/ 99 w 595"/>
                <a:gd name="T23" fmla="*/ 617 h 825"/>
                <a:gd name="T24" fmla="*/ 0 w 595"/>
                <a:gd name="T25" fmla="*/ 792 h 825"/>
                <a:gd name="T26" fmla="*/ 57 w 595"/>
                <a:gd name="T27" fmla="*/ 825 h 825"/>
                <a:gd name="T28" fmla="*/ 158 w 595"/>
                <a:gd name="T29" fmla="*/ 652 h 825"/>
                <a:gd name="T30" fmla="*/ 180 w 595"/>
                <a:gd name="T31" fmla="*/ 664 h 825"/>
                <a:gd name="T32" fmla="*/ 281 w 595"/>
                <a:gd name="T33" fmla="*/ 636 h 825"/>
                <a:gd name="T34" fmla="*/ 312 w 595"/>
                <a:gd name="T35" fmla="*/ 582 h 825"/>
                <a:gd name="T36" fmla="*/ 498 w 595"/>
                <a:gd name="T37" fmla="*/ 532 h 825"/>
                <a:gd name="T38" fmla="*/ 595 w 595"/>
                <a:gd name="T39" fmla="*/ 367 h 825"/>
                <a:gd name="T40" fmla="*/ 279 w 595"/>
                <a:gd name="T4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5" h="825">
                  <a:moveTo>
                    <a:pt x="279" y="185"/>
                  </a:moveTo>
                  <a:lnTo>
                    <a:pt x="361" y="43"/>
                  </a:lnTo>
                  <a:lnTo>
                    <a:pt x="352" y="10"/>
                  </a:lnTo>
                  <a:lnTo>
                    <a:pt x="338" y="0"/>
                  </a:lnTo>
                  <a:lnTo>
                    <a:pt x="305" y="10"/>
                  </a:lnTo>
                  <a:lnTo>
                    <a:pt x="222" y="152"/>
                  </a:lnTo>
                  <a:lnTo>
                    <a:pt x="128" y="97"/>
                  </a:lnTo>
                  <a:lnTo>
                    <a:pt x="33" y="263"/>
                  </a:lnTo>
                  <a:lnTo>
                    <a:pt x="83" y="449"/>
                  </a:lnTo>
                  <a:lnTo>
                    <a:pt x="52" y="504"/>
                  </a:lnTo>
                  <a:lnTo>
                    <a:pt x="78" y="605"/>
                  </a:lnTo>
                  <a:lnTo>
                    <a:pt x="99" y="617"/>
                  </a:lnTo>
                  <a:lnTo>
                    <a:pt x="0" y="792"/>
                  </a:lnTo>
                  <a:lnTo>
                    <a:pt x="57" y="825"/>
                  </a:lnTo>
                  <a:lnTo>
                    <a:pt x="158" y="652"/>
                  </a:lnTo>
                  <a:lnTo>
                    <a:pt x="180" y="664"/>
                  </a:lnTo>
                  <a:lnTo>
                    <a:pt x="281" y="636"/>
                  </a:lnTo>
                  <a:lnTo>
                    <a:pt x="312" y="582"/>
                  </a:lnTo>
                  <a:lnTo>
                    <a:pt x="498" y="532"/>
                  </a:lnTo>
                  <a:lnTo>
                    <a:pt x="595" y="367"/>
                  </a:lnTo>
                  <a:lnTo>
                    <a:pt x="279" y="18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9" name="Freeform 48"/>
            <p:cNvSpPr>
              <a:spLocks/>
            </p:cNvSpPr>
            <p:nvPr/>
          </p:nvSpPr>
          <p:spPr bwMode="auto">
            <a:xfrm>
              <a:off x="11644313" y="1285875"/>
              <a:ext cx="184150" cy="228600"/>
            </a:xfrm>
            <a:custGeom>
              <a:avLst/>
              <a:gdLst>
                <a:gd name="T0" fmla="*/ 116 w 116"/>
                <a:gd name="T1" fmla="*/ 43 h 144"/>
                <a:gd name="T2" fmla="*/ 106 w 116"/>
                <a:gd name="T3" fmla="*/ 9 h 144"/>
                <a:gd name="T4" fmla="*/ 92 w 116"/>
                <a:gd name="T5" fmla="*/ 0 h 144"/>
                <a:gd name="T6" fmla="*/ 59 w 116"/>
                <a:gd name="T7" fmla="*/ 9 h 144"/>
                <a:gd name="T8" fmla="*/ 0 w 116"/>
                <a:gd name="T9" fmla="*/ 111 h 144"/>
                <a:gd name="T10" fmla="*/ 56 w 116"/>
                <a:gd name="T11" fmla="*/ 144 h 144"/>
                <a:gd name="T12" fmla="*/ 116 w 116"/>
                <a:gd name="T13" fmla="*/ 43 h 144"/>
              </a:gdLst>
              <a:ahLst/>
              <a:cxnLst>
                <a:cxn ang="0">
                  <a:pos x="T0" y="T1"/>
                </a:cxn>
                <a:cxn ang="0">
                  <a:pos x="T2" y="T3"/>
                </a:cxn>
                <a:cxn ang="0">
                  <a:pos x="T4" y="T5"/>
                </a:cxn>
                <a:cxn ang="0">
                  <a:pos x="T6" y="T7"/>
                </a:cxn>
                <a:cxn ang="0">
                  <a:pos x="T8" y="T9"/>
                </a:cxn>
                <a:cxn ang="0">
                  <a:pos x="T10" y="T11"/>
                </a:cxn>
                <a:cxn ang="0">
                  <a:pos x="T12" y="T13"/>
                </a:cxn>
              </a:cxnLst>
              <a:rect l="0" t="0" r="r" b="b"/>
              <a:pathLst>
                <a:path w="116" h="144">
                  <a:moveTo>
                    <a:pt x="116" y="43"/>
                  </a:moveTo>
                  <a:lnTo>
                    <a:pt x="106" y="9"/>
                  </a:lnTo>
                  <a:lnTo>
                    <a:pt x="92" y="0"/>
                  </a:lnTo>
                  <a:lnTo>
                    <a:pt x="59" y="9"/>
                  </a:lnTo>
                  <a:lnTo>
                    <a:pt x="0" y="111"/>
                  </a:lnTo>
                  <a:lnTo>
                    <a:pt x="56" y="144"/>
                  </a:lnTo>
                  <a:lnTo>
                    <a:pt x="116" y="43"/>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0" name="Oval 49"/>
            <p:cNvSpPr>
              <a:spLocks noChangeArrowheads="1"/>
            </p:cNvSpPr>
            <p:nvPr/>
          </p:nvSpPr>
          <p:spPr bwMode="auto">
            <a:xfrm>
              <a:off x="9918700" y="1908175"/>
              <a:ext cx="225425" cy="225425"/>
            </a:xfrm>
            <a:prstGeom prst="ellipse">
              <a:avLst/>
            </a:pr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1" name="Freeform 50"/>
            <p:cNvSpPr>
              <a:spLocks noEditPoints="1"/>
            </p:cNvSpPr>
            <p:nvPr/>
          </p:nvSpPr>
          <p:spPr bwMode="auto">
            <a:xfrm>
              <a:off x="9915525" y="1900238"/>
              <a:ext cx="234950" cy="236537"/>
            </a:xfrm>
            <a:custGeom>
              <a:avLst/>
              <a:gdLst>
                <a:gd name="T0" fmla="*/ 31 w 63"/>
                <a:gd name="T1" fmla="*/ 3 h 63"/>
                <a:gd name="T2" fmla="*/ 60 w 63"/>
                <a:gd name="T3" fmla="*/ 32 h 63"/>
                <a:gd name="T4" fmla="*/ 31 w 63"/>
                <a:gd name="T5" fmla="*/ 60 h 63"/>
                <a:gd name="T6" fmla="*/ 3 w 63"/>
                <a:gd name="T7" fmla="*/ 32 h 63"/>
                <a:gd name="T8" fmla="*/ 31 w 63"/>
                <a:gd name="T9" fmla="*/ 3 h 63"/>
                <a:gd name="T10" fmla="*/ 31 w 63"/>
                <a:gd name="T11" fmla="*/ 0 h 63"/>
                <a:gd name="T12" fmla="*/ 0 w 63"/>
                <a:gd name="T13" fmla="*/ 32 h 63"/>
                <a:gd name="T14" fmla="*/ 31 w 63"/>
                <a:gd name="T15" fmla="*/ 63 h 63"/>
                <a:gd name="T16" fmla="*/ 63 w 63"/>
                <a:gd name="T17" fmla="*/ 32 h 63"/>
                <a:gd name="T18" fmla="*/ 31 w 63"/>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3"/>
                  </a:moveTo>
                  <a:cubicBezTo>
                    <a:pt x="47" y="3"/>
                    <a:pt x="60" y="16"/>
                    <a:pt x="60" y="32"/>
                  </a:cubicBezTo>
                  <a:cubicBezTo>
                    <a:pt x="60" y="48"/>
                    <a:pt x="47" y="60"/>
                    <a:pt x="31" y="60"/>
                  </a:cubicBezTo>
                  <a:cubicBezTo>
                    <a:pt x="15" y="60"/>
                    <a:pt x="3" y="48"/>
                    <a:pt x="3" y="32"/>
                  </a:cubicBezTo>
                  <a:cubicBezTo>
                    <a:pt x="3" y="16"/>
                    <a:pt x="15" y="3"/>
                    <a:pt x="31" y="3"/>
                  </a:cubicBezTo>
                  <a:moveTo>
                    <a:pt x="31" y="0"/>
                  </a:moveTo>
                  <a:cubicBezTo>
                    <a:pt x="14" y="0"/>
                    <a:pt x="0" y="14"/>
                    <a:pt x="0" y="32"/>
                  </a:cubicBezTo>
                  <a:cubicBezTo>
                    <a:pt x="0" y="49"/>
                    <a:pt x="14" y="63"/>
                    <a:pt x="31" y="63"/>
                  </a:cubicBezTo>
                  <a:cubicBezTo>
                    <a:pt x="49" y="63"/>
                    <a:pt x="63" y="49"/>
                    <a:pt x="63" y="32"/>
                  </a:cubicBezTo>
                  <a:cubicBezTo>
                    <a:pt x="63" y="14"/>
                    <a:pt x="49" y="0"/>
                    <a:pt x="31"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45" name="Freeform 51"/>
            <p:cNvSpPr>
              <a:spLocks/>
            </p:cNvSpPr>
            <p:nvPr/>
          </p:nvSpPr>
          <p:spPr bwMode="auto">
            <a:xfrm>
              <a:off x="9037638" y="1046163"/>
              <a:ext cx="798513" cy="1271587"/>
            </a:xfrm>
            <a:custGeom>
              <a:avLst/>
              <a:gdLst>
                <a:gd name="T0" fmla="*/ 213 w 213"/>
                <a:gd name="T1" fmla="*/ 0 h 339"/>
                <a:gd name="T2" fmla="*/ 0 w 213"/>
                <a:gd name="T3" fmla="*/ 260 h 339"/>
                <a:gd name="T4" fmla="*/ 12 w 213"/>
                <a:gd name="T5" fmla="*/ 339 h 339"/>
                <a:gd name="T6" fmla="*/ 22 w 213"/>
                <a:gd name="T7" fmla="*/ 333 h 339"/>
                <a:gd name="T8" fmla="*/ 11 w 213"/>
                <a:gd name="T9" fmla="*/ 260 h 339"/>
                <a:gd name="T10" fmla="*/ 213 w 213"/>
                <a:gd name="T11" fmla="*/ 11 h 339"/>
                <a:gd name="T12" fmla="*/ 213 w 2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213" h="339">
                  <a:moveTo>
                    <a:pt x="213" y="0"/>
                  </a:moveTo>
                  <a:cubicBezTo>
                    <a:pt x="91" y="24"/>
                    <a:pt x="0" y="134"/>
                    <a:pt x="0" y="260"/>
                  </a:cubicBezTo>
                  <a:cubicBezTo>
                    <a:pt x="0" y="287"/>
                    <a:pt x="4" y="314"/>
                    <a:pt x="12" y="339"/>
                  </a:cubicBezTo>
                  <a:cubicBezTo>
                    <a:pt x="22" y="333"/>
                    <a:pt x="22" y="333"/>
                    <a:pt x="22" y="333"/>
                  </a:cubicBezTo>
                  <a:cubicBezTo>
                    <a:pt x="14" y="309"/>
                    <a:pt x="11" y="284"/>
                    <a:pt x="11" y="260"/>
                  </a:cubicBezTo>
                  <a:cubicBezTo>
                    <a:pt x="11" y="139"/>
                    <a:pt x="95" y="35"/>
                    <a:pt x="213" y="11"/>
                  </a:cubicBezTo>
                  <a:lnTo>
                    <a:pt x="213"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29" name="Freeform 52"/>
            <p:cNvSpPr>
              <a:spLocks/>
            </p:cNvSpPr>
            <p:nvPr/>
          </p:nvSpPr>
          <p:spPr bwMode="auto">
            <a:xfrm>
              <a:off x="9258300" y="2635250"/>
              <a:ext cx="1530350" cy="393700"/>
            </a:xfrm>
            <a:custGeom>
              <a:avLst/>
              <a:gdLst>
                <a:gd name="T0" fmla="*/ 0 w 408"/>
                <a:gd name="T1" fmla="*/ 9 h 105"/>
                <a:gd name="T2" fmla="*/ 206 w 408"/>
                <a:gd name="T3" fmla="*/ 105 h 105"/>
                <a:gd name="T4" fmla="*/ 408 w 408"/>
                <a:gd name="T5" fmla="*/ 13 h 105"/>
                <a:gd name="T6" fmla="*/ 391 w 408"/>
                <a:gd name="T7" fmla="*/ 5 h 105"/>
                <a:gd name="T8" fmla="*/ 206 w 408"/>
                <a:gd name="T9" fmla="*/ 86 h 105"/>
                <a:gd name="T10" fmla="*/ 17 w 408"/>
                <a:gd name="T11" fmla="*/ 0 h 105"/>
                <a:gd name="T12" fmla="*/ 0 w 408"/>
                <a:gd name="T13" fmla="*/ 9 h 105"/>
              </a:gdLst>
              <a:ahLst/>
              <a:cxnLst>
                <a:cxn ang="0">
                  <a:pos x="T0" y="T1"/>
                </a:cxn>
                <a:cxn ang="0">
                  <a:pos x="T2" y="T3"/>
                </a:cxn>
                <a:cxn ang="0">
                  <a:pos x="T4" y="T5"/>
                </a:cxn>
                <a:cxn ang="0">
                  <a:pos x="T6" y="T7"/>
                </a:cxn>
                <a:cxn ang="0">
                  <a:pos x="T8" y="T9"/>
                </a:cxn>
                <a:cxn ang="0">
                  <a:pos x="T10" y="T11"/>
                </a:cxn>
                <a:cxn ang="0">
                  <a:pos x="T12" y="T13"/>
                </a:cxn>
              </a:cxnLst>
              <a:rect l="0" t="0" r="r" b="b"/>
              <a:pathLst>
                <a:path w="408" h="105">
                  <a:moveTo>
                    <a:pt x="0" y="9"/>
                  </a:moveTo>
                  <a:cubicBezTo>
                    <a:pt x="52" y="70"/>
                    <a:pt x="126" y="105"/>
                    <a:pt x="206" y="105"/>
                  </a:cubicBezTo>
                  <a:cubicBezTo>
                    <a:pt x="283" y="105"/>
                    <a:pt x="357" y="72"/>
                    <a:pt x="408" y="13"/>
                  </a:cubicBezTo>
                  <a:cubicBezTo>
                    <a:pt x="391" y="5"/>
                    <a:pt x="391" y="5"/>
                    <a:pt x="391" y="5"/>
                  </a:cubicBezTo>
                  <a:cubicBezTo>
                    <a:pt x="343" y="56"/>
                    <a:pt x="276" y="86"/>
                    <a:pt x="206" y="86"/>
                  </a:cubicBezTo>
                  <a:cubicBezTo>
                    <a:pt x="134" y="86"/>
                    <a:pt x="65" y="55"/>
                    <a:pt x="17" y="0"/>
                  </a:cubicBezTo>
                  <a:lnTo>
                    <a:pt x="0" y="9"/>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30" name="Freeform 53"/>
            <p:cNvSpPr>
              <a:spLocks/>
            </p:cNvSpPr>
            <p:nvPr/>
          </p:nvSpPr>
          <p:spPr bwMode="auto">
            <a:xfrm>
              <a:off x="9956800" y="157163"/>
              <a:ext cx="247650" cy="1665287"/>
            </a:xfrm>
            <a:custGeom>
              <a:avLst/>
              <a:gdLst>
                <a:gd name="T0" fmla="*/ 5 w 66"/>
                <a:gd name="T1" fmla="*/ 444 h 444"/>
                <a:gd name="T2" fmla="*/ 0 w 66"/>
                <a:gd name="T3" fmla="*/ 439 h 444"/>
                <a:gd name="T4" fmla="*/ 0 w 66"/>
                <a:gd name="T5" fmla="*/ 0 h 444"/>
                <a:gd name="T6" fmla="*/ 31 w 66"/>
                <a:gd name="T7" fmla="*/ 0 h 444"/>
                <a:gd name="T8" fmla="*/ 48 w 66"/>
                <a:gd name="T9" fmla="*/ 264 h 444"/>
                <a:gd name="T10" fmla="*/ 53 w 66"/>
                <a:gd name="T11" fmla="*/ 280 h 444"/>
                <a:gd name="T12" fmla="*/ 62 w 66"/>
                <a:gd name="T13" fmla="*/ 298 h 444"/>
                <a:gd name="T14" fmla="*/ 66 w 66"/>
                <a:gd name="T15" fmla="*/ 313 h 444"/>
                <a:gd name="T16" fmla="*/ 66 w 66"/>
                <a:gd name="T17" fmla="*/ 374 h 444"/>
                <a:gd name="T18" fmla="*/ 61 w 66"/>
                <a:gd name="T19" fmla="*/ 388 h 444"/>
                <a:gd name="T20" fmla="*/ 48 w 66"/>
                <a:gd name="T21" fmla="*/ 405 h 444"/>
                <a:gd name="T22" fmla="*/ 43 w 66"/>
                <a:gd name="T23" fmla="*/ 420 h 444"/>
                <a:gd name="T24" fmla="*/ 43 w 66"/>
                <a:gd name="T25" fmla="*/ 439 h 444"/>
                <a:gd name="T26" fmla="*/ 38 w 66"/>
                <a:gd name="T27" fmla="*/ 444 h 444"/>
                <a:gd name="T28" fmla="*/ 5 w 66"/>
                <a:gd name="T29" fmla="*/ 44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44">
                  <a:moveTo>
                    <a:pt x="5" y="444"/>
                  </a:moveTo>
                  <a:cubicBezTo>
                    <a:pt x="0" y="439"/>
                    <a:pt x="0" y="439"/>
                    <a:pt x="0" y="439"/>
                  </a:cubicBezTo>
                  <a:cubicBezTo>
                    <a:pt x="0" y="0"/>
                    <a:pt x="0" y="0"/>
                    <a:pt x="0" y="0"/>
                  </a:cubicBezTo>
                  <a:cubicBezTo>
                    <a:pt x="31" y="0"/>
                    <a:pt x="31" y="0"/>
                    <a:pt x="31" y="0"/>
                  </a:cubicBezTo>
                  <a:cubicBezTo>
                    <a:pt x="48" y="264"/>
                    <a:pt x="48" y="264"/>
                    <a:pt x="48" y="264"/>
                  </a:cubicBezTo>
                  <a:cubicBezTo>
                    <a:pt x="48" y="269"/>
                    <a:pt x="50" y="276"/>
                    <a:pt x="53" y="280"/>
                  </a:cubicBezTo>
                  <a:cubicBezTo>
                    <a:pt x="62" y="298"/>
                    <a:pt x="62" y="298"/>
                    <a:pt x="62" y="298"/>
                  </a:cubicBezTo>
                  <a:cubicBezTo>
                    <a:pt x="64" y="302"/>
                    <a:pt x="66" y="309"/>
                    <a:pt x="66" y="313"/>
                  </a:cubicBezTo>
                  <a:cubicBezTo>
                    <a:pt x="66" y="374"/>
                    <a:pt x="66" y="374"/>
                    <a:pt x="66" y="374"/>
                  </a:cubicBezTo>
                  <a:cubicBezTo>
                    <a:pt x="66" y="379"/>
                    <a:pt x="64" y="385"/>
                    <a:pt x="61" y="388"/>
                  </a:cubicBezTo>
                  <a:cubicBezTo>
                    <a:pt x="48" y="405"/>
                    <a:pt x="48" y="405"/>
                    <a:pt x="48" y="405"/>
                  </a:cubicBezTo>
                  <a:cubicBezTo>
                    <a:pt x="45" y="408"/>
                    <a:pt x="43" y="415"/>
                    <a:pt x="43" y="420"/>
                  </a:cubicBezTo>
                  <a:cubicBezTo>
                    <a:pt x="43" y="439"/>
                    <a:pt x="43" y="439"/>
                    <a:pt x="43" y="439"/>
                  </a:cubicBezTo>
                  <a:cubicBezTo>
                    <a:pt x="38" y="444"/>
                    <a:pt x="38" y="444"/>
                    <a:pt x="38" y="444"/>
                  </a:cubicBezTo>
                  <a:lnTo>
                    <a:pt x="5" y="444"/>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54"/>
            <p:cNvSpPr>
              <a:spLocks noEditPoints="1"/>
            </p:cNvSpPr>
            <p:nvPr/>
          </p:nvSpPr>
          <p:spPr bwMode="auto">
            <a:xfrm>
              <a:off x="9948863" y="153988"/>
              <a:ext cx="258763" cy="1671637"/>
            </a:xfrm>
            <a:custGeom>
              <a:avLst/>
              <a:gdLst>
                <a:gd name="T0" fmla="*/ 32 w 69"/>
                <a:gd name="T1" fmla="*/ 3 h 446"/>
                <a:gd name="T2" fmla="*/ 48 w 69"/>
                <a:gd name="T3" fmla="*/ 265 h 446"/>
                <a:gd name="T4" fmla="*/ 53 w 69"/>
                <a:gd name="T5" fmla="*/ 282 h 446"/>
                <a:gd name="T6" fmla="*/ 63 w 69"/>
                <a:gd name="T7" fmla="*/ 300 h 446"/>
                <a:gd name="T8" fmla="*/ 66 w 69"/>
                <a:gd name="T9" fmla="*/ 314 h 446"/>
                <a:gd name="T10" fmla="*/ 66 w 69"/>
                <a:gd name="T11" fmla="*/ 375 h 446"/>
                <a:gd name="T12" fmla="*/ 62 w 69"/>
                <a:gd name="T13" fmla="*/ 388 h 446"/>
                <a:gd name="T14" fmla="*/ 49 w 69"/>
                <a:gd name="T15" fmla="*/ 405 h 446"/>
                <a:gd name="T16" fmla="*/ 43 w 69"/>
                <a:gd name="T17" fmla="*/ 421 h 446"/>
                <a:gd name="T18" fmla="*/ 43 w 69"/>
                <a:gd name="T19" fmla="*/ 439 h 446"/>
                <a:gd name="T20" fmla="*/ 39 w 69"/>
                <a:gd name="T21" fmla="*/ 443 h 446"/>
                <a:gd name="T22" fmla="*/ 7 w 69"/>
                <a:gd name="T23" fmla="*/ 443 h 446"/>
                <a:gd name="T24" fmla="*/ 3 w 69"/>
                <a:gd name="T25" fmla="*/ 439 h 446"/>
                <a:gd name="T26" fmla="*/ 3 w 69"/>
                <a:gd name="T27" fmla="*/ 3 h 446"/>
                <a:gd name="T28" fmla="*/ 32 w 69"/>
                <a:gd name="T29" fmla="*/ 3 h 446"/>
                <a:gd name="T30" fmla="*/ 35 w 69"/>
                <a:gd name="T31" fmla="*/ 0 h 446"/>
                <a:gd name="T32" fmla="*/ 0 w 69"/>
                <a:gd name="T33" fmla="*/ 0 h 446"/>
                <a:gd name="T34" fmla="*/ 0 w 69"/>
                <a:gd name="T35" fmla="*/ 440 h 446"/>
                <a:gd name="T36" fmla="*/ 6 w 69"/>
                <a:gd name="T37" fmla="*/ 446 h 446"/>
                <a:gd name="T38" fmla="*/ 40 w 69"/>
                <a:gd name="T39" fmla="*/ 446 h 446"/>
                <a:gd name="T40" fmla="*/ 46 w 69"/>
                <a:gd name="T41" fmla="*/ 440 h 446"/>
                <a:gd name="T42" fmla="*/ 46 w 69"/>
                <a:gd name="T43" fmla="*/ 421 h 446"/>
                <a:gd name="T44" fmla="*/ 51 w 69"/>
                <a:gd name="T45" fmla="*/ 406 h 446"/>
                <a:gd name="T46" fmla="*/ 64 w 69"/>
                <a:gd name="T47" fmla="*/ 390 h 446"/>
                <a:gd name="T48" fmla="*/ 69 w 69"/>
                <a:gd name="T49" fmla="*/ 375 h 446"/>
                <a:gd name="T50" fmla="*/ 69 w 69"/>
                <a:gd name="T51" fmla="*/ 314 h 446"/>
                <a:gd name="T52" fmla="*/ 66 w 69"/>
                <a:gd name="T53" fmla="*/ 299 h 446"/>
                <a:gd name="T54" fmla="*/ 56 w 69"/>
                <a:gd name="T55" fmla="*/ 280 h 446"/>
                <a:gd name="T56" fmla="*/ 51 w 69"/>
                <a:gd name="T57" fmla="*/ 265 h 446"/>
                <a:gd name="T58" fmla="*/ 35 w 69"/>
                <a:gd name="T5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446">
                  <a:moveTo>
                    <a:pt x="32" y="3"/>
                  </a:moveTo>
                  <a:cubicBezTo>
                    <a:pt x="48" y="265"/>
                    <a:pt x="48" y="265"/>
                    <a:pt x="48" y="265"/>
                  </a:cubicBezTo>
                  <a:cubicBezTo>
                    <a:pt x="49" y="270"/>
                    <a:pt x="51" y="277"/>
                    <a:pt x="53" y="282"/>
                  </a:cubicBezTo>
                  <a:cubicBezTo>
                    <a:pt x="63" y="300"/>
                    <a:pt x="63" y="300"/>
                    <a:pt x="63" y="300"/>
                  </a:cubicBezTo>
                  <a:cubicBezTo>
                    <a:pt x="65" y="304"/>
                    <a:pt x="66" y="310"/>
                    <a:pt x="66" y="314"/>
                  </a:cubicBezTo>
                  <a:cubicBezTo>
                    <a:pt x="66" y="375"/>
                    <a:pt x="66" y="375"/>
                    <a:pt x="66" y="375"/>
                  </a:cubicBezTo>
                  <a:cubicBezTo>
                    <a:pt x="66" y="379"/>
                    <a:pt x="64" y="385"/>
                    <a:pt x="62" y="388"/>
                  </a:cubicBezTo>
                  <a:cubicBezTo>
                    <a:pt x="49" y="405"/>
                    <a:pt x="49" y="405"/>
                    <a:pt x="49" y="405"/>
                  </a:cubicBezTo>
                  <a:cubicBezTo>
                    <a:pt x="46" y="409"/>
                    <a:pt x="43" y="416"/>
                    <a:pt x="43" y="421"/>
                  </a:cubicBezTo>
                  <a:cubicBezTo>
                    <a:pt x="43" y="439"/>
                    <a:pt x="43" y="439"/>
                    <a:pt x="43" y="439"/>
                  </a:cubicBezTo>
                  <a:cubicBezTo>
                    <a:pt x="39" y="443"/>
                    <a:pt x="39" y="443"/>
                    <a:pt x="39" y="443"/>
                  </a:cubicBezTo>
                  <a:cubicBezTo>
                    <a:pt x="7" y="443"/>
                    <a:pt x="7" y="443"/>
                    <a:pt x="7" y="443"/>
                  </a:cubicBezTo>
                  <a:cubicBezTo>
                    <a:pt x="3" y="439"/>
                    <a:pt x="3" y="439"/>
                    <a:pt x="3" y="439"/>
                  </a:cubicBezTo>
                  <a:cubicBezTo>
                    <a:pt x="3" y="3"/>
                    <a:pt x="3" y="3"/>
                    <a:pt x="3" y="3"/>
                  </a:cubicBezTo>
                  <a:cubicBezTo>
                    <a:pt x="32" y="3"/>
                    <a:pt x="32" y="3"/>
                    <a:pt x="32" y="3"/>
                  </a:cubicBezTo>
                  <a:moveTo>
                    <a:pt x="35" y="0"/>
                  </a:moveTo>
                  <a:cubicBezTo>
                    <a:pt x="0" y="0"/>
                    <a:pt x="0" y="0"/>
                    <a:pt x="0" y="0"/>
                  </a:cubicBezTo>
                  <a:cubicBezTo>
                    <a:pt x="0" y="440"/>
                    <a:pt x="0" y="440"/>
                    <a:pt x="0" y="440"/>
                  </a:cubicBezTo>
                  <a:cubicBezTo>
                    <a:pt x="6" y="446"/>
                    <a:pt x="6" y="446"/>
                    <a:pt x="6" y="446"/>
                  </a:cubicBezTo>
                  <a:cubicBezTo>
                    <a:pt x="40" y="446"/>
                    <a:pt x="40" y="446"/>
                    <a:pt x="40" y="446"/>
                  </a:cubicBezTo>
                  <a:cubicBezTo>
                    <a:pt x="46" y="440"/>
                    <a:pt x="46" y="440"/>
                    <a:pt x="46" y="440"/>
                  </a:cubicBezTo>
                  <a:cubicBezTo>
                    <a:pt x="46" y="421"/>
                    <a:pt x="46" y="421"/>
                    <a:pt x="46" y="421"/>
                  </a:cubicBezTo>
                  <a:cubicBezTo>
                    <a:pt x="46" y="417"/>
                    <a:pt x="48" y="410"/>
                    <a:pt x="51" y="406"/>
                  </a:cubicBezTo>
                  <a:cubicBezTo>
                    <a:pt x="64" y="390"/>
                    <a:pt x="64" y="390"/>
                    <a:pt x="64" y="390"/>
                  </a:cubicBezTo>
                  <a:cubicBezTo>
                    <a:pt x="67" y="387"/>
                    <a:pt x="69" y="380"/>
                    <a:pt x="69" y="375"/>
                  </a:cubicBezTo>
                  <a:cubicBezTo>
                    <a:pt x="69" y="314"/>
                    <a:pt x="69" y="314"/>
                    <a:pt x="69" y="314"/>
                  </a:cubicBezTo>
                  <a:cubicBezTo>
                    <a:pt x="69" y="310"/>
                    <a:pt x="68" y="303"/>
                    <a:pt x="66" y="299"/>
                  </a:cubicBezTo>
                  <a:cubicBezTo>
                    <a:pt x="56" y="280"/>
                    <a:pt x="56" y="280"/>
                    <a:pt x="56" y="280"/>
                  </a:cubicBezTo>
                  <a:cubicBezTo>
                    <a:pt x="54" y="276"/>
                    <a:pt x="52" y="269"/>
                    <a:pt x="51" y="265"/>
                  </a:cubicBezTo>
                  <a:cubicBezTo>
                    <a:pt x="35" y="0"/>
                    <a:pt x="35" y="0"/>
                    <a:pt x="35"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66" name="Freeform 55"/>
            <p:cNvSpPr>
              <a:spLocks/>
            </p:cNvSpPr>
            <p:nvPr/>
          </p:nvSpPr>
          <p:spPr bwMode="auto">
            <a:xfrm>
              <a:off x="10169525" y="2062163"/>
              <a:ext cx="1511300" cy="922337"/>
            </a:xfrm>
            <a:custGeom>
              <a:avLst/>
              <a:gdLst>
                <a:gd name="T0" fmla="*/ 151 w 403"/>
                <a:gd name="T1" fmla="*/ 129 h 246"/>
                <a:gd name="T2" fmla="*/ 135 w 403"/>
                <a:gd name="T3" fmla="*/ 125 h 246"/>
                <a:gd name="T4" fmla="*/ 114 w 403"/>
                <a:gd name="T5" fmla="*/ 124 h 246"/>
                <a:gd name="T6" fmla="*/ 99 w 403"/>
                <a:gd name="T7" fmla="*/ 120 h 246"/>
                <a:gd name="T8" fmla="*/ 46 w 403"/>
                <a:gd name="T9" fmla="*/ 89 h 246"/>
                <a:gd name="T10" fmla="*/ 37 w 403"/>
                <a:gd name="T11" fmla="*/ 78 h 246"/>
                <a:gd name="T12" fmla="*/ 29 w 403"/>
                <a:gd name="T13" fmla="*/ 59 h 246"/>
                <a:gd name="T14" fmla="*/ 18 w 403"/>
                <a:gd name="T15" fmla="*/ 46 h 246"/>
                <a:gd name="T16" fmla="*/ 2 w 403"/>
                <a:gd name="T17" fmla="*/ 37 h 246"/>
                <a:gd name="T18" fmla="*/ 0 w 403"/>
                <a:gd name="T19" fmla="*/ 30 h 246"/>
                <a:gd name="T20" fmla="*/ 17 w 403"/>
                <a:gd name="T21" fmla="*/ 2 h 246"/>
                <a:gd name="T22" fmla="*/ 24 w 403"/>
                <a:gd name="T23" fmla="*/ 0 h 246"/>
                <a:gd name="T24" fmla="*/ 403 w 403"/>
                <a:gd name="T25" fmla="*/ 219 h 246"/>
                <a:gd name="T26" fmla="*/ 387 w 403"/>
                <a:gd name="T27" fmla="*/ 246 h 246"/>
                <a:gd name="T28" fmla="*/ 151 w 403"/>
                <a:gd name="T29" fmla="*/ 12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246">
                  <a:moveTo>
                    <a:pt x="151" y="129"/>
                  </a:moveTo>
                  <a:cubicBezTo>
                    <a:pt x="147" y="127"/>
                    <a:pt x="139" y="125"/>
                    <a:pt x="135" y="125"/>
                  </a:cubicBezTo>
                  <a:cubicBezTo>
                    <a:pt x="114" y="124"/>
                    <a:pt x="114" y="124"/>
                    <a:pt x="114" y="124"/>
                  </a:cubicBezTo>
                  <a:cubicBezTo>
                    <a:pt x="110" y="124"/>
                    <a:pt x="103" y="122"/>
                    <a:pt x="99" y="120"/>
                  </a:cubicBezTo>
                  <a:cubicBezTo>
                    <a:pt x="46" y="89"/>
                    <a:pt x="46" y="89"/>
                    <a:pt x="46" y="89"/>
                  </a:cubicBezTo>
                  <a:cubicBezTo>
                    <a:pt x="42" y="87"/>
                    <a:pt x="38" y="82"/>
                    <a:pt x="37" y="78"/>
                  </a:cubicBezTo>
                  <a:cubicBezTo>
                    <a:pt x="29" y="59"/>
                    <a:pt x="29" y="59"/>
                    <a:pt x="29" y="59"/>
                  </a:cubicBezTo>
                  <a:cubicBezTo>
                    <a:pt x="27" y="54"/>
                    <a:pt x="23" y="49"/>
                    <a:pt x="18" y="46"/>
                  </a:cubicBezTo>
                  <a:cubicBezTo>
                    <a:pt x="2" y="37"/>
                    <a:pt x="2" y="37"/>
                    <a:pt x="2" y="37"/>
                  </a:cubicBezTo>
                  <a:cubicBezTo>
                    <a:pt x="0" y="30"/>
                    <a:pt x="0" y="30"/>
                    <a:pt x="0" y="30"/>
                  </a:cubicBezTo>
                  <a:cubicBezTo>
                    <a:pt x="17" y="2"/>
                    <a:pt x="17" y="2"/>
                    <a:pt x="17" y="2"/>
                  </a:cubicBezTo>
                  <a:cubicBezTo>
                    <a:pt x="24" y="0"/>
                    <a:pt x="24" y="0"/>
                    <a:pt x="24" y="0"/>
                  </a:cubicBezTo>
                  <a:cubicBezTo>
                    <a:pt x="403" y="219"/>
                    <a:pt x="403" y="219"/>
                    <a:pt x="403" y="219"/>
                  </a:cubicBezTo>
                  <a:cubicBezTo>
                    <a:pt x="387" y="246"/>
                    <a:pt x="387" y="246"/>
                    <a:pt x="387" y="246"/>
                  </a:cubicBezTo>
                  <a:lnTo>
                    <a:pt x="151" y="129"/>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08" name="Freeform 56"/>
            <p:cNvSpPr>
              <a:spLocks noEditPoints="1"/>
            </p:cNvSpPr>
            <p:nvPr/>
          </p:nvSpPr>
          <p:spPr bwMode="auto">
            <a:xfrm>
              <a:off x="10166350" y="2054225"/>
              <a:ext cx="1522413" cy="938212"/>
            </a:xfrm>
            <a:custGeom>
              <a:avLst/>
              <a:gdLst>
                <a:gd name="T0" fmla="*/ 24 w 406"/>
                <a:gd name="T1" fmla="*/ 3 h 250"/>
                <a:gd name="T2" fmla="*/ 402 w 406"/>
                <a:gd name="T3" fmla="*/ 222 h 250"/>
                <a:gd name="T4" fmla="*/ 388 w 406"/>
                <a:gd name="T5" fmla="*/ 246 h 250"/>
                <a:gd name="T6" fmla="*/ 153 w 406"/>
                <a:gd name="T7" fmla="*/ 130 h 250"/>
                <a:gd name="T8" fmla="*/ 136 w 406"/>
                <a:gd name="T9" fmla="*/ 126 h 250"/>
                <a:gd name="T10" fmla="*/ 115 w 406"/>
                <a:gd name="T11" fmla="*/ 125 h 250"/>
                <a:gd name="T12" fmla="*/ 101 w 406"/>
                <a:gd name="T13" fmla="*/ 121 h 250"/>
                <a:gd name="T14" fmla="*/ 48 w 406"/>
                <a:gd name="T15" fmla="*/ 90 h 250"/>
                <a:gd name="T16" fmla="*/ 39 w 406"/>
                <a:gd name="T17" fmla="*/ 80 h 250"/>
                <a:gd name="T18" fmla="*/ 31 w 406"/>
                <a:gd name="T19" fmla="*/ 60 h 250"/>
                <a:gd name="T20" fmla="*/ 20 w 406"/>
                <a:gd name="T21" fmla="*/ 47 h 250"/>
                <a:gd name="T22" fmla="*/ 4 w 406"/>
                <a:gd name="T23" fmla="*/ 38 h 250"/>
                <a:gd name="T24" fmla="*/ 3 w 406"/>
                <a:gd name="T25" fmla="*/ 33 h 250"/>
                <a:gd name="T26" fmla="*/ 19 w 406"/>
                <a:gd name="T27" fmla="*/ 5 h 250"/>
                <a:gd name="T28" fmla="*/ 24 w 406"/>
                <a:gd name="T29" fmla="*/ 3 h 250"/>
                <a:gd name="T30" fmla="*/ 25 w 406"/>
                <a:gd name="T31" fmla="*/ 0 h 250"/>
                <a:gd name="T32" fmla="*/ 17 w 406"/>
                <a:gd name="T33" fmla="*/ 2 h 250"/>
                <a:gd name="T34" fmla="*/ 0 w 406"/>
                <a:gd name="T35" fmla="*/ 32 h 250"/>
                <a:gd name="T36" fmla="*/ 2 w 406"/>
                <a:gd name="T37" fmla="*/ 40 h 250"/>
                <a:gd name="T38" fmla="*/ 19 w 406"/>
                <a:gd name="T39" fmla="*/ 50 h 250"/>
                <a:gd name="T40" fmla="*/ 29 w 406"/>
                <a:gd name="T41" fmla="*/ 61 h 250"/>
                <a:gd name="T42" fmla="*/ 36 w 406"/>
                <a:gd name="T43" fmla="*/ 81 h 250"/>
                <a:gd name="T44" fmla="*/ 46 w 406"/>
                <a:gd name="T45" fmla="*/ 93 h 250"/>
                <a:gd name="T46" fmla="*/ 100 w 406"/>
                <a:gd name="T47" fmla="*/ 123 h 250"/>
                <a:gd name="T48" fmla="*/ 115 w 406"/>
                <a:gd name="T49" fmla="*/ 128 h 250"/>
                <a:gd name="T50" fmla="*/ 136 w 406"/>
                <a:gd name="T51" fmla="*/ 129 h 250"/>
                <a:gd name="T52" fmla="*/ 151 w 406"/>
                <a:gd name="T53" fmla="*/ 133 h 250"/>
                <a:gd name="T54" fmla="*/ 389 w 406"/>
                <a:gd name="T55" fmla="*/ 250 h 250"/>
                <a:gd name="T56" fmla="*/ 406 w 406"/>
                <a:gd name="T57" fmla="*/ 220 h 250"/>
                <a:gd name="T58" fmla="*/ 25 w 406"/>
                <a:gd name="T5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6" h="250">
                  <a:moveTo>
                    <a:pt x="24" y="3"/>
                  </a:moveTo>
                  <a:cubicBezTo>
                    <a:pt x="402" y="222"/>
                    <a:pt x="402" y="222"/>
                    <a:pt x="402" y="222"/>
                  </a:cubicBezTo>
                  <a:cubicBezTo>
                    <a:pt x="388" y="246"/>
                    <a:pt x="388" y="246"/>
                    <a:pt x="388" y="246"/>
                  </a:cubicBezTo>
                  <a:cubicBezTo>
                    <a:pt x="153" y="130"/>
                    <a:pt x="153" y="130"/>
                    <a:pt x="153" y="130"/>
                  </a:cubicBezTo>
                  <a:cubicBezTo>
                    <a:pt x="148" y="128"/>
                    <a:pt x="141" y="126"/>
                    <a:pt x="136" y="126"/>
                  </a:cubicBezTo>
                  <a:cubicBezTo>
                    <a:pt x="115" y="125"/>
                    <a:pt x="115" y="125"/>
                    <a:pt x="115" y="125"/>
                  </a:cubicBezTo>
                  <a:cubicBezTo>
                    <a:pt x="111" y="125"/>
                    <a:pt x="105" y="123"/>
                    <a:pt x="101" y="121"/>
                  </a:cubicBezTo>
                  <a:cubicBezTo>
                    <a:pt x="48" y="90"/>
                    <a:pt x="48" y="90"/>
                    <a:pt x="48" y="90"/>
                  </a:cubicBezTo>
                  <a:cubicBezTo>
                    <a:pt x="45" y="88"/>
                    <a:pt x="40" y="83"/>
                    <a:pt x="39" y="80"/>
                  </a:cubicBezTo>
                  <a:cubicBezTo>
                    <a:pt x="31" y="60"/>
                    <a:pt x="31" y="60"/>
                    <a:pt x="31" y="60"/>
                  </a:cubicBezTo>
                  <a:cubicBezTo>
                    <a:pt x="30" y="56"/>
                    <a:pt x="25" y="50"/>
                    <a:pt x="20" y="47"/>
                  </a:cubicBezTo>
                  <a:cubicBezTo>
                    <a:pt x="4" y="38"/>
                    <a:pt x="4" y="38"/>
                    <a:pt x="4" y="38"/>
                  </a:cubicBezTo>
                  <a:cubicBezTo>
                    <a:pt x="3" y="33"/>
                    <a:pt x="3" y="33"/>
                    <a:pt x="3" y="33"/>
                  </a:cubicBezTo>
                  <a:cubicBezTo>
                    <a:pt x="19" y="5"/>
                    <a:pt x="19" y="5"/>
                    <a:pt x="19" y="5"/>
                  </a:cubicBezTo>
                  <a:cubicBezTo>
                    <a:pt x="24" y="3"/>
                    <a:pt x="24" y="3"/>
                    <a:pt x="24" y="3"/>
                  </a:cubicBezTo>
                  <a:moveTo>
                    <a:pt x="25" y="0"/>
                  </a:moveTo>
                  <a:cubicBezTo>
                    <a:pt x="17" y="2"/>
                    <a:pt x="17" y="2"/>
                    <a:pt x="17" y="2"/>
                  </a:cubicBezTo>
                  <a:cubicBezTo>
                    <a:pt x="0" y="32"/>
                    <a:pt x="0" y="32"/>
                    <a:pt x="0" y="32"/>
                  </a:cubicBezTo>
                  <a:cubicBezTo>
                    <a:pt x="2" y="40"/>
                    <a:pt x="2" y="40"/>
                    <a:pt x="2" y="40"/>
                  </a:cubicBezTo>
                  <a:cubicBezTo>
                    <a:pt x="19" y="50"/>
                    <a:pt x="19" y="50"/>
                    <a:pt x="19" y="50"/>
                  </a:cubicBezTo>
                  <a:cubicBezTo>
                    <a:pt x="22" y="52"/>
                    <a:pt x="27" y="57"/>
                    <a:pt x="29" y="61"/>
                  </a:cubicBezTo>
                  <a:cubicBezTo>
                    <a:pt x="36" y="81"/>
                    <a:pt x="36" y="81"/>
                    <a:pt x="36" y="81"/>
                  </a:cubicBezTo>
                  <a:cubicBezTo>
                    <a:pt x="38" y="85"/>
                    <a:pt x="42" y="91"/>
                    <a:pt x="46" y="93"/>
                  </a:cubicBezTo>
                  <a:cubicBezTo>
                    <a:pt x="100" y="123"/>
                    <a:pt x="100" y="123"/>
                    <a:pt x="100" y="123"/>
                  </a:cubicBezTo>
                  <a:cubicBezTo>
                    <a:pt x="103" y="126"/>
                    <a:pt x="110" y="128"/>
                    <a:pt x="115" y="128"/>
                  </a:cubicBezTo>
                  <a:cubicBezTo>
                    <a:pt x="136" y="129"/>
                    <a:pt x="136" y="129"/>
                    <a:pt x="136" y="129"/>
                  </a:cubicBezTo>
                  <a:cubicBezTo>
                    <a:pt x="140" y="129"/>
                    <a:pt x="147" y="130"/>
                    <a:pt x="151" y="133"/>
                  </a:cubicBezTo>
                  <a:cubicBezTo>
                    <a:pt x="389" y="250"/>
                    <a:pt x="389" y="250"/>
                    <a:pt x="389" y="250"/>
                  </a:cubicBezTo>
                  <a:cubicBezTo>
                    <a:pt x="406" y="220"/>
                    <a:pt x="406" y="220"/>
                    <a:pt x="406" y="220"/>
                  </a:cubicBezTo>
                  <a:cubicBezTo>
                    <a:pt x="25" y="0"/>
                    <a:pt x="25" y="0"/>
                    <a:pt x="25" y="0"/>
                  </a:cubicBezTo>
                  <a:close/>
                </a:path>
              </a:pathLst>
            </a:custGeom>
            <a:solidFill>
              <a:srgbClr val="00427A"/>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6" name="Freeform 57"/>
            <p:cNvSpPr>
              <a:spLocks/>
            </p:cNvSpPr>
            <p:nvPr/>
          </p:nvSpPr>
          <p:spPr bwMode="auto">
            <a:xfrm>
              <a:off x="8399463" y="2054225"/>
              <a:ext cx="1489075" cy="963612"/>
            </a:xfrm>
            <a:custGeom>
              <a:avLst/>
              <a:gdLst>
                <a:gd name="T0" fmla="*/ 0 w 397"/>
                <a:gd name="T1" fmla="*/ 229 h 257"/>
                <a:gd name="T2" fmla="*/ 220 w 397"/>
                <a:gd name="T3" fmla="*/ 83 h 257"/>
                <a:gd name="T4" fmla="*/ 231 w 397"/>
                <a:gd name="T5" fmla="*/ 71 h 257"/>
                <a:gd name="T6" fmla="*/ 242 w 397"/>
                <a:gd name="T7" fmla="*/ 54 h 257"/>
                <a:gd name="T8" fmla="*/ 253 w 397"/>
                <a:gd name="T9" fmla="*/ 43 h 257"/>
                <a:gd name="T10" fmla="*/ 306 w 397"/>
                <a:gd name="T11" fmla="*/ 12 h 257"/>
                <a:gd name="T12" fmla="*/ 318 w 397"/>
                <a:gd name="T13" fmla="*/ 9 h 257"/>
                <a:gd name="T14" fmla="*/ 321 w 397"/>
                <a:gd name="T15" fmla="*/ 9 h 257"/>
                <a:gd name="T16" fmla="*/ 341 w 397"/>
                <a:gd name="T17" fmla="*/ 13 h 257"/>
                <a:gd name="T18" fmla="*/ 344 w 397"/>
                <a:gd name="T19" fmla="*/ 13 h 257"/>
                <a:gd name="T20" fmla="*/ 358 w 397"/>
                <a:gd name="T21" fmla="*/ 10 h 257"/>
                <a:gd name="T22" fmla="*/ 374 w 397"/>
                <a:gd name="T23" fmla="*/ 0 h 257"/>
                <a:gd name="T24" fmla="*/ 381 w 397"/>
                <a:gd name="T25" fmla="*/ 2 h 257"/>
                <a:gd name="T26" fmla="*/ 397 w 397"/>
                <a:gd name="T27" fmla="*/ 31 h 257"/>
                <a:gd name="T28" fmla="*/ 395 w 397"/>
                <a:gd name="T29" fmla="*/ 37 h 257"/>
                <a:gd name="T30" fmla="*/ 16 w 397"/>
                <a:gd name="T31" fmla="*/ 257 h 257"/>
                <a:gd name="T32" fmla="*/ 0 w 397"/>
                <a:gd name="T33"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7" h="257">
                  <a:moveTo>
                    <a:pt x="0" y="229"/>
                  </a:moveTo>
                  <a:cubicBezTo>
                    <a:pt x="220" y="83"/>
                    <a:pt x="220" y="83"/>
                    <a:pt x="220" y="83"/>
                  </a:cubicBezTo>
                  <a:cubicBezTo>
                    <a:pt x="224" y="80"/>
                    <a:pt x="229" y="75"/>
                    <a:pt x="231" y="71"/>
                  </a:cubicBezTo>
                  <a:cubicBezTo>
                    <a:pt x="242" y="54"/>
                    <a:pt x="242" y="54"/>
                    <a:pt x="242" y="54"/>
                  </a:cubicBezTo>
                  <a:cubicBezTo>
                    <a:pt x="244" y="50"/>
                    <a:pt x="250" y="45"/>
                    <a:pt x="253" y="43"/>
                  </a:cubicBezTo>
                  <a:cubicBezTo>
                    <a:pt x="306" y="12"/>
                    <a:pt x="306" y="12"/>
                    <a:pt x="306" y="12"/>
                  </a:cubicBezTo>
                  <a:cubicBezTo>
                    <a:pt x="309" y="10"/>
                    <a:pt x="314" y="9"/>
                    <a:pt x="318" y="9"/>
                  </a:cubicBezTo>
                  <a:cubicBezTo>
                    <a:pt x="319" y="9"/>
                    <a:pt x="320" y="9"/>
                    <a:pt x="321" y="9"/>
                  </a:cubicBezTo>
                  <a:cubicBezTo>
                    <a:pt x="341" y="13"/>
                    <a:pt x="341" y="13"/>
                    <a:pt x="341" y="13"/>
                  </a:cubicBezTo>
                  <a:cubicBezTo>
                    <a:pt x="342" y="13"/>
                    <a:pt x="343" y="13"/>
                    <a:pt x="344" y="13"/>
                  </a:cubicBezTo>
                  <a:cubicBezTo>
                    <a:pt x="349" y="13"/>
                    <a:pt x="354" y="12"/>
                    <a:pt x="358" y="10"/>
                  </a:cubicBezTo>
                  <a:cubicBezTo>
                    <a:pt x="374" y="0"/>
                    <a:pt x="374" y="0"/>
                    <a:pt x="374" y="0"/>
                  </a:cubicBezTo>
                  <a:cubicBezTo>
                    <a:pt x="381" y="2"/>
                    <a:pt x="381" y="2"/>
                    <a:pt x="381" y="2"/>
                  </a:cubicBezTo>
                  <a:cubicBezTo>
                    <a:pt x="397" y="31"/>
                    <a:pt x="397" y="31"/>
                    <a:pt x="397" y="31"/>
                  </a:cubicBezTo>
                  <a:cubicBezTo>
                    <a:pt x="395" y="37"/>
                    <a:pt x="395" y="37"/>
                    <a:pt x="395" y="37"/>
                  </a:cubicBezTo>
                  <a:cubicBezTo>
                    <a:pt x="16" y="257"/>
                    <a:pt x="16" y="257"/>
                    <a:pt x="16" y="257"/>
                  </a:cubicBezTo>
                  <a:lnTo>
                    <a:pt x="0" y="229"/>
                  </a:ln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18" name="Freeform 58"/>
            <p:cNvSpPr>
              <a:spLocks noEditPoints="1"/>
            </p:cNvSpPr>
            <p:nvPr/>
          </p:nvSpPr>
          <p:spPr bwMode="auto">
            <a:xfrm>
              <a:off x="8391525" y="2051050"/>
              <a:ext cx="1504950" cy="974725"/>
            </a:xfrm>
            <a:custGeom>
              <a:avLst/>
              <a:gdLst>
                <a:gd name="T0" fmla="*/ 376 w 401"/>
                <a:gd name="T1" fmla="*/ 3 h 260"/>
                <a:gd name="T2" fmla="*/ 382 w 401"/>
                <a:gd name="T3" fmla="*/ 4 h 260"/>
                <a:gd name="T4" fmla="*/ 397 w 401"/>
                <a:gd name="T5" fmla="*/ 32 h 260"/>
                <a:gd name="T6" fmla="*/ 396 w 401"/>
                <a:gd name="T7" fmla="*/ 37 h 260"/>
                <a:gd name="T8" fmla="*/ 18 w 401"/>
                <a:gd name="T9" fmla="*/ 256 h 260"/>
                <a:gd name="T10" fmla="*/ 4 w 401"/>
                <a:gd name="T11" fmla="*/ 231 h 260"/>
                <a:gd name="T12" fmla="*/ 222 w 401"/>
                <a:gd name="T13" fmla="*/ 85 h 260"/>
                <a:gd name="T14" fmla="*/ 235 w 401"/>
                <a:gd name="T15" fmla="*/ 73 h 260"/>
                <a:gd name="T16" fmla="*/ 246 w 401"/>
                <a:gd name="T17" fmla="*/ 55 h 260"/>
                <a:gd name="T18" fmla="*/ 256 w 401"/>
                <a:gd name="T19" fmla="*/ 45 h 260"/>
                <a:gd name="T20" fmla="*/ 309 w 401"/>
                <a:gd name="T21" fmla="*/ 14 h 260"/>
                <a:gd name="T22" fmla="*/ 320 w 401"/>
                <a:gd name="T23" fmla="*/ 12 h 260"/>
                <a:gd name="T24" fmla="*/ 323 w 401"/>
                <a:gd name="T25" fmla="*/ 12 h 260"/>
                <a:gd name="T26" fmla="*/ 343 w 401"/>
                <a:gd name="T27" fmla="*/ 15 h 260"/>
                <a:gd name="T28" fmla="*/ 346 w 401"/>
                <a:gd name="T29" fmla="*/ 15 h 260"/>
                <a:gd name="T30" fmla="*/ 360 w 401"/>
                <a:gd name="T31" fmla="*/ 12 h 260"/>
                <a:gd name="T32" fmla="*/ 376 w 401"/>
                <a:gd name="T33" fmla="*/ 3 h 260"/>
                <a:gd name="T34" fmla="*/ 376 w 401"/>
                <a:gd name="T35" fmla="*/ 0 h 260"/>
                <a:gd name="T36" fmla="*/ 359 w 401"/>
                <a:gd name="T37" fmla="*/ 9 h 260"/>
                <a:gd name="T38" fmla="*/ 346 w 401"/>
                <a:gd name="T39" fmla="*/ 12 h 260"/>
                <a:gd name="T40" fmla="*/ 344 w 401"/>
                <a:gd name="T41" fmla="*/ 12 h 260"/>
                <a:gd name="T42" fmla="*/ 323 w 401"/>
                <a:gd name="T43" fmla="*/ 9 h 260"/>
                <a:gd name="T44" fmla="*/ 320 w 401"/>
                <a:gd name="T45" fmla="*/ 9 h 260"/>
                <a:gd name="T46" fmla="*/ 308 w 401"/>
                <a:gd name="T47" fmla="*/ 12 h 260"/>
                <a:gd name="T48" fmla="*/ 254 w 401"/>
                <a:gd name="T49" fmla="*/ 43 h 260"/>
                <a:gd name="T50" fmla="*/ 243 w 401"/>
                <a:gd name="T51" fmla="*/ 54 h 260"/>
                <a:gd name="T52" fmla="*/ 232 w 401"/>
                <a:gd name="T53" fmla="*/ 71 h 260"/>
                <a:gd name="T54" fmla="*/ 221 w 401"/>
                <a:gd name="T55" fmla="*/ 83 h 260"/>
                <a:gd name="T56" fmla="*/ 0 w 401"/>
                <a:gd name="T57" fmla="*/ 230 h 260"/>
                <a:gd name="T58" fmla="*/ 17 w 401"/>
                <a:gd name="T59" fmla="*/ 260 h 260"/>
                <a:gd name="T60" fmla="*/ 399 w 401"/>
                <a:gd name="T61" fmla="*/ 39 h 260"/>
                <a:gd name="T62" fmla="*/ 401 w 401"/>
                <a:gd name="T63" fmla="*/ 32 h 260"/>
                <a:gd name="T64" fmla="*/ 384 w 401"/>
                <a:gd name="T65" fmla="*/ 2 h 260"/>
                <a:gd name="T66" fmla="*/ 376 w 401"/>
                <a:gd name="T6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1" h="260">
                  <a:moveTo>
                    <a:pt x="376" y="3"/>
                  </a:moveTo>
                  <a:cubicBezTo>
                    <a:pt x="382" y="4"/>
                    <a:pt x="382" y="4"/>
                    <a:pt x="382" y="4"/>
                  </a:cubicBezTo>
                  <a:cubicBezTo>
                    <a:pt x="397" y="32"/>
                    <a:pt x="397" y="32"/>
                    <a:pt x="397" y="32"/>
                  </a:cubicBezTo>
                  <a:cubicBezTo>
                    <a:pt x="396" y="37"/>
                    <a:pt x="396" y="37"/>
                    <a:pt x="396" y="37"/>
                  </a:cubicBezTo>
                  <a:cubicBezTo>
                    <a:pt x="18" y="256"/>
                    <a:pt x="18" y="256"/>
                    <a:pt x="18" y="256"/>
                  </a:cubicBezTo>
                  <a:cubicBezTo>
                    <a:pt x="4" y="231"/>
                    <a:pt x="4" y="231"/>
                    <a:pt x="4" y="231"/>
                  </a:cubicBezTo>
                  <a:cubicBezTo>
                    <a:pt x="222" y="85"/>
                    <a:pt x="222" y="85"/>
                    <a:pt x="222" y="85"/>
                  </a:cubicBezTo>
                  <a:cubicBezTo>
                    <a:pt x="227" y="83"/>
                    <a:pt x="232" y="77"/>
                    <a:pt x="235" y="73"/>
                  </a:cubicBezTo>
                  <a:cubicBezTo>
                    <a:pt x="246" y="55"/>
                    <a:pt x="246" y="55"/>
                    <a:pt x="246" y="55"/>
                  </a:cubicBezTo>
                  <a:cubicBezTo>
                    <a:pt x="248" y="52"/>
                    <a:pt x="252" y="47"/>
                    <a:pt x="256" y="45"/>
                  </a:cubicBezTo>
                  <a:cubicBezTo>
                    <a:pt x="309" y="14"/>
                    <a:pt x="309" y="14"/>
                    <a:pt x="309" y="14"/>
                  </a:cubicBezTo>
                  <a:cubicBezTo>
                    <a:pt x="312" y="13"/>
                    <a:pt x="317" y="12"/>
                    <a:pt x="320" y="12"/>
                  </a:cubicBezTo>
                  <a:cubicBezTo>
                    <a:pt x="321" y="12"/>
                    <a:pt x="322" y="12"/>
                    <a:pt x="323" y="12"/>
                  </a:cubicBezTo>
                  <a:cubicBezTo>
                    <a:pt x="343" y="15"/>
                    <a:pt x="343" y="15"/>
                    <a:pt x="343" y="15"/>
                  </a:cubicBezTo>
                  <a:cubicBezTo>
                    <a:pt x="344" y="15"/>
                    <a:pt x="345" y="15"/>
                    <a:pt x="346" y="15"/>
                  </a:cubicBezTo>
                  <a:cubicBezTo>
                    <a:pt x="351" y="15"/>
                    <a:pt x="357" y="14"/>
                    <a:pt x="360" y="12"/>
                  </a:cubicBezTo>
                  <a:cubicBezTo>
                    <a:pt x="376" y="3"/>
                    <a:pt x="376" y="3"/>
                    <a:pt x="376" y="3"/>
                  </a:cubicBezTo>
                  <a:moveTo>
                    <a:pt x="376" y="0"/>
                  </a:moveTo>
                  <a:cubicBezTo>
                    <a:pt x="359" y="9"/>
                    <a:pt x="359" y="9"/>
                    <a:pt x="359" y="9"/>
                  </a:cubicBezTo>
                  <a:cubicBezTo>
                    <a:pt x="356" y="11"/>
                    <a:pt x="351" y="12"/>
                    <a:pt x="346" y="12"/>
                  </a:cubicBezTo>
                  <a:cubicBezTo>
                    <a:pt x="345" y="12"/>
                    <a:pt x="344" y="12"/>
                    <a:pt x="344" y="12"/>
                  </a:cubicBezTo>
                  <a:cubicBezTo>
                    <a:pt x="323" y="9"/>
                    <a:pt x="323" y="9"/>
                    <a:pt x="323" y="9"/>
                  </a:cubicBezTo>
                  <a:cubicBezTo>
                    <a:pt x="322" y="9"/>
                    <a:pt x="321" y="9"/>
                    <a:pt x="320" y="9"/>
                  </a:cubicBezTo>
                  <a:cubicBezTo>
                    <a:pt x="316" y="9"/>
                    <a:pt x="311" y="10"/>
                    <a:pt x="308" y="12"/>
                  </a:cubicBezTo>
                  <a:cubicBezTo>
                    <a:pt x="254" y="43"/>
                    <a:pt x="254" y="43"/>
                    <a:pt x="254" y="43"/>
                  </a:cubicBezTo>
                  <a:cubicBezTo>
                    <a:pt x="251" y="45"/>
                    <a:pt x="245" y="50"/>
                    <a:pt x="243" y="54"/>
                  </a:cubicBezTo>
                  <a:cubicBezTo>
                    <a:pt x="232" y="71"/>
                    <a:pt x="232" y="71"/>
                    <a:pt x="232" y="71"/>
                  </a:cubicBezTo>
                  <a:cubicBezTo>
                    <a:pt x="230" y="75"/>
                    <a:pt x="225" y="80"/>
                    <a:pt x="221" y="83"/>
                  </a:cubicBezTo>
                  <a:cubicBezTo>
                    <a:pt x="0" y="230"/>
                    <a:pt x="0" y="230"/>
                    <a:pt x="0" y="230"/>
                  </a:cubicBezTo>
                  <a:cubicBezTo>
                    <a:pt x="17" y="260"/>
                    <a:pt x="17" y="260"/>
                    <a:pt x="17" y="260"/>
                  </a:cubicBezTo>
                  <a:cubicBezTo>
                    <a:pt x="399" y="39"/>
                    <a:pt x="399" y="39"/>
                    <a:pt x="399" y="39"/>
                  </a:cubicBezTo>
                  <a:cubicBezTo>
                    <a:pt x="401" y="32"/>
                    <a:pt x="401" y="32"/>
                    <a:pt x="401" y="32"/>
                  </a:cubicBezTo>
                  <a:cubicBezTo>
                    <a:pt x="384" y="2"/>
                    <a:pt x="384" y="2"/>
                    <a:pt x="384" y="2"/>
                  </a:cubicBezTo>
                  <a:cubicBezTo>
                    <a:pt x="376" y="0"/>
                    <a:pt x="376" y="0"/>
                    <a:pt x="376" y="0"/>
                  </a:cubicBezTo>
                  <a:close/>
                </a:path>
              </a:pathLst>
            </a:custGeom>
            <a:solidFill>
              <a:srgbClr val="00427A"/>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28" name="Group 1127"/>
          <p:cNvGrpSpPr/>
          <p:nvPr/>
        </p:nvGrpSpPr>
        <p:grpSpPr>
          <a:xfrm>
            <a:off x="4372396" y="3927672"/>
            <a:ext cx="399208" cy="387492"/>
            <a:chOff x="9251950" y="588962"/>
            <a:chExt cx="2163763" cy="2100263"/>
          </a:xfrm>
        </p:grpSpPr>
        <p:sp>
          <p:nvSpPr>
            <p:cNvPr id="180" name="Freeform 63"/>
            <p:cNvSpPr>
              <a:spLocks/>
            </p:cNvSpPr>
            <p:nvPr/>
          </p:nvSpPr>
          <p:spPr bwMode="auto">
            <a:xfrm>
              <a:off x="10658475" y="1023938"/>
              <a:ext cx="596900" cy="825500"/>
            </a:xfrm>
            <a:custGeom>
              <a:avLst/>
              <a:gdLst>
                <a:gd name="T0" fmla="*/ 177 w 376"/>
                <a:gd name="T1" fmla="*/ 116 h 520"/>
                <a:gd name="T2" fmla="*/ 229 w 376"/>
                <a:gd name="T3" fmla="*/ 26 h 520"/>
                <a:gd name="T4" fmla="*/ 222 w 376"/>
                <a:gd name="T5" fmla="*/ 5 h 520"/>
                <a:gd name="T6" fmla="*/ 213 w 376"/>
                <a:gd name="T7" fmla="*/ 0 h 520"/>
                <a:gd name="T8" fmla="*/ 191 w 376"/>
                <a:gd name="T9" fmla="*/ 5 h 520"/>
                <a:gd name="T10" fmla="*/ 139 w 376"/>
                <a:gd name="T11" fmla="*/ 95 h 520"/>
                <a:gd name="T12" fmla="*/ 80 w 376"/>
                <a:gd name="T13" fmla="*/ 62 h 520"/>
                <a:gd name="T14" fmla="*/ 21 w 376"/>
                <a:gd name="T15" fmla="*/ 166 h 520"/>
                <a:gd name="T16" fmla="*/ 52 w 376"/>
                <a:gd name="T17" fmla="*/ 284 h 520"/>
                <a:gd name="T18" fmla="*/ 33 w 376"/>
                <a:gd name="T19" fmla="*/ 317 h 520"/>
                <a:gd name="T20" fmla="*/ 50 w 376"/>
                <a:gd name="T21" fmla="*/ 381 h 520"/>
                <a:gd name="T22" fmla="*/ 64 w 376"/>
                <a:gd name="T23" fmla="*/ 388 h 520"/>
                <a:gd name="T24" fmla="*/ 0 w 376"/>
                <a:gd name="T25" fmla="*/ 499 h 520"/>
                <a:gd name="T26" fmla="*/ 38 w 376"/>
                <a:gd name="T27" fmla="*/ 520 h 520"/>
                <a:gd name="T28" fmla="*/ 99 w 376"/>
                <a:gd name="T29" fmla="*/ 409 h 520"/>
                <a:gd name="T30" fmla="*/ 113 w 376"/>
                <a:gd name="T31" fmla="*/ 419 h 520"/>
                <a:gd name="T32" fmla="*/ 177 w 376"/>
                <a:gd name="T33" fmla="*/ 400 h 520"/>
                <a:gd name="T34" fmla="*/ 196 w 376"/>
                <a:gd name="T35" fmla="*/ 367 h 520"/>
                <a:gd name="T36" fmla="*/ 314 w 376"/>
                <a:gd name="T37" fmla="*/ 336 h 520"/>
                <a:gd name="T38" fmla="*/ 376 w 376"/>
                <a:gd name="T39" fmla="*/ 232 h 520"/>
                <a:gd name="T40" fmla="*/ 177 w 376"/>
                <a:gd name="T41" fmla="*/ 1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6" h="520">
                  <a:moveTo>
                    <a:pt x="177" y="116"/>
                  </a:moveTo>
                  <a:lnTo>
                    <a:pt x="229" y="26"/>
                  </a:lnTo>
                  <a:lnTo>
                    <a:pt x="222" y="5"/>
                  </a:lnTo>
                  <a:lnTo>
                    <a:pt x="213" y="0"/>
                  </a:lnTo>
                  <a:lnTo>
                    <a:pt x="191" y="5"/>
                  </a:lnTo>
                  <a:lnTo>
                    <a:pt x="139" y="95"/>
                  </a:lnTo>
                  <a:lnTo>
                    <a:pt x="80" y="62"/>
                  </a:lnTo>
                  <a:lnTo>
                    <a:pt x="21" y="166"/>
                  </a:lnTo>
                  <a:lnTo>
                    <a:pt x="52" y="284"/>
                  </a:lnTo>
                  <a:lnTo>
                    <a:pt x="33" y="317"/>
                  </a:lnTo>
                  <a:lnTo>
                    <a:pt x="50" y="381"/>
                  </a:lnTo>
                  <a:lnTo>
                    <a:pt x="64" y="388"/>
                  </a:lnTo>
                  <a:lnTo>
                    <a:pt x="0" y="499"/>
                  </a:lnTo>
                  <a:lnTo>
                    <a:pt x="38" y="520"/>
                  </a:lnTo>
                  <a:lnTo>
                    <a:pt x="99" y="409"/>
                  </a:lnTo>
                  <a:lnTo>
                    <a:pt x="113" y="419"/>
                  </a:lnTo>
                  <a:lnTo>
                    <a:pt x="177" y="400"/>
                  </a:lnTo>
                  <a:lnTo>
                    <a:pt x="196" y="367"/>
                  </a:lnTo>
                  <a:lnTo>
                    <a:pt x="314" y="336"/>
                  </a:lnTo>
                  <a:lnTo>
                    <a:pt x="376" y="232"/>
                  </a:lnTo>
                  <a:lnTo>
                    <a:pt x="177" y="1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1" name="Freeform 64"/>
            <p:cNvSpPr>
              <a:spLocks/>
            </p:cNvSpPr>
            <p:nvPr/>
          </p:nvSpPr>
          <p:spPr bwMode="auto">
            <a:xfrm>
              <a:off x="11126788" y="1152525"/>
              <a:ext cx="117475" cy="141288"/>
            </a:xfrm>
            <a:custGeom>
              <a:avLst/>
              <a:gdLst>
                <a:gd name="T0" fmla="*/ 74 w 74"/>
                <a:gd name="T1" fmla="*/ 26 h 89"/>
                <a:gd name="T2" fmla="*/ 67 w 74"/>
                <a:gd name="T3" fmla="*/ 4 h 89"/>
                <a:gd name="T4" fmla="*/ 57 w 74"/>
                <a:gd name="T5" fmla="*/ 0 h 89"/>
                <a:gd name="T6" fmla="*/ 36 w 74"/>
                <a:gd name="T7" fmla="*/ 4 h 89"/>
                <a:gd name="T8" fmla="*/ 0 w 74"/>
                <a:gd name="T9" fmla="*/ 68 h 89"/>
                <a:gd name="T10" fmla="*/ 36 w 74"/>
                <a:gd name="T11" fmla="*/ 89 h 89"/>
                <a:gd name="T12" fmla="*/ 74 w 74"/>
                <a:gd name="T13" fmla="*/ 26 h 89"/>
              </a:gdLst>
              <a:ahLst/>
              <a:cxnLst>
                <a:cxn ang="0">
                  <a:pos x="T0" y="T1"/>
                </a:cxn>
                <a:cxn ang="0">
                  <a:pos x="T2" y="T3"/>
                </a:cxn>
                <a:cxn ang="0">
                  <a:pos x="T4" y="T5"/>
                </a:cxn>
                <a:cxn ang="0">
                  <a:pos x="T6" y="T7"/>
                </a:cxn>
                <a:cxn ang="0">
                  <a:pos x="T8" y="T9"/>
                </a:cxn>
                <a:cxn ang="0">
                  <a:pos x="T10" y="T11"/>
                </a:cxn>
                <a:cxn ang="0">
                  <a:pos x="T12" y="T13"/>
                </a:cxn>
              </a:cxnLst>
              <a:rect l="0" t="0" r="r" b="b"/>
              <a:pathLst>
                <a:path w="74" h="89">
                  <a:moveTo>
                    <a:pt x="74" y="26"/>
                  </a:moveTo>
                  <a:lnTo>
                    <a:pt x="67" y="4"/>
                  </a:lnTo>
                  <a:lnTo>
                    <a:pt x="57" y="0"/>
                  </a:lnTo>
                  <a:lnTo>
                    <a:pt x="36" y="4"/>
                  </a:lnTo>
                  <a:lnTo>
                    <a:pt x="0" y="68"/>
                  </a:lnTo>
                  <a:lnTo>
                    <a:pt x="36" y="89"/>
                  </a:lnTo>
                  <a:lnTo>
                    <a:pt x="74" y="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2" name="Freeform 65"/>
            <p:cNvSpPr>
              <a:spLocks/>
            </p:cNvSpPr>
            <p:nvPr/>
          </p:nvSpPr>
          <p:spPr bwMode="auto">
            <a:xfrm>
              <a:off x="10669588" y="1430338"/>
              <a:ext cx="746125" cy="617538"/>
            </a:xfrm>
            <a:custGeom>
              <a:avLst/>
              <a:gdLst>
                <a:gd name="T0" fmla="*/ 170 w 199"/>
                <a:gd name="T1" fmla="*/ 0 h 165"/>
                <a:gd name="T2" fmla="*/ 164 w 199"/>
                <a:gd name="T3" fmla="*/ 11 h 165"/>
                <a:gd name="T4" fmla="*/ 187 w 199"/>
                <a:gd name="T5" fmla="*/ 53 h 165"/>
                <a:gd name="T6" fmla="*/ 7 w 199"/>
                <a:gd name="T7" fmla="*/ 154 h 165"/>
                <a:gd name="T8" fmla="*/ 0 w 199"/>
                <a:gd name="T9" fmla="*/ 165 h 165"/>
                <a:gd name="T10" fmla="*/ 199 w 199"/>
                <a:gd name="T11" fmla="*/ 53 h 165"/>
                <a:gd name="T12" fmla="*/ 170 w 199"/>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199" h="165">
                  <a:moveTo>
                    <a:pt x="170" y="0"/>
                  </a:moveTo>
                  <a:cubicBezTo>
                    <a:pt x="164" y="11"/>
                    <a:pt x="164" y="11"/>
                    <a:pt x="164" y="11"/>
                  </a:cubicBezTo>
                  <a:cubicBezTo>
                    <a:pt x="179" y="25"/>
                    <a:pt x="187" y="39"/>
                    <a:pt x="187" y="53"/>
                  </a:cubicBezTo>
                  <a:cubicBezTo>
                    <a:pt x="187" y="93"/>
                    <a:pt x="121" y="137"/>
                    <a:pt x="7" y="154"/>
                  </a:cubicBezTo>
                  <a:cubicBezTo>
                    <a:pt x="5" y="157"/>
                    <a:pt x="2" y="161"/>
                    <a:pt x="0" y="165"/>
                  </a:cubicBezTo>
                  <a:cubicBezTo>
                    <a:pt x="117" y="150"/>
                    <a:pt x="199" y="106"/>
                    <a:pt x="199" y="53"/>
                  </a:cubicBezTo>
                  <a:cubicBezTo>
                    <a:pt x="199" y="34"/>
                    <a:pt x="189" y="16"/>
                    <a:pt x="1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3" name="Freeform 66"/>
            <p:cNvSpPr>
              <a:spLocks/>
            </p:cNvSpPr>
            <p:nvPr/>
          </p:nvSpPr>
          <p:spPr bwMode="auto">
            <a:xfrm>
              <a:off x="10380663" y="1744663"/>
              <a:ext cx="660400" cy="889000"/>
            </a:xfrm>
            <a:custGeom>
              <a:avLst/>
              <a:gdLst>
                <a:gd name="T0" fmla="*/ 133 w 176"/>
                <a:gd name="T1" fmla="*/ 0 h 237"/>
                <a:gd name="T2" fmla="*/ 125 w 176"/>
                <a:gd name="T3" fmla="*/ 2 h 237"/>
                <a:gd name="T4" fmla="*/ 122 w 176"/>
                <a:gd name="T5" fmla="*/ 7 h 237"/>
                <a:gd name="T6" fmla="*/ 125 w 176"/>
                <a:gd name="T7" fmla="*/ 208 h 237"/>
                <a:gd name="T8" fmla="*/ 8 w 176"/>
                <a:gd name="T9" fmla="*/ 166 h 237"/>
                <a:gd name="T10" fmla="*/ 0 w 176"/>
                <a:gd name="T11" fmla="*/ 174 h 237"/>
                <a:gd name="T12" fmla="*/ 132 w 176"/>
                <a:gd name="T13" fmla="*/ 219 h 237"/>
                <a:gd name="T14" fmla="*/ 133 w 176"/>
                <a:gd name="T15" fmla="*/ 0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237">
                  <a:moveTo>
                    <a:pt x="133" y="0"/>
                  </a:moveTo>
                  <a:cubicBezTo>
                    <a:pt x="125" y="2"/>
                    <a:pt x="125" y="2"/>
                    <a:pt x="125" y="2"/>
                  </a:cubicBezTo>
                  <a:cubicBezTo>
                    <a:pt x="122" y="7"/>
                    <a:pt x="122" y="7"/>
                    <a:pt x="122" y="7"/>
                  </a:cubicBezTo>
                  <a:cubicBezTo>
                    <a:pt x="163" y="110"/>
                    <a:pt x="160" y="188"/>
                    <a:pt x="125" y="208"/>
                  </a:cubicBezTo>
                  <a:cubicBezTo>
                    <a:pt x="100" y="222"/>
                    <a:pt x="57" y="208"/>
                    <a:pt x="8" y="166"/>
                  </a:cubicBezTo>
                  <a:cubicBezTo>
                    <a:pt x="5" y="169"/>
                    <a:pt x="3" y="171"/>
                    <a:pt x="0" y="174"/>
                  </a:cubicBezTo>
                  <a:cubicBezTo>
                    <a:pt x="51" y="219"/>
                    <a:pt x="99" y="237"/>
                    <a:pt x="132" y="219"/>
                  </a:cubicBezTo>
                  <a:cubicBezTo>
                    <a:pt x="176" y="193"/>
                    <a:pt x="175" y="104"/>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4" name="Freeform 67"/>
            <p:cNvSpPr>
              <a:spLocks/>
            </p:cNvSpPr>
            <p:nvPr/>
          </p:nvSpPr>
          <p:spPr bwMode="auto">
            <a:xfrm>
              <a:off x="10137775" y="2127250"/>
              <a:ext cx="134938" cy="131763"/>
            </a:xfrm>
            <a:custGeom>
              <a:avLst/>
              <a:gdLst>
                <a:gd name="T0" fmla="*/ 36 w 36"/>
                <a:gd name="T1" fmla="*/ 27 h 35"/>
                <a:gd name="T2" fmla="*/ 14 w 36"/>
                <a:gd name="T3" fmla="*/ 1 h 35"/>
                <a:gd name="T4" fmla="*/ 0 w 36"/>
                <a:gd name="T5" fmla="*/ 0 h 35"/>
                <a:gd name="T6" fmla="*/ 28 w 36"/>
                <a:gd name="T7" fmla="*/ 35 h 35"/>
                <a:gd name="T8" fmla="*/ 36 w 36"/>
                <a:gd name="T9" fmla="*/ 27 h 35"/>
              </a:gdLst>
              <a:ahLst/>
              <a:cxnLst>
                <a:cxn ang="0">
                  <a:pos x="T0" y="T1"/>
                </a:cxn>
                <a:cxn ang="0">
                  <a:pos x="T2" y="T3"/>
                </a:cxn>
                <a:cxn ang="0">
                  <a:pos x="T4" y="T5"/>
                </a:cxn>
                <a:cxn ang="0">
                  <a:pos x="T6" y="T7"/>
                </a:cxn>
                <a:cxn ang="0">
                  <a:pos x="T8" y="T9"/>
                </a:cxn>
              </a:cxnLst>
              <a:rect l="0" t="0" r="r" b="b"/>
              <a:pathLst>
                <a:path w="36" h="35">
                  <a:moveTo>
                    <a:pt x="36" y="27"/>
                  </a:moveTo>
                  <a:cubicBezTo>
                    <a:pt x="28" y="19"/>
                    <a:pt x="21" y="11"/>
                    <a:pt x="14" y="1"/>
                  </a:cubicBezTo>
                  <a:cubicBezTo>
                    <a:pt x="9" y="1"/>
                    <a:pt x="4" y="1"/>
                    <a:pt x="0" y="0"/>
                  </a:cubicBezTo>
                  <a:cubicBezTo>
                    <a:pt x="9" y="13"/>
                    <a:pt x="19" y="24"/>
                    <a:pt x="28" y="35"/>
                  </a:cubicBezTo>
                  <a:cubicBezTo>
                    <a:pt x="31" y="32"/>
                    <a:pt x="33" y="30"/>
                    <a:pt x="36" y="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5" name="Freeform 68"/>
            <p:cNvSpPr>
              <a:spLocks/>
            </p:cNvSpPr>
            <p:nvPr/>
          </p:nvSpPr>
          <p:spPr bwMode="auto">
            <a:xfrm>
              <a:off x="9642475" y="1816100"/>
              <a:ext cx="1071563" cy="873125"/>
            </a:xfrm>
            <a:custGeom>
              <a:avLst/>
              <a:gdLst>
                <a:gd name="T0" fmla="*/ 278 w 286"/>
                <a:gd name="T1" fmla="*/ 3 h 233"/>
                <a:gd name="T2" fmla="*/ 271 w 286"/>
                <a:gd name="T3" fmla="*/ 0 h 233"/>
                <a:gd name="T4" fmla="*/ 48 w 286"/>
                <a:gd name="T5" fmla="*/ 186 h 233"/>
                <a:gd name="T6" fmla="*/ 27 w 286"/>
                <a:gd name="T7" fmla="*/ 67 h 233"/>
                <a:gd name="T8" fmla="*/ 13 w 286"/>
                <a:gd name="T9" fmla="*/ 63 h 233"/>
                <a:gd name="T10" fmla="*/ 40 w 286"/>
                <a:gd name="T11" fmla="*/ 200 h 233"/>
                <a:gd name="T12" fmla="*/ 286 w 286"/>
                <a:gd name="T13" fmla="*/ 9 h 233"/>
                <a:gd name="T14" fmla="*/ 278 w 286"/>
                <a:gd name="T15" fmla="*/ 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33">
                  <a:moveTo>
                    <a:pt x="278" y="3"/>
                  </a:moveTo>
                  <a:cubicBezTo>
                    <a:pt x="271" y="0"/>
                    <a:pt x="271" y="0"/>
                    <a:pt x="271" y="0"/>
                  </a:cubicBezTo>
                  <a:cubicBezTo>
                    <a:pt x="190" y="140"/>
                    <a:pt x="91" y="211"/>
                    <a:pt x="48" y="186"/>
                  </a:cubicBezTo>
                  <a:cubicBezTo>
                    <a:pt x="23" y="172"/>
                    <a:pt x="15" y="128"/>
                    <a:pt x="27" y="67"/>
                  </a:cubicBezTo>
                  <a:cubicBezTo>
                    <a:pt x="22" y="66"/>
                    <a:pt x="18" y="65"/>
                    <a:pt x="13" y="63"/>
                  </a:cubicBezTo>
                  <a:cubicBezTo>
                    <a:pt x="0" y="130"/>
                    <a:pt x="8" y="181"/>
                    <a:pt x="40" y="200"/>
                  </a:cubicBezTo>
                  <a:cubicBezTo>
                    <a:pt x="97" y="233"/>
                    <a:pt x="206" y="149"/>
                    <a:pt x="286" y="9"/>
                  </a:cubicBezTo>
                  <a:cubicBezTo>
                    <a:pt x="278" y="3"/>
                    <a:pt x="278" y="3"/>
                    <a:pt x="278"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6" name="Freeform 69"/>
            <p:cNvSpPr>
              <a:spLocks/>
            </p:cNvSpPr>
            <p:nvPr/>
          </p:nvSpPr>
          <p:spPr bwMode="auto">
            <a:xfrm>
              <a:off x="9251950" y="1282700"/>
              <a:ext cx="1208088" cy="787400"/>
            </a:xfrm>
            <a:custGeom>
              <a:avLst/>
              <a:gdLst>
                <a:gd name="T0" fmla="*/ 15 w 322"/>
                <a:gd name="T1" fmla="*/ 92 h 210"/>
                <a:gd name="T2" fmla="*/ 108 w 322"/>
                <a:gd name="T3" fmla="*/ 14 h 210"/>
                <a:gd name="T4" fmla="*/ 104 w 322"/>
                <a:gd name="T5" fmla="*/ 0 h 210"/>
                <a:gd name="T6" fmla="*/ 0 w 322"/>
                <a:gd name="T7" fmla="*/ 92 h 210"/>
                <a:gd name="T8" fmla="*/ 288 w 322"/>
                <a:gd name="T9" fmla="*/ 210 h 210"/>
                <a:gd name="T10" fmla="*/ 309 w 322"/>
                <a:gd name="T11" fmla="*/ 209 h 210"/>
                <a:gd name="T12" fmla="*/ 322 w 322"/>
                <a:gd name="T13" fmla="*/ 191 h 210"/>
                <a:gd name="T14" fmla="*/ 288 w 322"/>
                <a:gd name="T15" fmla="*/ 192 h 210"/>
                <a:gd name="T16" fmla="*/ 15 w 322"/>
                <a:gd name="T17" fmla="*/ 9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210">
                  <a:moveTo>
                    <a:pt x="15" y="92"/>
                  </a:moveTo>
                  <a:cubicBezTo>
                    <a:pt x="15" y="63"/>
                    <a:pt x="50" y="34"/>
                    <a:pt x="108" y="14"/>
                  </a:cubicBezTo>
                  <a:cubicBezTo>
                    <a:pt x="107" y="9"/>
                    <a:pt x="105" y="5"/>
                    <a:pt x="104" y="0"/>
                  </a:cubicBezTo>
                  <a:cubicBezTo>
                    <a:pt x="40" y="22"/>
                    <a:pt x="0" y="54"/>
                    <a:pt x="0" y="92"/>
                  </a:cubicBezTo>
                  <a:cubicBezTo>
                    <a:pt x="0" y="158"/>
                    <a:pt x="126" y="210"/>
                    <a:pt x="288" y="210"/>
                  </a:cubicBezTo>
                  <a:cubicBezTo>
                    <a:pt x="295" y="210"/>
                    <a:pt x="302" y="209"/>
                    <a:pt x="309" y="209"/>
                  </a:cubicBezTo>
                  <a:cubicBezTo>
                    <a:pt x="313" y="203"/>
                    <a:pt x="318" y="197"/>
                    <a:pt x="322" y="191"/>
                  </a:cubicBezTo>
                  <a:cubicBezTo>
                    <a:pt x="311" y="192"/>
                    <a:pt x="300" y="192"/>
                    <a:pt x="288" y="192"/>
                  </a:cubicBezTo>
                  <a:cubicBezTo>
                    <a:pt x="126" y="192"/>
                    <a:pt x="15" y="142"/>
                    <a:pt x="15"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7" name="Freeform 70"/>
            <p:cNvSpPr>
              <a:spLocks/>
            </p:cNvSpPr>
            <p:nvPr/>
          </p:nvSpPr>
          <p:spPr bwMode="auto">
            <a:xfrm>
              <a:off x="9742488" y="1706563"/>
              <a:ext cx="87313" cy="173038"/>
            </a:xfrm>
            <a:custGeom>
              <a:avLst/>
              <a:gdLst>
                <a:gd name="T0" fmla="*/ 15 w 23"/>
                <a:gd name="T1" fmla="*/ 0 h 46"/>
                <a:gd name="T2" fmla="*/ 0 w 23"/>
                <a:gd name="T3" fmla="*/ 42 h 46"/>
                <a:gd name="T4" fmla="*/ 13 w 23"/>
                <a:gd name="T5" fmla="*/ 46 h 46"/>
                <a:gd name="T6" fmla="*/ 23 w 23"/>
                <a:gd name="T7" fmla="*/ 16 h 46"/>
                <a:gd name="T8" fmla="*/ 15 w 23"/>
                <a:gd name="T9" fmla="*/ 0 h 46"/>
              </a:gdLst>
              <a:ahLst/>
              <a:cxnLst>
                <a:cxn ang="0">
                  <a:pos x="T0" y="T1"/>
                </a:cxn>
                <a:cxn ang="0">
                  <a:pos x="T2" y="T3"/>
                </a:cxn>
                <a:cxn ang="0">
                  <a:pos x="T4" y="T5"/>
                </a:cxn>
                <a:cxn ang="0">
                  <a:pos x="T6" y="T7"/>
                </a:cxn>
                <a:cxn ang="0">
                  <a:pos x="T8" y="T9"/>
                </a:cxn>
              </a:cxnLst>
              <a:rect l="0" t="0" r="r" b="b"/>
              <a:pathLst>
                <a:path w="23" h="46">
                  <a:moveTo>
                    <a:pt x="15" y="0"/>
                  </a:moveTo>
                  <a:cubicBezTo>
                    <a:pt x="9" y="14"/>
                    <a:pt x="4" y="28"/>
                    <a:pt x="0" y="42"/>
                  </a:cubicBezTo>
                  <a:cubicBezTo>
                    <a:pt x="4" y="43"/>
                    <a:pt x="8" y="45"/>
                    <a:pt x="13" y="46"/>
                  </a:cubicBezTo>
                  <a:cubicBezTo>
                    <a:pt x="16" y="36"/>
                    <a:pt x="20" y="26"/>
                    <a:pt x="23" y="16"/>
                  </a:cubicBezTo>
                  <a:cubicBezTo>
                    <a:pt x="21" y="11"/>
                    <a:pt x="18" y="5"/>
                    <a:pt x="1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8" name="Freeform 71"/>
            <p:cNvSpPr>
              <a:spLocks/>
            </p:cNvSpPr>
            <p:nvPr/>
          </p:nvSpPr>
          <p:spPr bwMode="auto">
            <a:xfrm>
              <a:off x="10137775" y="987425"/>
              <a:ext cx="149225" cy="138113"/>
            </a:xfrm>
            <a:custGeom>
              <a:avLst/>
              <a:gdLst>
                <a:gd name="T0" fmla="*/ 17 w 40"/>
                <a:gd name="T1" fmla="*/ 36 h 37"/>
                <a:gd name="T2" fmla="*/ 40 w 40"/>
                <a:gd name="T3" fmla="*/ 9 h 37"/>
                <a:gd name="T4" fmla="*/ 30 w 40"/>
                <a:gd name="T5" fmla="*/ 0 h 37"/>
                <a:gd name="T6" fmla="*/ 0 w 40"/>
                <a:gd name="T7" fmla="*/ 37 h 37"/>
                <a:gd name="T8" fmla="*/ 17 w 40"/>
                <a:gd name="T9" fmla="*/ 36 h 37"/>
              </a:gdLst>
              <a:ahLst/>
              <a:cxnLst>
                <a:cxn ang="0">
                  <a:pos x="T0" y="T1"/>
                </a:cxn>
                <a:cxn ang="0">
                  <a:pos x="T2" y="T3"/>
                </a:cxn>
                <a:cxn ang="0">
                  <a:pos x="T4" y="T5"/>
                </a:cxn>
                <a:cxn ang="0">
                  <a:pos x="T6" y="T7"/>
                </a:cxn>
                <a:cxn ang="0">
                  <a:pos x="T8" y="T9"/>
                </a:cxn>
              </a:cxnLst>
              <a:rect l="0" t="0" r="r" b="b"/>
              <a:pathLst>
                <a:path w="40" h="37">
                  <a:moveTo>
                    <a:pt x="17" y="36"/>
                  </a:moveTo>
                  <a:cubicBezTo>
                    <a:pt x="25" y="26"/>
                    <a:pt x="32" y="17"/>
                    <a:pt x="40" y="9"/>
                  </a:cubicBezTo>
                  <a:cubicBezTo>
                    <a:pt x="37" y="6"/>
                    <a:pt x="33" y="3"/>
                    <a:pt x="30" y="0"/>
                  </a:cubicBezTo>
                  <a:cubicBezTo>
                    <a:pt x="20" y="11"/>
                    <a:pt x="10" y="24"/>
                    <a:pt x="0" y="37"/>
                  </a:cubicBezTo>
                  <a:cubicBezTo>
                    <a:pt x="6" y="36"/>
                    <a:pt x="12" y="36"/>
                    <a:pt x="17"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9" name="Freeform 72"/>
            <p:cNvSpPr>
              <a:spLocks/>
            </p:cNvSpPr>
            <p:nvPr/>
          </p:nvSpPr>
          <p:spPr bwMode="auto">
            <a:xfrm>
              <a:off x="9912350" y="1317625"/>
              <a:ext cx="153988" cy="217488"/>
            </a:xfrm>
            <a:custGeom>
              <a:avLst/>
              <a:gdLst>
                <a:gd name="T0" fmla="*/ 23 w 41"/>
                <a:gd name="T1" fmla="*/ 2 h 58"/>
                <a:gd name="T2" fmla="*/ 10 w 41"/>
                <a:gd name="T3" fmla="*/ 24 h 58"/>
                <a:gd name="T4" fmla="*/ 0 w 41"/>
                <a:gd name="T5" fmla="*/ 42 h 58"/>
                <a:gd name="T6" fmla="*/ 7 w 41"/>
                <a:gd name="T7" fmla="*/ 58 h 58"/>
                <a:gd name="T8" fmla="*/ 22 w 41"/>
                <a:gd name="T9" fmla="*/ 30 h 58"/>
                <a:gd name="T10" fmla="*/ 41 w 41"/>
                <a:gd name="T11" fmla="*/ 0 h 58"/>
                <a:gd name="T12" fmla="*/ 23 w 41"/>
                <a:gd name="T13" fmla="*/ 2 h 58"/>
              </a:gdLst>
              <a:ahLst/>
              <a:cxnLst>
                <a:cxn ang="0">
                  <a:pos x="T0" y="T1"/>
                </a:cxn>
                <a:cxn ang="0">
                  <a:pos x="T2" y="T3"/>
                </a:cxn>
                <a:cxn ang="0">
                  <a:pos x="T4" y="T5"/>
                </a:cxn>
                <a:cxn ang="0">
                  <a:pos x="T6" y="T7"/>
                </a:cxn>
                <a:cxn ang="0">
                  <a:pos x="T8" y="T9"/>
                </a:cxn>
                <a:cxn ang="0">
                  <a:pos x="T10" y="T11"/>
                </a:cxn>
                <a:cxn ang="0">
                  <a:pos x="T12" y="T13"/>
                </a:cxn>
              </a:cxnLst>
              <a:rect l="0" t="0" r="r" b="b"/>
              <a:pathLst>
                <a:path w="41" h="58">
                  <a:moveTo>
                    <a:pt x="23" y="2"/>
                  </a:moveTo>
                  <a:cubicBezTo>
                    <a:pt x="19" y="9"/>
                    <a:pt x="15" y="16"/>
                    <a:pt x="10" y="24"/>
                  </a:cubicBezTo>
                  <a:cubicBezTo>
                    <a:pt x="7" y="30"/>
                    <a:pt x="3" y="36"/>
                    <a:pt x="0" y="42"/>
                  </a:cubicBezTo>
                  <a:cubicBezTo>
                    <a:pt x="2" y="47"/>
                    <a:pt x="5" y="52"/>
                    <a:pt x="7" y="58"/>
                  </a:cubicBezTo>
                  <a:cubicBezTo>
                    <a:pt x="12" y="49"/>
                    <a:pt x="17" y="40"/>
                    <a:pt x="22" y="30"/>
                  </a:cubicBezTo>
                  <a:cubicBezTo>
                    <a:pt x="28" y="20"/>
                    <a:pt x="34" y="10"/>
                    <a:pt x="41" y="0"/>
                  </a:cubicBezTo>
                  <a:cubicBezTo>
                    <a:pt x="35" y="0"/>
                    <a:pt x="29" y="1"/>
                    <a:pt x="2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0" name="Freeform 73"/>
            <p:cNvSpPr>
              <a:spLocks/>
            </p:cNvSpPr>
            <p:nvPr/>
          </p:nvSpPr>
          <p:spPr bwMode="auto">
            <a:xfrm>
              <a:off x="9832975" y="1185863"/>
              <a:ext cx="828675" cy="96838"/>
            </a:xfrm>
            <a:custGeom>
              <a:avLst/>
              <a:gdLst>
                <a:gd name="T0" fmla="*/ 133 w 221"/>
                <a:gd name="T1" fmla="*/ 0 h 26"/>
                <a:gd name="T2" fmla="*/ 0 w 221"/>
                <a:gd name="T3" fmla="*/ 13 h 26"/>
                <a:gd name="T4" fmla="*/ 3 w 221"/>
                <a:gd name="T5" fmla="*/ 26 h 26"/>
                <a:gd name="T6" fmla="*/ 133 w 221"/>
                <a:gd name="T7" fmla="*/ 13 h 26"/>
                <a:gd name="T8" fmla="*/ 214 w 221"/>
                <a:gd name="T9" fmla="*/ 18 h 26"/>
                <a:gd name="T10" fmla="*/ 221 w 221"/>
                <a:gd name="T11" fmla="*/ 5 h 26"/>
                <a:gd name="T12" fmla="*/ 133 w 22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21" h="26">
                  <a:moveTo>
                    <a:pt x="133" y="0"/>
                  </a:moveTo>
                  <a:cubicBezTo>
                    <a:pt x="85" y="0"/>
                    <a:pt x="39" y="4"/>
                    <a:pt x="0" y="13"/>
                  </a:cubicBezTo>
                  <a:cubicBezTo>
                    <a:pt x="1" y="17"/>
                    <a:pt x="2" y="22"/>
                    <a:pt x="3" y="26"/>
                  </a:cubicBezTo>
                  <a:cubicBezTo>
                    <a:pt x="41" y="18"/>
                    <a:pt x="85" y="13"/>
                    <a:pt x="133" y="13"/>
                  </a:cubicBezTo>
                  <a:cubicBezTo>
                    <a:pt x="162" y="13"/>
                    <a:pt x="189" y="15"/>
                    <a:pt x="214" y="18"/>
                  </a:cubicBezTo>
                  <a:cubicBezTo>
                    <a:pt x="221" y="5"/>
                    <a:pt x="221" y="5"/>
                    <a:pt x="221" y="5"/>
                  </a:cubicBezTo>
                  <a:cubicBezTo>
                    <a:pt x="193" y="2"/>
                    <a:pt x="164" y="0"/>
                    <a:pt x="13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1" name="Freeform 74"/>
            <p:cNvSpPr>
              <a:spLocks/>
            </p:cNvSpPr>
            <p:nvPr/>
          </p:nvSpPr>
          <p:spPr bwMode="auto">
            <a:xfrm>
              <a:off x="10380663" y="619125"/>
              <a:ext cx="619125" cy="346075"/>
            </a:xfrm>
            <a:custGeom>
              <a:avLst/>
              <a:gdLst>
                <a:gd name="T0" fmla="*/ 132 w 165"/>
                <a:gd name="T1" fmla="*/ 19 h 92"/>
                <a:gd name="T2" fmla="*/ 0 w 165"/>
                <a:gd name="T3" fmla="*/ 63 h 92"/>
                <a:gd name="T4" fmla="*/ 9 w 165"/>
                <a:gd name="T5" fmla="*/ 72 h 92"/>
                <a:gd name="T6" fmla="*/ 125 w 165"/>
                <a:gd name="T7" fmla="*/ 29 h 92"/>
                <a:gd name="T8" fmla="*/ 153 w 165"/>
                <a:gd name="T9" fmla="*/ 92 h 92"/>
                <a:gd name="T10" fmla="*/ 165 w 165"/>
                <a:gd name="T11" fmla="*/ 92 h 92"/>
                <a:gd name="T12" fmla="*/ 132 w 165"/>
                <a:gd name="T13" fmla="*/ 19 h 92"/>
              </a:gdLst>
              <a:ahLst/>
              <a:cxnLst>
                <a:cxn ang="0">
                  <a:pos x="T0" y="T1"/>
                </a:cxn>
                <a:cxn ang="0">
                  <a:pos x="T2" y="T3"/>
                </a:cxn>
                <a:cxn ang="0">
                  <a:pos x="T4" y="T5"/>
                </a:cxn>
                <a:cxn ang="0">
                  <a:pos x="T6" y="T7"/>
                </a:cxn>
                <a:cxn ang="0">
                  <a:pos x="T8" y="T9"/>
                </a:cxn>
                <a:cxn ang="0">
                  <a:pos x="T10" y="T11"/>
                </a:cxn>
                <a:cxn ang="0">
                  <a:pos x="T12" y="T13"/>
                </a:cxn>
              </a:cxnLst>
              <a:rect l="0" t="0" r="r" b="b"/>
              <a:pathLst>
                <a:path w="165" h="92">
                  <a:moveTo>
                    <a:pt x="132" y="19"/>
                  </a:moveTo>
                  <a:cubicBezTo>
                    <a:pt x="99" y="0"/>
                    <a:pt x="51" y="19"/>
                    <a:pt x="0" y="63"/>
                  </a:cubicBezTo>
                  <a:cubicBezTo>
                    <a:pt x="3" y="66"/>
                    <a:pt x="6" y="69"/>
                    <a:pt x="9" y="72"/>
                  </a:cubicBezTo>
                  <a:cubicBezTo>
                    <a:pt x="57" y="30"/>
                    <a:pt x="100" y="15"/>
                    <a:pt x="125" y="29"/>
                  </a:cubicBezTo>
                  <a:cubicBezTo>
                    <a:pt x="142" y="39"/>
                    <a:pt x="152" y="61"/>
                    <a:pt x="153" y="92"/>
                  </a:cubicBezTo>
                  <a:cubicBezTo>
                    <a:pt x="165" y="92"/>
                    <a:pt x="165" y="92"/>
                    <a:pt x="165" y="92"/>
                  </a:cubicBezTo>
                  <a:cubicBezTo>
                    <a:pt x="164" y="57"/>
                    <a:pt x="153" y="31"/>
                    <a:pt x="132"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75"/>
            <p:cNvSpPr>
              <a:spLocks/>
            </p:cNvSpPr>
            <p:nvPr/>
          </p:nvSpPr>
          <p:spPr bwMode="auto">
            <a:xfrm>
              <a:off x="9578975" y="588962"/>
              <a:ext cx="952500" cy="1335088"/>
            </a:xfrm>
            <a:custGeom>
              <a:avLst/>
              <a:gdLst>
                <a:gd name="T0" fmla="*/ 110 w 254"/>
                <a:gd name="T1" fmla="*/ 353 h 356"/>
                <a:gd name="T2" fmla="*/ 132 w 254"/>
                <a:gd name="T3" fmla="*/ 356 h 356"/>
                <a:gd name="T4" fmla="*/ 115 w 254"/>
                <a:gd name="T5" fmla="*/ 327 h 356"/>
                <a:gd name="T6" fmla="*/ 115 w 254"/>
                <a:gd name="T7" fmla="*/ 327 h 356"/>
                <a:gd name="T8" fmla="*/ 65 w 254"/>
                <a:gd name="T9" fmla="*/ 40 h 356"/>
                <a:gd name="T10" fmla="*/ 236 w 254"/>
                <a:gd name="T11" fmla="*/ 142 h 356"/>
                <a:gd name="T12" fmla="*/ 254 w 254"/>
                <a:gd name="T13" fmla="*/ 143 h 356"/>
                <a:gd name="T14" fmla="*/ 57 w 254"/>
                <a:gd name="T15" fmla="*/ 27 h 356"/>
                <a:gd name="T16" fmla="*/ 99 w 254"/>
                <a:gd name="T17" fmla="*/ 336 h 356"/>
                <a:gd name="T18" fmla="*/ 110 w 254"/>
                <a:gd name="T19" fmla="*/ 35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356">
                  <a:moveTo>
                    <a:pt x="110" y="353"/>
                  </a:moveTo>
                  <a:cubicBezTo>
                    <a:pt x="117" y="354"/>
                    <a:pt x="125" y="355"/>
                    <a:pt x="132" y="356"/>
                  </a:cubicBezTo>
                  <a:cubicBezTo>
                    <a:pt x="126" y="346"/>
                    <a:pt x="120" y="337"/>
                    <a:pt x="115" y="327"/>
                  </a:cubicBezTo>
                  <a:cubicBezTo>
                    <a:pt x="115" y="327"/>
                    <a:pt x="115" y="327"/>
                    <a:pt x="115" y="327"/>
                  </a:cubicBezTo>
                  <a:cubicBezTo>
                    <a:pt x="33" y="186"/>
                    <a:pt x="22" y="65"/>
                    <a:pt x="65" y="40"/>
                  </a:cubicBezTo>
                  <a:cubicBezTo>
                    <a:pt x="99" y="20"/>
                    <a:pt x="169" y="58"/>
                    <a:pt x="236" y="142"/>
                  </a:cubicBezTo>
                  <a:cubicBezTo>
                    <a:pt x="242" y="142"/>
                    <a:pt x="248" y="142"/>
                    <a:pt x="254" y="143"/>
                  </a:cubicBezTo>
                  <a:cubicBezTo>
                    <a:pt x="182" y="49"/>
                    <a:pt x="103" y="0"/>
                    <a:pt x="57" y="27"/>
                  </a:cubicBezTo>
                  <a:cubicBezTo>
                    <a:pt x="0" y="60"/>
                    <a:pt x="18" y="195"/>
                    <a:pt x="99" y="336"/>
                  </a:cubicBezTo>
                  <a:cubicBezTo>
                    <a:pt x="103" y="342"/>
                    <a:pt x="106" y="348"/>
                    <a:pt x="110"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Oval 76"/>
            <p:cNvSpPr>
              <a:spLocks noChangeArrowheads="1"/>
            </p:cNvSpPr>
            <p:nvPr/>
          </p:nvSpPr>
          <p:spPr bwMode="auto">
            <a:xfrm>
              <a:off x="10215563" y="1508125"/>
              <a:ext cx="236538" cy="236538"/>
            </a:xfrm>
            <a:prstGeom prst="ellipse">
              <a:avLst/>
            </a:prstGeom>
            <a:solidFill>
              <a:schemeClr val="bg1"/>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259" name="Group 48258"/>
          <p:cNvGrpSpPr/>
          <p:nvPr/>
        </p:nvGrpSpPr>
        <p:grpSpPr>
          <a:xfrm>
            <a:off x="4847743" y="3917874"/>
            <a:ext cx="647789" cy="362656"/>
            <a:chOff x="4847743" y="3917874"/>
            <a:chExt cx="647789" cy="362656"/>
          </a:xfrm>
        </p:grpSpPr>
        <p:grpSp>
          <p:nvGrpSpPr>
            <p:cNvPr id="10" name="Group 9"/>
            <p:cNvGrpSpPr/>
            <p:nvPr/>
          </p:nvGrpSpPr>
          <p:grpSpPr>
            <a:xfrm>
              <a:off x="5028274" y="3917874"/>
              <a:ext cx="183983" cy="255399"/>
              <a:chOff x="5028274" y="3917874"/>
              <a:chExt cx="183983" cy="255399"/>
            </a:xfrm>
          </p:grpSpPr>
          <p:sp>
            <p:nvSpPr>
              <p:cNvPr id="199"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0"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01" name="Freeform 83"/>
            <p:cNvSpPr>
              <a:spLocks/>
            </p:cNvSpPr>
            <p:nvPr/>
          </p:nvSpPr>
          <p:spPr bwMode="auto">
            <a:xfrm>
              <a:off x="4847743" y="4144335"/>
              <a:ext cx="647789" cy="57876"/>
            </a:xfrm>
            <a:custGeom>
              <a:avLst/>
              <a:gdLst>
                <a:gd name="T0" fmla="*/ 1033 w 1033"/>
                <a:gd name="T1" fmla="*/ 92 h 92"/>
                <a:gd name="T2" fmla="*/ 969 w 1033"/>
                <a:gd name="T3" fmla="*/ 92 h 92"/>
                <a:gd name="T4" fmla="*/ 895 w 1033"/>
                <a:gd name="T5" fmla="*/ 63 h 92"/>
                <a:gd name="T6" fmla="*/ 818 w 1033"/>
                <a:gd name="T7" fmla="*/ 33 h 92"/>
                <a:gd name="T8" fmla="*/ 742 w 1033"/>
                <a:gd name="T9" fmla="*/ 63 h 92"/>
                <a:gd name="T10" fmla="*/ 667 w 1033"/>
                <a:gd name="T11" fmla="*/ 92 h 92"/>
                <a:gd name="T12" fmla="*/ 593 w 1033"/>
                <a:gd name="T13" fmla="*/ 63 h 92"/>
                <a:gd name="T14" fmla="*/ 516 w 1033"/>
                <a:gd name="T15" fmla="*/ 33 h 92"/>
                <a:gd name="T16" fmla="*/ 440 w 1033"/>
                <a:gd name="T17" fmla="*/ 63 h 92"/>
                <a:gd name="T18" fmla="*/ 365 w 1033"/>
                <a:gd name="T19" fmla="*/ 92 h 92"/>
                <a:gd name="T20" fmla="*/ 291 w 1033"/>
                <a:gd name="T21" fmla="*/ 63 h 92"/>
                <a:gd name="T22" fmla="*/ 214 w 1033"/>
                <a:gd name="T23" fmla="*/ 33 h 92"/>
                <a:gd name="T24" fmla="*/ 138 w 1033"/>
                <a:gd name="T25" fmla="*/ 63 h 92"/>
                <a:gd name="T26" fmla="*/ 63 w 1033"/>
                <a:gd name="T27" fmla="*/ 92 h 92"/>
                <a:gd name="T28" fmla="*/ 0 w 1033"/>
                <a:gd name="T29" fmla="*/ 92 h 92"/>
                <a:gd name="T30" fmla="*/ 0 w 1033"/>
                <a:gd name="T31" fmla="*/ 60 h 92"/>
                <a:gd name="T32" fmla="*/ 63 w 1033"/>
                <a:gd name="T33" fmla="*/ 60 h 92"/>
                <a:gd name="T34" fmla="*/ 120 w 1033"/>
                <a:gd name="T35" fmla="*/ 36 h 92"/>
                <a:gd name="T36" fmla="*/ 214 w 1033"/>
                <a:gd name="T37" fmla="*/ 0 h 92"/>
                <a:gd name="T38" fmla="*/ 309 w 1033"/>
                <a:gd name="T39" fmla="*/ 36 h 92"/>
                <a:gd name="T40" fmla="*/ 365 w 1033"/>
                <a:gd name="T41" fmla="*/ 60 h 92"/>
                <a:gd name="T42" fmla="*/ 422 w 1033"/>
                <a:gd name="T43" fmla="*/ 36 h 92"/>
                <a:gd name="T44" fmla="*/ 516 w 1033"/>
                <a:gd name="T45" fmla="*/ 0 h 92"/>
                <a:gd name="T46" fmla="*/ 611 w 1033"/>
                <a:gd name="T47" fmla="*/ 36 h 92"/>
                <a:gd name="T48" fmla="*/ 667 w 1033"/>
                <a:gd name="T49" fmla="*/ 60 h 92"/>
                <a:gd name="T50" fmla="*/ 723 w 1033"/>
                <a:gd name="T51" fmla="*/ 36 h 92"/>
                <a:gd name="T52" fmla="*/ 818 w 1033"/>
                <a:gd name="T53" fmla="*/ 0 h 92"/>
                <a:gd name="T54" fmla="*/ 913 w 1033"/>
                <a:gd name="T55" fmla="*/ 36 h 92"/>
                <a:gd name="T56" fmla="*/ 969 w 1033"/>
                <a:gd name="T57" fmla="*/ 60 h 92"/>
                <a:gd name="T58" fmla="*/ 1033 w 1033"/>
                <a:gd name="T59" fmla="*/ 60 h 92"/>
                <a:gd name="T60" fmla="*/ 1033 w 1033"/>
                <a:gd name="T6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92">
                  <a:moveTo>
                    <a:pt x="1033" y="92"/>
                  </a:moveTo>
                  <a:cubicBezTo>
                    <a:pt x="969" y="92"/>
                    <a:pt x="969" y="92"/>
                    <a:pt x="969" y="92"/>
                  </a:cubicBezTo>
                  <a:cubicBezTo>
                    <a:pt x="939" y="92"/>
                    <a:pt x="917" y="77"/>
                    <a:pt x="895" y="63"/>
                  </a:cubicBezTo>
                  <a:cubicBezTo>
                    <a:pt x="872" y="47"/>
                    <a:pt x="851" y="33"/>
                    <a:pt x="818" y="33"/>
                  </a:cubicBezTo>
                  <a:cubicBezTo>
                    <a:pt x="786" y="33"/>
                    <a:pt x="765" y="47"/>
                    <a:pt x="742" y="63"/>
                  </a:cubicBezTo>
                  <a:cubicBezTo>
                    <a:pt x="720" y="77"/>
                    <a:pt x="698" y="92"/>
                    <a:pt x="667" y="92"/>
                  </a:cubicBezTo>
                  <a:cubicBezTo>
                    <a:pt x="637" y="92"/>
                    <a:pt x="615" y="77"/>
                    <a:pt x="593" y="63"/>
                  </a:cubicBezTo>
                  <a:cubicBezTo>
                    <a:pt x="570" y="47"/>
                    <a:pt x="549" y="33"/>
                    <a:pt x="516" y="33"/>
                  </a:cubicBezTo>
                  <a:cubicBezTo>
                    <a:pt x="484" y="33"/>
                    <a:pt x="463" y="47"/>
                    <a:pt x="440" y="63"/>
                  </a:cubicBezTo>
                  <a:cubicBezTo>
                    <a:pt x="418" y="77"/>
                    <a:pt x="396" y="92"/>
                    <a:pt x="365" y="92"/>
                  </a:cubicBezTo>
                  <a:cubicBezTo>
                    <a:pt x="335" y="92"/>
                    <a:pt x="313" y="77"/>
                    <a:pt x="291" y="63"/>
                  </a:cubicBezTo>
                  <a:cubicBezTo>
                    <a:pt x="268" y="47"/>
                    <a:pt x="247" y="33"/>
                    <a:pt x="214" y="33"/>
                  </a:cubicBezTo>
                  <a:cubicBezTo>
                    <a:pt x="182" y="33"/>
                    <a:pt x="161" y="47"/>
                    <a:pt x="138" y="63"/>
                  </a:cubicBezTo>
                  <a:cubicBezTo>
                    <a:pt x="116" y="77"/>
                    <a:pt x="94" y="92"/>
                    <a:pt x="63" y="92"/>
                  </a:cubicBezTo>
                  <a:cubicBezTo>
                    <a:pt x="0" y="92"/>
                    <a:pt x="0" y="92"/>
                    <a:pt x="0" y="92"/>
                  </a:cubicBezTo>
                  <a:cubicBezTo>
                    <a:pt x="0" y="60"/>
                    <a:pt x="0" y="60"/>
                    <a:pt x="0" y="60"/>
                  </a:cubicBezTo>
                  <a:cubicBezTo>
                    <a:pt x="63" y="60"/>
                    <a:pt x="63" y="60"/>
                    <a:pt x="63" y="60"/>
                  </a:cubicBezTo>
                  <a:cubicBezTo>
                    <a:pt x="84" y="60"/>
                    <a:pt x="100" y="48"/>
                    <a:pt x="120" y="36"/>
                  </a:cubicBezTo>
                  <a:cubicBezTo>
                    <a:pt x="144" y="19"/>
                    <a:pt x="172" y="0"/>
                    <a:pt x="214" y="0"/>
                  </a:cubicBezTo>
                  <a:cubicBezTo>
                    <a:pt x="257" y="0"/>
                    <a:pt x="285" y="19"/>
                    <a:pt x="309" y="36"/>
                  </a:cubicBezTo>
                  <a:cubicBezTo>
                    <a:pt x="328" y="48"/>
                    <a:pt x="345" y="60"/>
                    <a:pt x="365" y="60"/>
                  </a:cubicBezTo>
                  <a:cubicBezTo>
                    <a:pt x="386" y="60"/>
                    <a:pt x="402" y="48"/>
                    <a:pt x="422" y="36"/>
                  </a:cubicBezTo>
                  <a:cubicBezTo>
                    <a:pt x="446" y="19"/>
                    <a:pt x="474" y="0"/>
                    <a:pt x="516" y="0"/>
                  </a:cubicBezTo>
                  <a:cubicBezTo>
                    <a:pt x="559" y="0"/>
                    <a:pt x="587" y="19"/>
                    <a:pt x="611" y="36"/>
                  </a:cubicBezTo>
                  <a:cubicBezTo>
                    <a:pt x="630" y="48"/>
                    <a:pt x="647" y="60"/>
                    <a:pt x="667" y="60"/>
                  </a:cubicBezTo>
                  <a:cubicBezTo>
                    <a:pt x="688" y="60"/>
                    <a:pt x="704" y="48"/>
                    <a:pt x="723" y="36"/>
                  </a:cubicBezTo>
                  <a:cubicBezTo>
                    <a:pt x="748" y="19"/>
                    <a:pt x="776" y="0"/>
                    <a:pt x="818" y="0"/>
                  </a:cubicBezTo>
                  <a:cubicBezTo>
                    <a:pt x="861" y="0"/>
                    <a:pt x="888" y="19"/>
                    <a:pt x="913" y="36"/>
                  </a:cubicBezTo>
                  <a:cubicBezTo>
                    <a:pt x="932" y="48"/>
                    <a:pt x="949" y="60"/>
                    <a:pt x="969" y="60"/>
                  </a:cubicBezTo>
                  <a:cubicBezTo>
                    <a:pt x="1033" y="60"/>
                    <a:pt x="1033" y="60"/>
                    <a:pt x="1033" y="60"/>
                  </a:cubicBezTo>
                  <a:lnTo>
                    <a:pt x="1033" y="92"/>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2" name="Freeform 84"/>
            <p:cNvSpPr>
              <a:spLocks/>
            </p:cNvSpPr>
            <p:nvPr/>
          </p:nvSpPr>
          <p:spPr bwMode="auto">
            <a:xfrm>
              <a:off x="4847743" y="4230884"/>
              <a:ext cx="647789" cy="49646"/>
            </a:xfrm>
            <a:custGeom>
              <a:avLst/>
              <a:gdLst>
                <a:gd name="T0" fmla="*/ 1033 w 1033"/>
                <a:gd name="T1" fmla="*/ 79 h 79"/>
                <a:gd name="T2" fmla="*/ 969 w 1033"/>
                <a:gd name="T3" fmla="*/ 79 h 79"/>
                <a:gd name="T4" fmla="*/ 899 w 1033"/>
                <a:gd name="T5" fmla="*/ 50 h 79"/>
                <a:gd name="T6" fmla="*/ 818 w 1033"/>
                <a:gd name="T7" fmla="*/ 19 h 79"/>
                <a:gd name="T8" fmla="*/ 738 w 1033"/>
                <a:gd name="T9" fmla="*/ 50 h 79"/>
                <a:gd name="T10" fmla="*/ 667 w 1033"/>
                <a:gd name="T11" fmla="*/ 79 h 79"/>
                <a:gd name="T12" fmla="*/ 597 w 1033"/>
                <a:gd name="T13" fmla="*/ 50 h 79"/>
                <a:gd name="T14" fmla="*/ 516 w 1033"/>
                <a:gd name="T15" fmla="*/ 19 h 79"/>
                <a:gd name="T16" fmla="*/ 436 w 1033"/>
                <a:gd name="T17" fmla="*/ 50 h 79"/>
                <a:gd name="T18" fmla="*/ 365 w 1033"/>
                <a:gd name="T19" fmla="*/ 79 h 79"/>
                <a:gd name="T20" fmla="*/ 295 w 1033"/>
                <a:gd name="T21" fmla="*/ 50 h 79"/>
                <a:gd name="T22" fmla="*/ 214 w 1033"/>
                <a:gd name="T23" fmla="*/ 19 h 79"/>
                <a:gd name="T24" fmla="*/ 134 w 1033"/>
                <a:gd name="T25" fmla="*/ 50 h 79"/>
                <a:gd name="T26" fmla="*/ 63 w 1033"/>
                <a:gd name="T27" fmla="*/ 79 h 79"/>
                <a:gd name="T28" fmla="*/ 0 w 1033"/>
                <a:gd name="T29" fmla="*/ 79 h 79"/>
                <a:gd name="T30" fmla="*/ 0 w 1033"/>
                <a:gd name="T31" fmla="*/ 59 h 79"/>
                <a:gd name="T32" fmla="*/ 63 w 1033"/>
                <a:gd name="T33" fmla="*/ 59 h 79"/>
                <a:gd name="T34" fmla="*/ 123 w 1033"/>
                <a:gd name="T35" fmla="*/ 34 h 79"/>
                <a:gd name="T36" fmla="*/ 214 w 1033"/>
                <a:gd name="T37" fmla="*/ 0 h 79"/>
                <a:gd name="T38" fmla="*/ 305 w 1033"/>
                <a:gd name="T39" fmla="*/ 34 h 79"/>
                <a:gd name="T40" fmla="*/ 365 w 1033"/>
                <a:gd name="T41" fmla="*/ 59 h 79"/>
                <a:gd name="T42" fmla="*/ 425 w 1033"/>
                <a:gd name="T43" fmla="*/ 34 h 79"/>
                <a:gd name="T44" fmla="*/ 516 w 1033"/>
                <a:gd name="T45" fmla="*/ 0 h 79"/>
                <a:gd name="T46" fmla="*/ 607 w 1033"/>
                <a:gd name="T47" fmla="*/ 34 h 79"/>
                <a:gd name="T48" fmla="*/ 667 w 1033"/>
                <a:gd name="T49" fmla="*/ 59 h 79"/>
                <a:gd name="T50" fmla="*/ 727 w 1033"/>
                <a:gd name="T51" fmla="*/ 34 h 79"/>
                <a:gd name="T52" fmla="*/ 818 w 1033"/>
                <a:gd name="T53" fmla="*/ 0 h 79"/>
                <a:gd name="T54" fmla="*/ 909 w 1033"/>
                <a:gd name="T55" fmla="*/ 34 h 79"/>
                <a:gd name="T56" fmla="*/ 969 w 1033"/>
                <a:gd name="T57" fmla="*/ 59 h 79"/>
                <a:gd name="T58" fmla="*/ 1033 w 1033"/>
                <a:gd name="T59" fmla="*/ 59 h 79"/>
                <a:gd name="T60" fmla="*/ 1033 w 1033"/>
                <a:gd name="T6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79">
                  <a:moveTo>
                    <a:pt x="1033" y="79"/>
                  </a:moveTo>
                  <a:cubicBezTo>
                    <a:pt x="969" y="79"/>
                    <a:pt x="969" y="79"/>
                    <a:pt x="969" y="79"/>
                  </a:cubicBezTo>
                  <a:cubicBezTo>
                    <a:pt x="941" y="79"/>
                    <a:pt x="920" y="64"/>
                    <a:pt x="899" y="50"/>
                  </a:cubicBezTo>
                  <a:cubicBezTo>
                    <a:pt x="876" y="35"/>
                    <a:pt x="853" y="19"/>
                    <a:pt x="818" y="19"/>
                  </a:cubicBezTo>
                  <a:cubicBezTo>
                    <a:pt x="784" y="19"/>
                    <a:pt x="761" y="35"/>
                    <a:pt x="738" y="50"/>
                  </a:cubicBezTo>
                  <a:cubicBezTo>
                    <a:pt x="717" y="64"/>
                    <a:pt x="696" y="79"/>
                    <a:pt x="667" y="79"/>
                  </a:cubicBezTo>
                  <a:cubicBezTo>
                    <a:pt x="639" y="79"/>
                    <a:pt x="618" y="64"/>
                    <a:pt x="597" y="50"/>
                  </a:cubicBezTo>
                  <a:cubicBezTo>
                    <a:pt x="574" y="35"/>
                    <a:pt x="551" y="19"/>
                    <a:pt x="516" y="19"/>
                  </a:cubicBezTo>
                  <a:cubicBezTo>
                    <a:pt x="482" y="19"/>
                    <a:pt x="459" y="35"/>
                    <a:pt x="436" y="50"/>
                  </a:cubicBezTo>
                  <a:cubicBezTo>
                    <a:pt x="415" y="64"/>
                    <a:pt x="394" y="79"/>
                    <a:pt x="365" y="79"/>
                  </a:cubicBezTo>
                  <a:cubicBezTo>
                    <a:pt x="337" y="79"/>
                    <a:pt x="316" y="64"/>
                    <a:pt x="295" y="50"/>
                  </a:cubicBezTo>
                  <a:cubicBezTo>
                    <a:pt x="272" y="35"/>
                    <a:pt x="249" y="19"/>
                    <a:pt x="214" y="19"/>
                  </a:cubicBezTo>
                  <a:cubicBezTo>
                    <a:pt x="180" y="19"/>
                    <a:pt x="157" y="35"/>
                    <a:pt x="134" y="50"/>
                  </a:cubicBezTo>
                  <a:cubicBezTo>
                    <a:pt x="113" y="64"/>
                    <a:pt x="92" y="79"/>
                    <a:pt x="63" y="79"/>
                  </a:cubicBezTo>
                  <a:cubicBezTo>
                    <a:pt x="0" y="79"/>
                    <a:pt x="0" y="79"/>
                    <a:pt x="0" y="79"/>
                  </a:cubicBezTo>
                  <a:cubicBezTo>
                    <a:pt x="0" y="59"/>
                    <a:pt x="0" y="59"/>
                    <a:pt x="0" y="59"/>
                  </a:cubicBezTo>
                  <a:cubicBezTo>
                    <a:pt x="63" y="59"/>
                    <a:pt x="63" y="59"/>
                    <a:pt x="63" y="59"/>
                  </a:cubicBezTo>
                  <a:cubicBezTo>
                    <a:pt x="86" y="59"/>
                    <a:pt x="103" y="48"/>
                    <a:pt x="123" y="34"/>
                  </a:cubicBezTo>
                  <a:cubicBezTo>
                    <a:pt x="147" y="18"/>
                    <a:pt x="174" y="0"/>
                    <a:pt x="214" y="0"/>
                  </a:cubicBezTo>
                  <a:cubicBezTo>
                    <a:pt x="254" y="0"/>
                    <a:pt x="282" y="18"/>
                    <a:pt x="305" y="34"/>
                  </a:cubicBezTo>
                  <a:cubicBezTo>
                    <a:pt x="326" y="48"/>
                    <a:pt x="343" y="59"/>
                    <a:pt x="365" y="59"/>
                  </a:cubicBezTo>
                  <a:cubicBezTo>
                    <a:pt x="388" y="59"/>
                    <a:pt x="405" y="48"/>
                    <a:pt x="425" y="34"/>
                  </a:cubicBezTo>
                  <a:cubicBezTo>
                    <a:pt x="449" y="18"/>
                    <a:pt x="476" y="0"/>
                    <a:pt x="516" y="0"/>
                  </a:cubicBezTo>
                  <a:cubicBezTo>
                    <a:pt x="556" y="0"/>
                    <a:pt x="584" y="18"/>
                    <a:pt x="607" y="34"/>
                  </a:cubicBezTo>
                  <a:cubicBezTo>
                    <a:pt x="628" y="48"/>
                    <a:pt x="645" y="59"/>
                    <a:pt x="667" y="59"/>
                  </a:cubicBezTo>
                  <a:cubicBezTo>
                    <a:pt x="690" y="59"/>
                    <a:pt x="707" y="48"/>
                    <a:pt x="727" y="34"/>
                  </a:cubicBezTo>
                  <a:cubicBezTo>
                    <a:pt x="751" y="18"/>
                    <a:pt x="778" y="0"/>
                    <a:pt x="818" y="0"/>
                  </a:cubicBezTo>
                  <a:cubicBezTo>
                    <a:pt x="858" y="0"/>
                    <a:pt x="885" y="18"/>
                    <a:pt x="909" y="34"/>
                  </a:cubicBezTo>
                  <a:cubicBezTo>
                    <a:pt x="930" y="48"/>
                    <a:pt x="947" y="59"/>
                    <a:pt x="969" y="59"/>
                  </a:cubicBezTo>
                  <a:cubicBezTo>
                    <a:pt x="1033" y="59"/>
                    <a:pt x="1033" y="59"/>
                    <a:pt x="1033" y="59"/>
                  </a:cubicBezTo>
                  <a:lnTo>
                    <a:pt x="1033" y="79"/>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03" name="Freeform 85"/>
            <p:cNvSpPr>
              <a:spLocks/>
            </p:cNvSpPr>
            <p:nvPr/>
          </p:nvSpPr>
          <p:spPr bwMode="auto">
            <a:xfrm>
              <a:off x="4847743" y="4187609"/>
              <a:ext cx="647789" cy="53363"/>
            </a:xfrm>
            <a:custGeom>
              <a:avLst/>
              <a:gdLst>
                <a:gd name="T0" fmla="*/ 1033 w 1033"/>
                <a:gd name="T1" fmla="*/ 85 h 85"/>
                <a:gd name="T2" fmla="*/ 969 w 1033"/>
                <a:gd name="T3" fmla="*/ 85 h 85"/>
                <a:gd name="T4" fmla="*/ 897 w 1033"/>
                <a:gd name="T5" fmla="*/ 56 h 85"/>
                <a:gd name="T6" fmla="*/ 818 w 1033"/>
                <a:gd name="T7" fmla="*/ 26 h 85"/>
                <a:gd name="T8" fmla="*/ 740 w 1033"/>
                <a:gd name="T9" fmla="*/ 56 h 85"/>
                <a:gd name="T10" fmla="*/ 667 w 1033"/>
                <a:gd name="T11" fmla="*/ 85 h 85"/>
                <a:gd name="T12" fmla="*/ 595 w 1033"/>
                <a:gd name="T13" fmla="*/ 56 h 85"/>
                <a:gd name="T14" fmla="*/ 516 w 1033"/>
                <a:gd name="T15" fmla="*/ 26 h 85"/>
                <a:gd name="T16" fmla="*/ 438 w 1033"/>
                <a:gd name="T17" fmla="*/ 56 h 85"/>
                <a:gd name="T18" fmla="*/ 365 w 1033"/>
                <a:gd name="T19" fmla="*/ 85 h 85"/>
                <a:gd name="T20" fmla="*/ 293 w 1033"/>
                <a:gd name="T21" fmla="*/ 56 h 85"/>
                <a:gd name="T22" fmla="*/ 214 w 1033"/>
                <a:gd name="T23" fmla="*/ 26 h 85"/>
                <a:gd name="T24" fmla="*/ 136 w 1033"/>
                <a:gd name="T25" fmla="*/ 56 h 85"/>
                <a:gd name="T26" fmla="*/ 63 w 1033"/>
                <a:gd name="T27" fmla="*/ 85 h 85"/>
                <a:gd name="T28" fmla="*/ 0 w 1033"/>
                <a:gd name="T29" fmla="*/ 85 h 85"/>
                <a:gd name="T30" fmla="*/ 0 w 1033"/>
                <a:gd name="T31" fmla="*/ 60 h 85"/>
                <a:gd name="T32" fmla="*/ 63 w 1033"/>
                <a:gd name="T33" fmla="*/ 60 h 85"/>
                <a:gd name="T34" fmla="*/ 121 w 1033"/>
                <a:gd name="T35" fmla="*/ 35 h 85"/>
                <a:gd name="T36" fmla="*/ 214 w 1033"/>
                <a:gd name="T37" fmla="*/ 0 h 85"/>
                <a:gd name="T38" fmla="*/ 307 w 1033"/>
                <a:gd name="T39" fmla="*/ 35 h 85"/>
                <a:gd name="T40" fmla="*/ 365 w 1033"/>
                <a:gd name="T41" fmla="*/ 60 h 85"/>
                <a:gd name="T42" fmla="*/ 423 w 1033"/>
                <a:gd name="T43" fmla="*/ 35 h 85"/>
                <a:gd name="T44" fmla="*/ 516 w 1033"/>
                <a:gd name="T45" fmla="*/ 0 h 85"/>
                <a:gd name="T46" fmla="*/ 609 w 1033"/>
                <a:gd name="T47" fmla="*/ 35 h 85"/>
                <a:gd name="T48" fmla="*/ 667 w 1033"/>
                <a:gd name="T49" fmla="*/ 60 h 85"/>
                <a:gd name="T50" fmla="*/ 725 w 1033"/>
                <a:gd name="T51" fmla="*/ 35 h 85"/>
                <a:gd name="T52" fmla="*/ 818 w 1033"/>
                <a:gd name="T53" fmla="*/ 0 h 85"/>
                <a:gd name="T54" fmla="*/ 911 w 1033"/>
                <a:gd name="T55" fmla="*/ 35 h 85"/>
                <a:gd name="T56" fmla="*/ 969 w 1033"/>
                <a:gd name="T57" fmla="*/ 60 h 85"/>
                <a:gd name="T58" fmla="*/ 1033 w 1033"/>
                <a:gd name="T59" fmla="*/ 60 h 85"/>
                <a:gd name="T60" fmla="*/ 1033 w 1033"/>
                <a:gd name="T6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3" h="85">
                  <a:moveTo>
                    <a:pt x="1033" y="85"/>
                  </a:moveTo>
                  <a:cubicBezTo>
                    <a:pt x="969" y="85"/>
                    <a:pt x="969" y="85"/>
                    <a:pt x="969" y="85"/>
                  </a:cubicBezTo>
                  <a:cubicBezTo>
                    <a:pt x="940" y="85"/>
                    <a:pt x="918" y="71"/>
                    <a:pt x="897" y="56"/>
                  </a:cubicBezTo>
                  <a:cubicBezTo>
                    <a:pt x="874" y="41"/>
                    <a:pt x="852" y="26"/>
                    <a:pt x="818" y="26"/>
                  </a:cubicBezTo>
                  <a:cubicBezTo>
                    <a:pt x="785" y="26"/>
                    <a:pt x="763" y="41"/>
                    <a:pt x="740" y="56"/>
                  </a:cubicBezTo>
                  <a:cubicBezTo>
                    <a:pt x="719" y="71"/>
                    <a:pt x="697" y="85"/>
                    <a:pt x="667" y="85"/>
                  </a:cubicBezTo>
                  <a:cubicBezTo>
                    <a:pt x="638" y="85"/>
                    <a:pt x="616" y="71"/>
                    <a:pt x="595" y="56"/>
                  </a:cubicBezTo>
                  <a:cubicBezTo>
                    <a:pt x="572" y="41"/>
                    <a:pt x="550" y="26"/>
                    <a:pt x="516" y="26"/>
                  </a:cubicBezTo>
                  <a:cubicBezTo>
                    <a:pt x="483" y="26"/>
                    <a:pt x="461" y="41"/>
                    <a:pt x="438" y="56"/>
                  </a:cubicBezTo>
                  <a:cubicBezTo>
                    <a:pt x="417" y="71"/>
                    <a:pt x="395" y="85"/>
                    <a:pt x="365" y="85"/>
                  </a:cubicBezTo>
                  <a:cubicBezTo>
                    <a:pt x="336" y="85"/>
                    <a:pt x="314" y="71"/>
                    <a:pt x="293" y="56"/>
                  </a:cubicBezTo>
                  <a:cubicBezTo>
                    <a:pt x="270" y="41"/>
                    <a:pt x="248" y="26"/>
                    <a:pt x="214" y="26"/>
                  </a:cubicBezTo>
                  <a:cubicBezTo>
                    <a:pt x="181" y="26"/>
                    <a:pt x="159" y="41"/>
                    <a:pt x="136" y="56"/>
                  </a:cubicBezTo>
                  <a:cubicBezTo>
                    <a:pt x="115" y="71"/>
                    <a:pt x="93" y="85"/>
                    <a:pt x="63" y="85"/>
                  </a:cubicBezTo>
                  <a:cubicBezTo>
                    <a:pt x="0" y="85"/>
                    <a:pt x="0" y="85"/>
                    <a:pt x="0" y="85"/>
                  </a:cubicBezTo>
                  <a:cubicBezTo>
                    <a:pt x="0" y="60"/>
                    <a:pt x="0" y="60"/>
                    <a:pt x="0" y="60"/>
                  </a:cubicBezTo>
                  <a:cubicBezTo>
                    <a:pt x="63" y="60"/>
                    <a:pt x="63" y="60"/>
                    <a:pt x="63" y="60"/>
                  </a:cubicBezTo>
                  <a:cubicBezTo>
                    <a:pt x="85" y="60"/>
                    <a:pt x="102" y="48"/>
                    <a:pt x="121" y="35"/>
                  </a:cubicBezTo>
                  <a:cubicBezTo>
                    <a:pt x="146" y="19"/>
                    <a:pt x="173" y="0"/>
                    <a:pt x="214" y="0"/>
                  </a:cubicBezTo>
                  <a:cubicBezTo>
                    <a:pt x="256" y="0"/>
                    <a:pt x="283" y="19"/>
                    <a:pt x="307" y="35"/>
                  </a:cubicBezTo>
                  <a:cubicBezTo>
                    <a:pt x="327" y="48"/>
                    <a:pt x="344" y="60"/>
                    <a:pt x="365" y="60"/>
                  </a:cubicBezTo>
                  <a:cubicBezTo>
                    <a:pt x="387" y="60"/>
                    <a:pt x="404" y="48"/>
                    <a:pt x="423" y="35"/>
                  </a:cubicBezTo>
                  <a:cubicBezTo>
                    <a:pt x="448" y="19"/>
                    <a:pt x="475" y="0"/>
                    <a:pt x="516" y="0"/>
                  </a:cubicBezTo>
                  <a:cubicBezTo>
                    <a:pt x="558" y="0"/>
                    <a:pt x="585" y="19"/>
                    <a:pt x="609" y="35"/>
                  </a:cubicBezTo>
                  <a:cubicBezTo>
                    <a:pt x="629" y="48"/>
                    <a:pt x="646" y="60"/>
                    <a:pt x="667" y="60"/>
                  </a:cubicBezTo>
                  <a:cubicBezTo>
                    <a:pt x="689" y="60"/>
                    <a:pt x="706" y="48"/>
                    <a:pt x="725" y="35"/>
                  </a:cubicBezTo>
                  <a:cubicBezTo>
                    <a:pt x="750" y="19"/>
                    <a:pt x="777" y="0"/>
                    <a:pt x="818" y="0"/>
                  </a:cubicBezTo>
                  <a:cubicBezTo>
                    <a:pt x="859" y="0"/>
                    <a:pt x="887" y="19"/>
                    <a:pt x="911" y="35"/>
                  </a:cubicBezTo>
                  <a:cubicBezTo>
                    <a:pt x="931" y="48"/>
                    <a:pt x="948" y="60"/>
                    <a:pt x="969" y="60"/>
                  </a:cubicBezTo>
                  <a:cubicBezTo>
                    <a:pt x="1033" y="60"/>
                    <a:pt x="1033" y="60"/>
                    <a:pt x="1033" y="60"/>
                  </a:cubicBezTo>
                  <a:lnTo>
                    <a:pt x="1033" y="85"/>
                  </a:lnTo>
                  <a:close/>
                </a:path>
              </a:pathLst>
            </a:cu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56" name="Group 1155"/>
          <p:cNvGrpSpPr/>
          <p:nvPr/>
        </p:nvGrpSpPr>
        <p:grpSpPr>
          <a:xfrm>
            <a:off x="1621644" y="4581128"/>
            <a:ext cx="1027652" cy="358740"/>
            <a:chOff x="8421688" y="0"/>
            <a:chExt cx="3997326" cy="1395413"/>
          </a:xfrm>
          <a:solidFill>
            <a:schemeClr val="bg1"/>
          </a:solidFill>
        </p:grpSpPr>
        <p:sp>
          <p:nvSpPr>
            <p:cNvPr id="208" name="Freeform 90"/>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09" name="Freeform 91"/>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0" name="Freeform 92"/>
            <p:cNvSpPr>
              <a:spLocks/>
            </p:cNvSpPr>
            <p:nvPr/>
          </p:nvSpPr>
          <p:spPr bwMode="auto">
            <a:xfrm>
              <a:off x="8428038" y="4763"/>
              <a:ext cx="1035050" cy="1195388"/>
            </a:xfrm>
            <a:custGeom>
              <a:avLst/>
              <a:gdLst>
                <a:gd name="T0" fmla="*/ 146 w 276"/>
                <a:gd name="T1" fmla="*/ 319 h 319"/>
                <a:gd name="T2" fmla="*/ 85 w 276"/>
                <a:gd name="T3" fmla="*/ 307 h 319"/>
                <a:gd name="T4" fmla="*/ 39 w 276"/>
                <a:gd name="T5" fmla="*/ 272 h 319"/>
                <a:gd name="T6" fmla="*/ 10 w 276"/>
                <a:gd name="T7" fmla="*/ 222 h 319"/>
                <a:gd name="T8" fmla="*/ 0 w 276"/>
                <a:gd name="T9" fmla="*/ 160 h 319"/>
                <a:gd name="T10" fmla="*/ 10 w 276"/>
                <a:gd name="T11" fmla="*/ 99 h 319"/>
                <a:gd name="T12" fmla="*/ 39 w 276"/>
                <a:gd name="T13" fmla="*/ 48 h 319"/>
                <a:gd name="T14" fmla="*/ 85 w 276"/>
                <a:gd name="T15" fmla="*/ 13 h 319"/>
                <a:gd name="T16" fmla="*/ 146 w 276"/>
                <a:gd name="T17" fmla="*/ 0 h 319"/>
                <a:gd name="T18" fmla="*/ 194 w 276"/>
                <a:gd name="T19" fmla="*/ 7 h 319"/>
                <a:gd name="T20" fmla="*/ 234 w 276"/>
                <a:gd name="T21" fmla="*/ 28 h 319"/>
                <a:gd name="T22" fmla="*/ 262 w 276"/>
                <a:gd name="T23" fmla="*/ 61 h 319"/>
                <a:gd name="T24" fmla="*/ 275 w 276"/>
                <a:gd name="T25" fmla="*/ 105 h 319"/>
                <a:gd name="T26" fmla="*/ 276 w 276"/>
                <a:gd name="T27" fmla="*/ 106 h 319"/>
                <a:gd name="T28" fmla="*/ 220 w 276"/>
                <a:gd name="T29" fmla="*/ 106 h 319"/>
                <a:gd name="T30" fmla="*/ 220 w 276"/>
                <a:gd name="T31" fmla="*/ 105 h 319"/>
                <a:gd name="T32" fmla="*/ 210 w 276"/>
                <a:gd name="T33" fmla="*/ 82 h 319"/>
                <a:gd name="T34" fmla="*/ 196 w 276"/>
                <a:gd name="T35" fmla="*/ 63 h 319"/>
                <a:gd name="T36" fmla="*/ 174 w 276"/>
                <a:gd name="T37" fmla="*/ 51 h 319"/>
                <a:gd name="T38" fmla="*/ 146 w 276"/>
                <a:gd name="T39" fmla="*/ 46 h 319"/>
                <a:gd name="T40" fmla="*/ 105 w 276"/>
                <a:gd name="T41" fmla="*/ 56 h 319"/>
                <a:gd name="T42" fmla="*/ 77 w 276"/>
                <a:gd name="T43" fmla="*/ 81 h 319"/>
                <a:gd name="T44" fmla="*/ 61 w 276"/>
                <a:gd name="T45" fmla="*/ 118 h 319"/>
                <a:gd name="T46" fmla="*/ 56 w 276"/>
                <a:gd name="T47" fmla="*/ 160 h 319"/>
                <a:gd name="T48" fmla="*/ 61 w 276"/>
                <a:gd name="T49" fmla="*/ 202 h 319"/>
                <a:gd name="T50" fmla="*/ 77 w 276"/>
                <a:gd name="T51" fmla="*/ 238 h 319"/>
                <a:gd name="T52" fmla="*/ 105 w 276"/>
                <a:gd name="T53" fmla="*/ 264 h 319"/>
                <a:gd name="T54" fmla="*/ 146 w 276"/>
                <a:gd name="T55" fmla="*/ 273 h 319"/>
                <a:gd name="T56" fmla="*/ 177 w 276"/>
                <a:gd name="T57" fmla="*/ 267 h 319"/>
                <a:gd name="T58" fmla="*/ 199 w 276"/>
                <a:gd name="T59" fmla="*/ 251 h 319"/>
                <a:gd name="T60" fmla="*/ 214 w 276"/>
                <a:gd name="T61" fmla="*/ 226 h 319"/>
                <a:gd name="T62" fmla="*/ 221 w 276"/>
                <a:gd name="T63" fmla="*/ 196 h 319"/>
                <a:gd name="T64" fmla="*/ 221 w 276"/>
                <a:gd name="T65" fmla="*/ 194 h 319"/>
                <a:gd name="T66" fmla="*/ 276 w 276"/>
                <a:gd name="T67" fmla="*/ 194 h 319"/>
                <a:gd name="T68" fmla="*/ 276 w 276"/>
                <a:gd name="T69" fmla="*/ 196 h 319"/>
                <a:gd name="T70" fmla="*/ 264 w 276"/>
                <a:gd name="T71" fmla="*/ 246 h 319"/>
                <a:gd name="T72" fmla="*/ 237 w 276"/>
                <a:gd name="T73" fmla="*/ 285 h 319"/>
                <a:gd name="T74" fmla="*/ 197 w 276"/>
                <a:gd name="T75" fmla="*/ 310 h 319"/>
                <a:gd name="T76" fmla="*/ 146 w 276"/>
                <a:gd name="T77"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319">
                  <a:moveTo>
                    <a:pt x="146" y="319"/>
                  </a:moveTo>
                  <a:cubicBezTo>
                    <a:pt x="123" y="319"/>
                    <a:pt x="103" y="315"/>
                    <a:pt x="85" y="307"/>
                  </a:cubicBezTo>
                  <a:cubicBezTo>
                    <a:pt x="67" y="298"/>
                    <a:pt x="51" y="287"/>
                    <a:pt x="39" y="272"/>
                  </a:cubicBezTo>
                  <a:cubicBezTo>
                    <a:pt x="26" y="258"/>
                    <a:pt x="16" y="241"/>
                    <a:pt x="10" y="222"/>
                  </a:cubicBezTo>
                  <a:cubicBezTo>
                    <a:pt x="3" y="202"/>
                    <a:pt x="0" y="182"/>
                    <a:pt x="0" y="160"/>
                  </a:cubicBezTo>
                  <a:cubicBezTo>
                    <a:pt x="0" y="138"/>
                    <a:pt x="3" y="118"/>
                    <a:pt x="10" y="99"/>
                  </a:cubicBezTo>
                  <a:cubicBezTo>
                    <a:pt x="16" y="79"/>
                    <a:pt x="26" y="62"/>
                    <a:pt x="39" y="48"/>
                  </a:cubicBezTo>
                  <a:cubicBezTo>
                    <a:pt x="51" y="33"/>
                    <a:pt x="67" y="22"/>
                    <a:pt x="85" y="13"/>
                  </a:cubicBezTo>
                  <a:cubicBezTo>
                    <a:pt x="103" y="5"/>
                    <a:pt x="123" y="0"/>
                    <a:pt x="146" y="0"/>
                  </a:cubicBezTo>
                  <a:cubicBezTo>
                    <a:pt x="163" y="0"/>
                    <a:pt x="179" y="3"/>
                    <a:pt x="194" y="7"/>
                  </a:cubicBezTo>
                  <a:cubicBezTo>
                    <a:pt x="209" y="12"/>
                    <a:pt x="222" y="19"/>
                    <a:pt x="234" y="28"/>
                  </a:cubicBezTo>
                  <a:cubicBezTo>
                    <a:pt x="246" y="37"/>
                    <a:pt x="255" y="48"/>
                    <a:pt x="262" y="61"/>
                  </a:cubicBezTo>
                  <a:cubicBezTo>
                    <a:pt x="269" y="73"/>
                    <a:pt x="274" y="88"/>
                    <a:pt x="275" y="105"/>
                  </a:cubicBezTo>
                  <a:cubicBezTo>
                    <a:pt x="276" y="106"/>
                    <a:pt x="276" y="106"/>
                    <a:pt x="276" y="106"/>
                  </a:cubicBezTo>
                  <a:cubicBezTo>
                    <a:pt x="220" y="106"/>
                    <a:pt x="220" y="106"/>
                    <a:pt x="220" y="106"/>
                  </a:cubicBezTo>
                  <a:cubicBezTo>
                    <a:pt x="220" y="105"/>
                    <a:pt x="220" y="105"/>
                    <a:pt x="220" y="105"/>
                  </a:cubicBezTo>
                  <a:cubicBezTo>
                    <a:pt x="217" y="97"/>
                    <a:pt x="214" y="89"/>
                    <a:pt x="210" y="82"/>
                  </a:cubicBezTo>
                  <a:cubicBezTo>
                    <a:pt x="207" y="74"/>
                    <a:pt x="202" y="68"/>
                    <a:pt x="196" y="63"/>
                  </a:cubicBezTo>
                  <a:cubicBezTo>
                    <a:pt x="190" y="58"/>
                    <a:pt x="182" y="54"/>
                    <a:pt x="174" y="51"/>
                  </a:cubicBezTo>
                  <a:cubicBezTo>
                    <a:pt x="166" y="48"/>
                    <a:pt x="157" y="46"/>
                    <a:pt x="146" y="46"/>
                  </a:cubicBez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57" y="273"/>
                    <a:pt x="168" y="271"/>
                    <a:pt x="177" y="267"/>
                  </a:cubicBezTo>
                  <a:cubicBezTo>
                    <a:pt x="185" y="263"/>
                    <a:pt x="193" y="258"/>
                    <a:pt x="199" y="251"/>
                  </a:cubicBezTo>
                  <a:cubicBezTo>
                    <a:pt x="206" y="244"/>
                    <a:pt x="211" y="235"/>
                    <a:pt x="214" y="226"/>
                  </a:cubicBezTo>
                  <a:cubicBezTo>
                    <a:pt x="218" y="217"/>
                    <a:pt x="220" y="206"/>
                    <a:pt x="221" y="196"/>
                  </a:cubicBezTo>
                  <a:cubicBezTo>
                    <a:pt x="221" y="194"/>
                    <a:pt x="221" y="194"/>
                    <a:pt x="221" y="194"/>
                  </a:cubicBezTo>
                  <a:cubicBezTo>
                    <a:pt x="276" y="194"/>
                    <a:pt x="276" y="194"/>
                    <a:pt x="276" y="194"/>
                  </a:cubicBezTo>
                  <a:cubicBezTo>
                    <a:pt x="276" y="196"/>
                    <a:pt x="276" y="196"/>
                    <a:pt x="276" y="196"/>
                  </a:cubicBezTo>
                  <a:cubicBezTo>
                    <a:pt x="275" y="214"/>
                    <a:pt x="271" y="231"/>
                    <a:pt x="264" y="246"/>
                  </a:cubicBezTo>
                  <a:cubicBezTo>
                    <a:pt x="257" y="261"/>
                    <a:pt x="248" y="274"/>
                    <a:pt x="237" y="285"/>
                  </a:cubicBezTo>
                  <a:cubicBezTo>
                    <a:pt x="226" y="296"/>
                    <a:pt x="212" y="304"/>
                    <a:pt x="197" y="310"/>
                  </a:cubicBezTo>
                  <a:cubicBezTo>
                    <a:pt x="181" y="316"/>
                    <a:pt x="164" y="319"/>
                    <a:pt x="146" y="319"/>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1" name="Freeform 93"/>
            <p:cNvSpPr>
              <a:spLocks noEditPoints="1"/>
            </p:cNvSpPr>
            <p:nvPr/>
          </p:nvSpPr>
          <p:spPr bwMode="auto">
            <a:xfrm>
              <a:off x="8421688" y="0"/>
              <a:ext cx="1046163" cy="1208088"/>
            </a:xfrm>
            <a:custGeom>
              <a:avLst/>
              <a:gdLst>
                <a:gd name="T0" fmla="*/ 196 w 279"/>
                <a:gd name="T1" fmla="*/ 10 h 322"/>
                <a:gd name="T2" fmla="*/ 263 w 279"/>
                <a:gd name="T3" fmla="*/ 62 h 322"/>
                <a:gd name="T4" fmla="*/ 223 w 279"/>
                <a:gd name="T5" fmla="*/ 106 h 322"/>
                <a:gd name="T6" fmla="*/ 199 w 279"/>
                <a:gd name="T7" fmla="*/ 63 h 322"/>
                <a:gd name="T8" fmla="*/ 148 w 279"/>
                <a:gd name="T9" fmla="*/ 46 h 322"/>
                <a:gd name="T10" fmla="*/ 78 w 279"/>
                <a:gd name="T11" fmla="*/ 82 h 322"/>
                <a:gd name="T12" fmla="*/ 56 w 279"/>
                <a:gd name="T13" fmla="*/ 161 h 322"/>
                <a:gd name="T14" fmla="*/ 78 w 279"/>
                <a:gd name="T15" fmla="*/ 240 h 322"/>
                <a:gd name="T16" fmla="*/ 148 w 279"/>
                <a:gd name="T17" fmla="*/ 276 h 322"/>
                <a:gd name="T18" fmla="*/ 202 w 279"/>
                <a:gd name="T19" fmla="*/ 253 h 322"/>
                <a:gd name="T20" fmla="*/ 225 w 279"/>
                <a:gd name="T21" fmla="*/ 197 h 322"/>
                <a:gd name="T22" fmla="*/ 265 w 279"/>
                <a:gd name="T23" fmla="*/ 246 h 322"/>
                <a:gd name="T24" fmla="*/ 198 w 279"/>
                <a:gd name="T25" fmla="*/ 310 h 322"/>
                <a:gd name="T26" fmla="*/ 87 w 279"/>
                <a:gd name="T27" fmla="*/ 306 h 322"/>
                <a:gd name="T28" fmla="*/ 13 w 279"/>
                <a:gd name="T29" fmla="*/ 222 h 322"/>
                <a:gd name="T30" fmla="*/ 13 w 279"/>
                <a:gd name="T31" fmla="*/ 100 h 322"/>
                <a:gd name="T32" fmla="*/ 87 w 279"/>
                <a:gd name="T33" fmla="*/ 16 h 322"/>
                <a:gd name="T34" fmla="*/ 148 w 279"/>
                <a:gd name="T35" fmla="*/ 0 h 322"/>
                <a:gd name="T36" fmla="*/ 40 w 279"/>
                <a:gd name="T37" fmla="*/ 48 h 322"/>
                <a:gd name="T38" fmla="*/ 0 w 279"/>
                <a:gd name="T39" fmla="*/ 161 h 322"/>
                <a:gd name="T40" fmla="*/ 40 w 279"/>
                <a:gd name="T41" fmla="*/ 274 h 322"/>
                <a:gd name="T42" fmla="*/ 148 w 279"/>
                <a:gd name="T43" fmla="*/ 322 h 322"/>
                <a:gd name="T44" fmla="*/ 240 w 279"/>
                <a:gd name="T45" fmla="*/ 287 h 322"/>
                <a:gd name="T46" fmla="*/ 279 w 279"/>
                <a:gd name="T47" fmla="*/ 197 h 322"/>
                <a:gd name="T48" fmla="*/ 276 w 279"/>
                <a:gd name="T49" fmla="*/ 194 h 322"/>
                <a:gd name="T50" fmla="*/ 222 w 279"/>
                <a:gd name="T51" fmla="*/ 194 h 322"/>
                <a:gd name="T52" fmla="*/ 215 w 279"/>
                <a:gd name="T53" fmla="*/ 227 h 322"/>
                <a:gd name="T54" fmla="*/ 178 w 279"/>
                <a:gd name="T55" fmla="*/ 267 h 322"/>
                <a:gd name="T56" fmla="*/ 108 w 279"/>
                <a:gd name="T57" fmla="*/ 263 h 322"/>
                <a:gd name="T58" fmla="*/ 64 w 279"/>
                <a:gd name="T59" fmla="*/ 202 h 322"/>
                <a:gd name="T60" fmla="*/ 64 w 279"/>
                <a:gd name="T61" fmla="*/ 119 h 322"/>
                <a:gd name="T62" fmla="*/ 108 w 279"/>
                <a:gd name="T63" fmla="*/ 58 h 322"/>
                <a:gd name="T64" fmla="*/ 176 w 279"/>
                <a:gd name="T65" fmla="*/ 53 h 322"/>
                <a:gd name="T66" fmla="*/ 211 w 279"/>
                <a:gd name="T67" fmla="*/ 83 h 322"/>
                <a:gd name="T68" fmla="*/ 221 w 279"/>
                <a:gd name="T69" fmla="*/ 109 h 322"/>
                <a:gd name="T70" fmla="*/ 276 w 279"/>
                <a:gd name="T71" fmla="*/ 109 h 322"/>
                <a:gd name="T72" fmla="*/ 279 w 279"/>
                <a:gd name="T73" fmla="*/ 106 h 322"/>
                <a:gd name="T74" fmla="*/ 237 w 279"/>
                <a:gd name="T75" fmla="*/ 28 h 322"/>
                <a:gd name="T76" fmla="*/ 148 w 279"/>
                <a:gd name="T7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22">
                  <a:moveTo>
                    <a:pt x="148" y="3"/>
                  </a:moveTo>
                  <a:cubicBezTo>
                    <a:pt x="165" y="3"/>
                    <a:pt x="181" y="5"/>
                    <a:pt x="196" y="10"/>
                  </a:cubicBezTo>
                  <a:cubicBezTo>
                    <a:pt x="211" y="14"/>
                    <a:pt x="224" y="21"/>
                    <a:pt x="235" y="30"/>
                  </a:cubicBezTo>
                  <a:cubicBezTo>
                    <a:pt x="247" y="39"/>
                    <a:pt x="256" y="50"/>
                    <a:pt x="263" y="62"/>
                  </a:cubicBezTo>
                  <a:cubicBezTo>
                    <a:pt x="270" y="75"/>
                    <a:pt x="274" y="90"/>
                    <a:pt x="276" y="106"/>
                  </a:cubicBezTo>
                  <a:cubicBezTo>
                    <a:pt x="223" y="106"/>
                    <a:pt x="223" y="106"/>
                    <a:pt x="223" y="106"/>
                  </a:cubicBezTo>
                  <a:cubicBezTo>
                    <a:pt x="221" y="97"/>
                    <a:pt x="218" y="89"/>
                    <a:pt x="214" y="82"/>
                  </a:cubicBezTo>
                  <a:cubicBezTo>
                    <a:pt x="210" y="75"/>
                    <a:pt x="205" y="68"/>
                    <a:pt x="199" y="63"/>
                  </a:cubicBezTo>
                  <a:cubicBezTo>
                    <a:pt x="192" y="57"/>
                    <a:pt x="185" y="53"/>
                    <a:pt x="177" y="50"/>
                  </a:cubicBezTo>
                  <a:cubicBezTo>
                    <a:pt x="168" y="47"/>
                    <a:pt x="159" y="46"/>
                    <a:pt x="148" y="46"/>
                  </a:cubicBezTo>
                  <a:cubicBezTo>
                    <a:pt x="132" y="46"/>
                    <a:pt x="118" y="49"/>
                    <a:pt x="106" y="56"/>
                  </a:cubicBezTo>
                  <a:cubicBezTo>
                    <a:pt x="95" y="62"/>
                    <a:pt x="85" y="71"/>
                    <a:pt x="78" y="82"/>
                  </a:cubicBezTo>
                  <a:cubicBezTo>
                    <a:pt x="70" y="92"/>
                    <a:pt x="65" y="105"/>
                    <a:pt x="61" y="119"/>
                  </a:cubicBezTo>
                  <a:cubicBezTo>
                    <a:pt x="58" y="132"/>
                    <a:pt x="56" y="147"/>
                    <a:pt x="56" y="161"/>
                  </a:cubicBezTo>
                  <a:cubicBezTo>
                    <a:pt x="56" y="175"/>
                    <a:pt x="58" y="189"/>
                    <a:pt x="61" y="203"/>
                  </a:cubicBezTo>
                  <a:cubicBezTo>
                    <a:pt x="65" y="217"/>
                    <a:pt x="70" y="229"/>
                    <a:pt x="78" y="240"/>
                  </a:cubicBezTo>
                  <a:cubicBezTo>
                    <a:pt x="85" y="251"/>
                    <a:pt x="95" y="260"/>
                    <a:pt x="106" y="266"/>
                  </a:cubicBezTo>
                  <a:cubicBezTo>
                    <a:pt x="118" y="273"/>
                    <a:pt x="132" y="276"/>
                    <a:pt x="148" y="276"/>
                  </a:cubicBezTo>
                  <a:cubicBezTo>
                    <a:pt x="160" y="276"/>
                    <a:pt x="170" y="274"/>
                    <a:pt x="179" y="270"/>
                  </a:cubicBezTo>
                  <a:cubicBezTo>
                    <a:pt x="188" y="266"/>
                    <a:pt x="196" y="260"/>
                    <a:pt x="202" y="253"/>
                  </a:cubicBezTo>
                  <a:cubicBezTo>
                    <a:pt x="209" y="246"/>
                    <a:pt x="214" y="237"/>
                    <a:pt x="218" y="228"/>
                  </a:cubicBezTo>
                  <a:cubicBezTo>
                    <a:pt x="221" y="218"/>
                    <a:pt x="224" y="208"/>
                    <a:pt x="225" y="197"/>
                  </a:cubicBezTo>
                  <a:cubicBezTo>
                    <a:pt x="276" y="197"/>
                    <a:pt x="276" y="197"/>
                    <a:pt x="276" y="197"/>
                  </a:cubicBezTo>
                  <a:cubicBezTo>
                    <a:pt x="275" y="215"/>
                    <a:pt x="271" y="231"/>
                    <a:pt x="265" y="246"/>
                  </a:cubicBezTo>
                  <a:cubicBezTo>
                    <a:pt x="258" y="261"/>
                    <a:pt x="249" y="274"/>
                    <a:pt x="238" y="285"/>
                  </a:cubicBezTo>
                  <a:cubicBezTo>
                    <a:pt x="227" y="296"/>
                    <a:pt x="213" y="304"/>
                    <a:pt x="198" y="310"/>
                  </a:cubicBezTo>
                  <a:cubicBezTo>
                    <a:pt x="183" y="316"/>
                    <a:pt x="166"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0"/>
                  </a:moveTo>
                  <a:cubicBezTo>
                    <a:pt x="125" y="0"/>
                    <a:pt x="104" y="4"/>
                    <a:pt x="86" y="13"/>
                  </a:cubicBezTo>
                  <a:cubicBezTo>
                    <a:pt x="68" y="21"/>
                    <a:pt x="52" y="33"/>
                    <a:pt x="40" y="48"/>
                  </a:cubicBezTo>
                  <a:cubicBezTo>
                    <a:pt x="27" y="62"/>
                    <a:pt x="17" y="80"/>
                    <a:pt x="10" y="99"/>
                  </a:cubicBezTo>
                  <a:cubicBezTo>
                    <a:pt x="4" y="118"/>
                    <a:pt x="0" y="139"/>
                    <a:pt x="0" y="161"/>
                  </a:cubicBezTo>
                  <a:cubicBezTo>
                    <a:pt x="0" y="183"/>
                    <a:pt x="4" y="204"/>
                    <a:pt x="10" y="223"/>
                  </a:cubicBezTo>
                  <a:cubicBezTo>
                    <a:pt x="17" y="243"/>
                    <a:pt x="27" y="260"/>
                    <a:pt x="40" y="274"/>
                  </a:cubicBezTo>
                  <a:cubicBezTo>
                    <a:pt x="52" y="289"/>
                    <a:pt x="68" y="301"/>
                    <a:pt x="86" y="309"/>
                  </a:cubicBezTo>
                  <a:cubicBezTo>
                    <a:pt x="104" y="318"/>
                    <a:pt x="125" y="322"/>
                    <a:pt x="148" y="322"/>
                  </a:cubicBezTo>
                  <a:cubicBezTo>
                    <a:pt x="166" y="322"/>
                    <a:pt x="184" y="319"/>
                    <a:pt x="199" y="313"/>
                  </a:cubicBezTo>
                  <a:cubicBezTo>
                    <a:pt x="215" y="307"/>
                    <a:pt x="228" y="298"/>
                    <a:pt x="240" y="287"/>
                  </a:cubicBezTo>
                  <a:cubicBezTo>
                    <a:pt x="251" y="276"/>
                    <a:pt x="261" y="263"/>
                    <a:pt x="267" y="247"/>
                  </a:cubicBezTo>
                  <a:cubicBezTo>
                    <a:pt x="274" y="232"/>
                    <a:pt x="278" y="215"/>
                    <a:pt x="279" y="197"/>
                  </a:cubicBezTo>
                  <a:cubicBezTo>
                    <a:pt x="279" y="194"/>
                    <a:pt x="279" y="194"/>
                    <a:pt x="279" y="194"/>
                  </a:cubicBezTo>
                  <a:cubicBezTo>
                    <a:pt x="276" y="194"/>
                    <a:pt x="276" y="194"/>
                    <a:pt x="276" y="194"/>
                  </a:cubicBezTo>
                  <a:cubicBezTo>
                    <a:pt x="225" y="194"/>
                    <a:pt x="225" y="194"/>
                    <a:pt x="225" y="194"/>
                  </a:cubicBezTo>
                  <a:cubicBezTo>
                    <a:pt x="222" y="194"/>
                    <a:pt x="222" y="194"/>
                    <a:pt x="222" y="194"/>
                  </a:cubicBezTo>
                  <a:cubicBezTo>
                    <a:pt x="222" y="196"/>
                    <a:pt x="222" y="196"/>
                    <a:pt x="222" y="196"/>
                  </a:cubicBezTo>
                  <a:cubicBezTo>
                    <a:pt x="221" y="207"/>
                    <a:pt x="218" y="217"/>
                    <a:pt x="215" y="227"/>
                  </a:cubicBezTo>
                  <a:cubicBezTo>
                    <a:pt x="211" y="236"/>
                    <a:pt x="206" y="244"/>
                    <a:pt x="200" y="251"/>
                  </a:cubicBezTo>
                  <a:cubicBezTo>
                    <a:pt x="194" y="258"/>
                    <a:pt x="186" y="263"/>
                    <a:pt x="178" y="267"/>
                  </a:cubicBezTo>
                  <a:cubicBezTo>
                    <a:pt x="169" y="271"/>
                    <a:pt x="159" y="273"/>
                    <a:pt x="148" y="273"/>
                  </a:cubicBezTo>
                  <a:cubicBezTo>
                    <a:pt x="132" y="273"/>
                    <a:pt x="119" y="270"/>
                    <a:pt x="108" y="263"/>
                  </a:cubicBezTo>
                  <a:cubicBezTo>
                    <a:pt x="96"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6" y="64"/>
                    <a:pt x="108" y="58"/>
                  </a:cubicBezTo>
                  <a:cubicBezTo>
                    <a:pt x="119" y="52"/>
                    <a:pt x="132" y="49"/>
                    <a:pt x="148" y="49"/>
                  </a:cubicBezTo>
                  <a:cubicBezTo>
                    <a:pt x="158" y="49"/>
                    <a:pt x="168" y="50"/>
                    <a:pt x="176" y="53"/>
                  </a:cubicBezTo>
                  <a:cubicBezTo>
                    <a:pt x="184" y="56"/>
                    <a:pt x="191" y="60"/>
                    <a:pt x="197" y="65"/>
                  </a:cubicBezTo>
                  <a:cubicBezTo>
                    <a:pt x="202" y="70"/>
                    <a:pt x="207" y="76"/>
                    <a:pt x="211" y="83"/>
                  </a:cubicBezTo>
                  <a:cubicBezTo>
                    <a:pt x="215" y="90"/>
                    <a:pt x="218" y="98"/>
                    <a:pt x="220" y="107"/>
                  </a:cubicBezTo>
                  <a:cubicBezTo>
                    <a:pt x="221" y="109"/>
                    <a:pt x="221" y="109"/>
                    <a:pt x="221" y="109"/>
                  </a:cubicBezTo>
                  <a:cubicBezTo>
                    <a:pt x="223" y="109"/>
                    <a:pt x="223" y="109"/>
                    <a:pt x="223" y="109"/>
                  </a:cubicBezTo>
                  <a:cubicBezTo>
                    <a:pt x="276" y="109"/>
                    <a:pt x="276" y="109"/>
                    <a:pt x="276" y="109"/>
                  </a:cubicBezTo>
                  <a:cubicBezTo>
                    <a:pt x="279" y="109"/>
                    <a:pt x="279" y="109"/>
                    <a:pt x="279" y="109"/>
                  </a:cubicBezTo>
                  <a:cubicBezTo>
                    <a:pt x="279" y="106"/>
                    <a:pt x="279" y="106"/>
                    <a:pt x="279" y="106"/>
                  </a:cubicBezTo>
                  <a:cubicBezTo>
                    <a:pt x="277" y="89"/>
                    <a:pt x="273" y="74"/>
                    <a:pt x="265" y="61"/>
                  </a:cubicBezTo>
                  <a:cubicBezTo>
                    <a:pt x="258" y="48"/>
                    <a:pt x="249" y="37"/>
                    <a:pt x="237" y="28"/>
                  </a:cubicBezTo>
                  <a:cubicBezTo>
                    <a:pt x="225" y="19"/>
                    <a:pt x="212" y="12"/>
                    <a:pt x="196" y="7"/>
                  </a:cubicBezTo>
                  <a:cubicBezTo>
                    <a:pt x="181" y="2"/>
                    <a:pt x="165" y="0"/>
                    <a:pt x="148"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2" name="Freeform 94"/>
            <p:cNvSpPr>
              <a:spLocks noEditPoints="1"/>
            </p:cNvSpPr>
            <p:nvPr/>
          </p:nvSpPr>
          <p:spPr bwMode="auto">
            <a:xfrm>
              <a:off x="9572626" y="4763"/>
              <a:ext cx="1095375" cy="1195388"/>
            </a:xfrm>
            <a:custGeom>
              <a:avLst/>
              <a:gdLst>
                <a:gd name="T0" fmla="*/ 146 w 292"/>
                <a:gd name="T1" fmla="*/ 319 h 319"/>
                <a:gd name="T2" fmla="*/ 85 w 292"/>
                <a:gd name="T3" fmla="*/ 307 h 319"/>
                <a:gd name="T4" fmla="*/ 39 w 292"/>
                <a:gd name="T5" fmla="*/ 272 h 319"/>
                <a:gd name="T6" fmla="*/ 10 w 292"/>
                <a:gd name="T7" fmla="*/ 222 h 319"/>
                <a:gd name="T8" fmla="*/ 0 w 292"/>
                <a:gd name="T9" fmla="*/ 160 h 319"/>
                <a:gd name="T10" fmla="*/ 10 w 292"/>
                <a:gd name="T11" fmla="*/ 99 h 319"/>
                <a:gd name="T12" fmla="*/ 39 w 292"/>
                <a:gd name="T13" fmla="*/ 48 h 319"/>
                <a:gd name="T14" fmla="*/ 85 w 292"/>
                <a:gd name="T15" fmla="*/ 13 h 319"/>
                <a:gd name="T16" fmla="*/ 146 w 292"/>
                <a:gd name="T17" fmla="*/ 0 h 319"/>
                <a:gd name="T18" fmla="*/ 207 w 292"/>
                <a:gd name="T19" fmla="*/ 13 h 319"/>
                <a:gd name="T20" fmla="*/ 253 w 292"/>
                <a:gd name="T21" fmla="*/ 48 h 319"/>
                <a:gd name="T22" fmla="*/ 282 w 292"/>
                <a:gd name="T23" fmla="*/ 99 h 319"/>
                <a:gd name="T24" fmla="*/ 292 w 292"/>
                <a:gd name="T25" fmla="*/ 160 h 319"/>
                <a:gd name="T26" fmla="*/ 282 w 292"/>
                <a:gd name="T27" fmla="*/ 222 h 319"/>
                <a:gd name="T28" fmla="*/ 253 w 292"/>
                <a:gd name="T29" fmla="*/ 272 h 319"/>
                <a:gd name="T30" fmla="*/ 207 w 292"/>
                <a:gd name="T31" fmla="*/ 307 h 319"/>
                <a:gd name="T32" fmla="*/ 146 w 292"/>
                <a:gd name="T33" fmla="*/ 319 h 319"/>
                <a:gd name="T34" fmla="*/ 146 w 292"/>
                <a:gd name="T35" fmla="*/ 46 h 319"/>
                <a:gd name="T36" fmla="*/ 105 w 292"/>
                <a:gd name="T37" fmla="*/ 56 h 319"/>
                <a:gd name="T38" fmla="*/ 77 w 292"/>
                <a:gd name="T39" fmla="*/ 81 h 319"/>
                <a:gd name="T40" fmla="*/ 61 w 292"/>
                <a:gd name="T41" fmla="*/ 118 h 319"/>
                <a:gd name="T42" fmla="*/ 56 w 292"/>
                <a:gd name="T43" fmla="*/ 160 h 319"/>
                <a:gd name="T44" fmla="*/ 61 w 292"/>
                <a:gd name="T45" fmla="*/ 202 h 319"/>
                <a:gd name="T46" fmla="*/ 77 w 292"/>
                <a:gd name="T47" fmla="*/ 238 h 319"/>
                <a:gd name="T48" fmla="*/ 105 w 292"/>
                <a:gd name="T49" fmla="*/ 264 h 319"/>
                <a:gd name="T50" fmla="*/ 146 w 292"/>
                <a:gd name="T51" fmla="*/ 273 h 319"/>
                <a:gd name="T52" fmla="*/ 187 w 292"/>
                <a:gd name="T53" fmla="*/ 264 h 319"/>
                <a:gd name="T54" fmla="*/ 215 w 292"/>
                <a:gd name="T55" fmla="*/ 238 h 319"/>
                <a:gd name="T56" fmla="*/ 231 w 292"/>
                <a:gd name="T57" fmla="*/ 202 h 319"/>
                <a:gd name="T58" fmla="*/ 236 w 292"/>
                <a:gd name="T59" fmla="*/ 160 h 319"/>
                <a:gd name="T60" fmla="*/ 231 w 292"/>
                <a:gd name="T61" fmla="*/ 118 h 319"/>
                <a:gd name="T62" fmla="*/ 215 w 292"/>
                <a:gd name="T63" fmla="*/ 81 h 319"/>
                <a:gd name="T64" fmla="*/ 187 w 292"/>
                <a:gd name="T65" fmla="*/ 56 h 319"/>
                <a:gd name="T66" fmla="*/ 146 w 292"/>
                <a:gd name="T67" fmla="*/ 4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2" h="319">
                  <a:moveTo>
                    <a:pt x="146" y="319"/>
                  </a:moveTo>
                  <a:cubicBezTo>
                    <a:pt x="123" y="319"/>
                    <a:pt x="103" y="315"/>
                    <a:pt x="85" y="307"/>
                  </a:cubicBezTo>
                  <a:cubicBezTo>
                    <a:pt x="67" y="298"/>
                    <a:pt x="51" y="287"/>
                    <a:pt x="39" y="272"/>
                  </a:cubicBezTo>
                  <a:cubicBezTo>
                    <a:pt x="26" y="258"/>
                    <a:pt x="17" y="241"/>
                    <a:pt x="10" y="222"/>
                  </a:cubicBezTo>
                  <a:cubicBezTo>
                    <a:pt x="3" y="202"/>
                    <a:pt x="0" y="182"/>
                    <a:pt x="0" y="160"/>
                  </a:cubicBezTo>
                  <a:cubicBezTo>
                    <a:pt x="0" y="138"/>
                    <a:pt x="3" y="118"/>
                    <a:pt x="10" y="99"/>
                  </a:cubicBezTo>
                  <a:cubicBezTo>
                    <a:pt x="17" y="79"/>
                    <a:pt x="26" y="62"/>
                    <a:pt x="39" y="48"/>
                  </a:cubicBezTo>
                  <a:cubicBezTo>
                    <a:pt x="51" y="33"/>
                    <a:pt x="67" y="22"/>
                    <a:pt x="85" y="13"/>
                  </a:cubicBezTo>
                  <a:cubicBezTo>
                    <a:pt x="103" y="5"/>
                    <a:pt x="123" y="0"/>
                    <a:pt x="146" y="0"/>
                  </a:cubicBezTo>
                  <a:cubicBezTo>
                    <a:pt x="169" y="0"/>
                    <a:pt x="189" y="5"/>
                    <a:pt x="207" y="13"/>
                  </a:cubicBezTo>
                  <a:cubicBezTo>
                    <a:pt x="225" y="22"/>
                    <a:pt x="241" y="33"/>
                    <a:pt x="253" y="48"/>
                  </a:cubicBezTo>
                  <a:cubicBezTo>
                    <a:pt x="266" y="62"/>
                    <a:pt x="275" y="79"/>
                    <a:pt x="282" y="99"/>
                  </a:cubicBezTo>
                  <a:cubicBezTo>
                    <a:pt x="289" y="118"/>
                    <a:pt x="292" y="138"/>
                    <a:pt x="292" y="160"/>
                  </a:cubicBezTo>
                  <a:cubicBezTo>
                    <a:pt x="292" y="182"/>
                    <a:pt x="289" y="202"/>
                    <a:pt x="282" y="222"/>
                  </a:cubicBezTo>
                  <a:cubicBezTo>
                    <a:pt x="275" y="241"/>
                    <a:pt x="266" y="258"/>
                    <a:pt x="253" y="272"/>
                  </a:cubicBezTo>
                  <a:cubicBezTo>
                    <a:pt x="241" y="287"/>
                    <a:pt x="225" y="298"/>
                    <a:pt x="207" y="307"/>
                  </a:cubicBezTo>
                  <a:cubicBezTo>
                    <a:pt x="189" y="315"/>
                    <a:pt x="168" y="319"/>
                    <a:pt x="146" y="319"/>
                  </a:cubicBezTo>
                  <a:close/>
                  <a:moveTo>
                    <a:pt x="146" y="46"/>
                  </a:moveTo>
                  <a:cubicBezTo>
                    <a:pt x="130" y="46"/>
                    <a:pt x="116" y="50"/>
                    <a:pt x="105" y="56"/>
                  </a:cubicBezTo>
                  <a:cubicBezTo>
                    <a:pt x="94" y="62"/>
                    <a:pt x="84" y="71"/>
                    <a:pt x="77" y="81"/>
                  </a:cubicBezTo>
                  <a:cubicBezTo>
                    <a:pt x="70" y="92"/>
                    <a:pt x="64" y="104"/>
                    <a:pt x="61" y="118"/>
                  </a:cubicBezTo>
                  <a:cubicBezTo>
                    <a:pt x="57" y="132"/>
                    <a:pt x="56" y="146"/>
                    <a:pt x="56" y="160"/>
                  </a:cubicBezTo>
                  <a:cubicBezTo>
                    <a:pt x="56" y="174"/>
                    <a:pt x="57" y="188"/>
                    <a:pt x="61" y="202"/>
                  </a:cubicBezTo>
                  <a:cubicBezTo>
                    <a:pt x="64" y="215"/>
                    <a:pt x="70" y="228"/>
                    <a:pt x="77" y="238"/>
                  </a:cubicBezTo>
                  <a:cubicBezTo>
                    <a:pt x="84" y="249"/>
                    <a:pt x="94" y="257"/>
                    <a:pt x="105" y="264"/>
                  </a:cubicBezTo>
                  <a:cubicBezTo>
                    <a:pt x="116" y="270"/>
                    <a:pt x="130" y="273"/>
                    <a:pt x="146" y="273"/>
                  </a:cubicBezTo>
                  <a:cubicBezTo>
                    <a:pt x="162" y="273"/>
                    <a:pt x="175" y="270"/>
                    <a:pt x="187" y="264"/>
                  </a:cubicBezTo>
                  <a:cubicBezTo>
                    <a:pt x="198" y="257"/>
                    <a:pt x="208" y="249"/>
                    <a:pt x="215" y="238"/>
                  </a:cubicBezTo>
                  <a:cubicBezTo>
                    <a:pt x="222" y="228"/>
                    <a:pt x="227" y="215"/>
                    <a:pt x="231" y="202"/>
                  </a:cubicBezTo>
                  <a:cubicBezTo>
                    <a:pt x="234" y="188"/>
                    <a:pt x="236" y="174"/>
                    <a:pt x="236" y="160"/>
                  </a:cubicBezTo>
                  <a:cubicBezTo>
                    <a:pt x="236" y="146"/>
                    <a:pt x="234" y="132"/>
                    <a:pt x="231" y="118"/>
                  </a:cubicBezTo>
                  <a:cubicBezTo>
                    <a:pt x="227" y="104"/>
                    <a:pt x="222" y="92"/>
                    <a:pt x="215" y="81"/>
                  </a:cubicBezTo>
                  <a:cubicBezTo>
                    <a:pt x="208" y="71"/>
                    <a:pt x="198" y="62"/>
                    <a:pt x="187" y="56"/>
                  </a:cubicBezTo>
                  <a:cubicBezTo>
                    <a:pt x="175" y="50"/>
                    <a:pt x="162" y="46"/>
                    <a:pt x="146" y="46"/>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3" name="Freeform 95"/>
            <p:cNvSpPr>
              <a:spLocks noEditPoints="1"/>
            </p:cNvSpPr>
            <p:nvPr/>
          </p:nvSpPr>
          <p:spPr bwMode="auto">
            <a:xfrm>
              <a:off x="9564688" y="0"/>
              <a:ext cx="1106488" cy="1208088"/>
            </a:xfrm>
            <a:custGeom>
              <a:avLst/>
              <a:gdLst>
                <a:gd name="T0" fmla="*/ 209 w 295"/>
                <a:gd name="T1" fmla="*/ 16 h 322"/>
                <a:gd name="T2" fmla="*/ 283 w 295"/>
                <a:gd name="T3" fmla="*/ 100 h 322"/>
                <a:gd name="T4" fmla="*/ 283 w 295"/>
                <a:gd name="T5" fmla="*/ 222 h 322"/>
                <a:gd name="T6" fmla="*/ 209 w 295"/>
                <a:gd name="T7" fmla="*/ 306 h 322"/>
                <a:gd name="T8" fmla="*/ 87 w 295"/>
                <a:gd name="T9" fmla="*/ 306 h 322"/>
                <a:gd name="T10" fmla="*/ 13 w 295"/>
                <a:gd name="T11" fmla="*/ 222 h 322"/>
                <a:gd name="T12" fmla="*/ 13 w 295"/>
                <a:gd name="T13" fmla="*/ 100 h 322"/>
                <a:gd name="T14" fmla="*/ 87 w 295"/>
                <a:gd name="T15" fmla="*/ 16 h 322"/>
                <a:gd name="T16" fmla="*/ 148 w 295"/>
                <a:gd name="T17" fmla="*/ 276 h 322"/>
                <a:gd name="T18" fmla="*/ 218 w 295"/>
                <a:gd name="T19" fmla="*/ 240 h 322"/>
                <a:gd name="T20" fmla="*/ 240 w 295"/>
                <a:gd name="T21" fmla="*/ 161 h 322"/>
                <a:gd name="T22" fmla="*/ 218 w 295"/>
                <a:gd name="T23" fmla="*/ 82 h 322"/>
                <a:gd name="T24" fmla="*/ 148 w 295"/>
                <a:gd name="T25" fmla="*/ 46 h 322"/>
                <a:gd name="T26" fmla="*/ 78 w 295"/>
                <a:gd name="T27" fmla="*/ 82 h 322"/>
                <a:gd name="T28" fmla="*/ 56 w 295"/>
                <a:gd name="T29" fmla="*/ 161 h 322"/>
                <a:gd name="T30" fmla="*/ 78 w 295"/>
                <a:gd name="T31" fmla="*/ 240 h 322"/>
                <a:gd name="T32" fmla="*/ 148 w 295"/>
                <a:gd name="T33" fmla="*/ 276 h 322"/>
                <a:gd name="T34" fmla="*/ 86 w 295"/>
                <a:gd name="T35" fmla="*/ 13 h 322"/>
                <a:gd name="T36" fmla="*/ 11 w 295"/>
                <a:gd name="T37" fmla="*/ 99 h 322"/>
                <a:gd name="T38" fmla="*/ 11 w 295"/>
                <a:gd name="T39" fmla="*/ 223 h 322"/>
                <a:gd name="T40" fmla="*/ 86 w 295"/>
                <a:gd name="T41" fmla="*/ 309 h 322"/>
                <a:gd name="T42" fmla="*/ 210 w 295"/>
                <a:gd name="T43" fmla="*/ 309 h 322"/>
                <a:gd name="T44" fmla="*/ 285 w 295"/>
                <a:gd name="T45" fmla="*/ 223 h 322"/>
                <a:gd name="T46" fmla="*/ 285 w 295"/>
                <a:gd name="T47" fmla="*/ 99 h 322"/>
                <a:gd name="T48" fmla="*/ 210 w 295"/>
                <a:gd name="T49" fmla="*/ 13 h 322"/>
                <a:gd name="T50" fmla="*/ 148 w 295"/>
                <a:gd name="T51" fmla="*/ 273 h 322"/>
                <a:gd name="T52" fmla="*/ 80 w 295"/>
                <a:gd name="T53" fmla="*/ 238 h 322"/>
                <a:gd name="T54" fmla="*/ 59 w 295"/>
                <a:gd name="T55" fmla="*/ 161 h 322"/>
                <a:gd name="T56" fmla="*/ 80 w 295"/>
                <a:gd name="T57" fmla="*/ 83 h 322"/>
                <a:gd name="T58" fmla="*/ 148 w 295"/>
                <a:gd name="T59" fmla="*/ 49 h 322"/>
                <a:gd name="T60" fmla="*/ 216 w 295"/>
                <a:gd name="T61" fmla="*/ 83 h 322"/>
                <a:gd name="T62" fmla="*/ 237 w 295"/>
                <a:gd name="T63" fmla="*/ 161 h 322"/>
                <a:gd name="T64" fmla="*/ 216 w 295"/>
                <a:gd name="T65" fmla="*/ 238 h 322"/>
                <a:gd name="T66" fmla="*/ 148 w 295"/>
                <a:gd name="T67" fmla="*/ 27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22">
                  <a:moveTo>
                    <a:pt x="148" y="3"/>
                  </a:moveTo>
                  <a:cubicBezTo>
                    <a:pt x="170" y="3"/>
                    <a:pt x="191" y="7"/>
                    <a:pt x="209" y="16"/>
                  </a:cubicBezTo>
                  <a:cubicBezTo>
                    <a:pt x="226" y="24"/>
                    <a:pt x="242" y="35"/>
                    <a:pt x="254" y="50"/>
                  </a:cubicBezTo>
                  <a:cubicBezTo>
                    <a:pt x="266" y="64"/>
                    <a:pt x="276" y="81"/>
                    <a:pt x="283" y="100"/>
                  </a:cubicBezTo>
                  <a:cubicBezTo>
                    <a:pt x="289" y="119"/>
                    <a:pt x="292" y="139"/>
                    <a:pt x="292" y="161"/>
                  </a:cubicBezTo>
                  <a:cubicBezTo>
                    <a:pt x="292" y="183"/>
                    <a:pt x="289" y="203"/>
                    <a:pt x="283" y="222"/>
                  </a:cubicBezTo>
                  <a:cubicBezTo>
                    <a:pt x="276" y="241"/>
                    <a:pt x="266" y="258"/>
                    <a:pt x="254" y="272"/>
                  </a:cubicBezTo>
                  <a:cubicBezTo>
                    <a:pt x="242" y="287"/>
                    <a:pt x="226" y="298"/>
                    <a:pt x="209" y="306"/>
                  </a:cubicBezTo>
                  <a:cubicBezTo>
                    <a:pt x="191" y="315"/>
                    <a:pt x="170" y="319"/>
                    <a:pt x="148" y="319"/>
                  </a:cubicBezTo>
                  <a:cubicBezTo>
                    <a:pt x="125" y="319"/>
                    <a:pt x="105" y="315"/>
                    <a:pt x="87" y="306"/>
                  </a:cubicBezTo>
                  <a:cubicBezTo>
                    <a:pt x="69" y="298"/>
                    <a:pt x="54" y="287"/>
                    <a:pt x="42" y="272"/>
                  </a:cubicBezTo>
                  <a:cubicBezTo>
                    <a:pt x="29" y="258"/>
                    <a:pt x="20" y="241"/>
                    <a:pt x="13" y="222"/>
                  </a:cubicBezTo>
                  <a:cubicBezTo>
                    <a:pt x="7" y="203"/>
                    <a:pt x="3" y="183"/>
                    <a:pt x="3" y="161"/>
                  </a:cubicBezTo>
                  <a:cubicBezTo>
                    <a:pt x="3" y="139"/>
                    <a:pt x="7" y="119"/>
                    <a:pt x="13" y="100"/>
                  </a:cubicBezTo>
                  <a:cubicBezTo>
                    <a:pt x="20" y="81"/>
                    <a:pt x="29" y="64"/>
                    <a:pt x="42" y="50"/>
                  </a:cubicBezTo>
                  <a:cubicBezTo>
                    <a:pt x="54" y="35"/>
                    <a:pt x="69" y="24"/>
                    <a:pt x="87" y="16"/>
                  </a:cubicBezTo>
                  <a:cubicBezTo>
                    <a:pt x="105" y="7"/>
                    <a:pt x="125" y="3"/>
                    <a:pt x="148" y="3"/>
                  </a:cubicBezTo>
                  <a:moveTo>
                    <a:pt x="148" y="276"/>
                  </a:moveTo>
                  <a:cubicBezTo>
                    <a:pt x="164" y="276"/>
                    <a:pt x="178" y="273"/>
                    <a:pt x="190" y="266"/>
                  </a:cubicBezTo>
                  <a:cubicBezTo>
                    <a:pt x="201" y="260"/>
                    <a:pt x="211" y="251"/>
                    <a:pt x="218" y="240"/>
                  </a:cubicBezTo>
                  <a:cubicBezTo>
                    <a:pt x="225" y="229"/>
                    <a:pt x="231" y="217"/>
                    <a:pt x="234" y="203"/>
                  </a:cubicBezTo>
                  <a:cubicBezTo>
                    <a:pt x="238" y="189"/>
                    <a:pt x="240" y="175"/>
                    <a:pt x="240" y="161"/>
                  </a:cubicBezTo>
                  <a:cubicBezTo>
                    <a:pt x="240" y="147"/>
                    <a:pt x="238" y="132"/>
                    <a:pt x="234" y="119"/>
                  </a:cubicBezTo>
                  <a:cubicBezTo>
                    <a:pt x="231" y="105"/>
                    <a:pt x="225" y="92"/>
                    <a:pt x="218" y="82"/>
                  </a:cubicBezTo>
                  <a:cubicBezTo>
                    <a:pt x="211" y="71"/>
                    <a:pt x="201" y="62"/>
                    <a:pt x="190" y="56"/>
                  </a:cubicBezTo>
                  <a:cubicBezTo>
                    <a:pt x="178" y="49"/>
                    <a:pt x="164" y="46"/>
                    <a:pt x="148" y="46"/>
                  </a:cubicBezTo>
                  <a:cubicBezTo>
                    <a:pt x="132" y="46"/>
                    <a:pt x="118" y="49"/>
                    <a:pt x="106" y="56"/>
                  </a:cubicBezTo>
                  <a:cubicBezTo>
                    <a:pt x="95" y="62"/>
                    <a:pt x="85" y="71"/>
                    <a:pt x="78" y="82"/>
                  </a:cubicBezTo>
                  <a:cubicBezTo>
                    <a:pt x="70" y="92"/>
                    <a:pt x="65" y="105"/>
                    <a:pt x="62" y="119"/>
                  </a:cubicBezTo>
                  <a:cubicBezTo>
                    <a:pt x="58" y="132"/>
                    <a:pt x="56" y="147"/>
                    <a:pt x="56" y="161"/>
                  </a:cubicBezTo>
                  <a:cubicBezTo>
                    <a:pt x="56" y="175"/>
                    <a:pt x="58" y="189"/>
                    <a:pt x="62" y="203"/>
                  </a:cubicBezTo>
                  <a:cubicBezTo>
                    <a:pt x="65" y="217"/>
                    <a:pt x="70" y="229"/>
                    <a:pt x="78" y="240"/>
                  </a:cubicBezTo>
                  <a:cubicBezTo>
                    <a:pt x="85" y="251"/>
                    <a:pt x="95" y="260"/>
                    <a:pt x="106" y="266"/>
                  </a:cubicBezTo>
                  <a:cubicBezTo>
                    <a:pt x="118" y="273"/>
                    <a:pt x="132" y="276"/>
                    <a:pt x="148" y="276"/>
                  </a:cubicBezTo>
                  <a:moveTo>
                    <a:pt x="148" y="0"/>
                  </a:moveTo>
                  <a:cubicBezTo>
                    <a:pt x="125" y="0"/>
                    <a:pt x="104" y="4"/>
                    <a:pt x="86" y="13"/>
                  </a:cubicBezTo>
                  <a:cubicBezTo>
                    <a:pt x="68" y="21"/>
                    <a:pt x="52" y="33"/>
                    <a:pt x="40" y="48"/>
                  </a:cubicBezTo>
                  <a:cubicBezTo>
                    <a:pt x="27" y="62"/>
                    <a:pt x="17" y="80"/>
                    <a:pt x="11" y="99"/>
                  </a:cubicBezTo>
                  <a:cubicBezTo>
                    <a:pt x="4" y="118"/>
                    <a:pt x="0" y="139"/>
                    <a:pt x="0" y="161"/>
                  </a:cubicBezTo>
                  <a:cubicBezTo>
                    <a:pt x="0" y="183"/>
                    <a:pt x="4" y="204"/>
                    <a:pt x="11" y="223"/>
                  </a:cubicBezTo>
                  <a:cubicBezTo>
                    <a:pt x="17" y="243"/>
                    <a:pt x="27" y="260"/>
                    <a:pt x="40" y="274"/>
                  </a:cubicBezTo>
                  <a:cubicBezTo>
                    <a:pt x="52" y="289"/>
                    <a:pt x="68" y="301"/>
                    <a:pt x="86" y="309"/>
                  </a:cubicBezTo>
                  <a:cubicBezTo>
                    <a:pt x="104" y="318"/>
                    <a:pt x="125" y="322"/>
                    <a:pt x="148" y="322"/>
                  </a:cubicBezTo>
                  <a:cubicBezTo>
                    <a:pt x="171" y="322"/>
                    <a:pt x="192" y="318"/>
                    <a:pt x="210" y="309"/>
                  </a:cubicBezTo>
                  <a:cubicBezTo>
                    <a:pt x="228" y="301"/>
                    <a:pt x="244" y="289"/>
                    <a:pt x="256" y="274"/>
                  </a:cubicBezTo>
                  <a:cubicBezTo>
                    <a:pt x="269" y="260"/>
                    <a:pt x="279" y="243"/>
                    <a:pt x="285" y="223"/>
                  </a:cubicBezTo>
                  <a:cubicBezTo>
                    <a:pt x="292" y="204"/>
                    <a:pt x="295" y="183"/>
                    <a:pt x="295" y="161"/>
                  </a:cubicBezTo>
                  <a:cubicBezTo>
                    <a:pt x="295" y="139"/>
                    <a:pt x="292" y="118"/>
                    <a:pt x="285" y="99"/>
                  </a:cubicBezTo>
                  <a:cubicBezTo>
                    <a:pt x="279" y="80"/>
                    <a:pt x="269" y="62"/>
                    <a:pt x="256" y="48"/>
                  </a:cubicBezTo>
                  <a:cubicBezTo>
                    <a:pt x="244" y="33"/>
                    <a:pt x="228" y="21"/>
                    <a:pt x="210" y="13"/>
                  </a:cubicBezTo>
                  <a:cubicBezTo>
                    <a:pt x="192" y="4"/>
                    <a:pt x="171" y="0"/>
                    <a:pt x="148" y="0"/>
                  </a:cubicBezTo>
                  <a:close/>
                  <a:moveTo>
                    <a:pt x="148" y="273"/>
                  </a:moveTo>
                  <a:cubicBezTo>
                    <a:pt x="132" y="273"/>
                    <a:pt x="119" y="270"/>
                    <a:pt x="108" y="263"/>
                  </a:cubicBezTo>
                  <a:cubicBezTo>
                    <a:pt x="97" y="257"/>
                    <a:pt x="87" y="249"/>
                    <a:pt x="80" y="238"/>
                  </a:cubicBezTo>
                  <a:cubicBezTo>
                    <a:pt x="73" y="228"/>
                    <a:pt x="68" y="216"/>
                    <a:pt x="64" y="202"/>
                  </a:cubicBezTo>
                  <a:cubicBezTo>
                    <a:pt x="61" y="189"/>
                    <a:pt x="59" y="175"/>
                    <a:pt x="59" y="161"/>
                  </a:cubicBezTo>
                  <a:cubicBezTo>
                    <a:pt x="59" y="147"/>
                    <a:pt x="61" y="133"/>
                    <a:pt x="64" y="119"/>
                  </a:cubicBezTo>
                  <a:cubicBezTo>
                    <a:pt x="68" y="106"/>
                    <a:pt x="73" y="94"/>
                    <a:pt x="80" y="83"/>
                  </a:cubicBezTo>
                  <a:cubicBezTo>
                    <a:pt x="87" y="73"/>
                    <a:pt x="97" y="64"/>
                    <a:pt x="108" y="58"/>
                  </a:cubicBezTo>
                  <a:cubicBezTo>
                    <a:pt x="119" y="52"/>
                    <a:pt x="132" y="49"/>
                    <a:pt x="148" y="49"/>
                  </a:cubicBezTo>
                  <a:cubicBezTo>
                    <a:pt x="163" y="49"/>
                    <a:pt x="177" y="52"/>
                    <a:pt x="188" y="58"/>
                  </a:cubicBezTo>
                  <a:cubicBezTo>
                    <a:pt x="199" y="64"/>
                    <a:pt x="209" y="73"/>
                    <a:pt x="216" y="83"/>
                  </a:cubicBezTo>
                  <a:cubicBezTo>
                    <a:pt x="223" y="94"/>
                    <a:pt x="228" y="106"/>
                    <a:pt x="231" y="119"/>
                  </a:cubicBezTo>
                  <a:cubicBezTo>
                    <a:pt x="235" y="133"/>
                    <a:pt x="237" y="147"/>
                    <a:pt x="237" y="161"/>
                  </a:cubicBezTo>
                  <a:cubicBezTo>
                    <a:pt x="237" y="175"/>
                    <a:pt x="235" y="189"/>
                    <a:pt x="231" y="202"/>
                  </a:cubicBezTo>
                  <a:cubicBezTo>
                    <a:pt x="228" y="216"/>
                    <a:pt x="223" y="228"/>
                    <a:pt x="216" y="238"/>
                  </a:cubicBezTo>
                  <a:cubicBezTo>
                    <a:pt x="209" y="249"/>
                    <a:pt x="199" y="257"/>
                    <a:pt x="188" y="263"/>
                  </a:cubicBezTo>
                  <a:cubicBezTo>
                    <a:pt x="177" y="270"/>
                    <a:pt x="163" y="273"/>
                    <a:pt x="148" y="273"/>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4" name="Freeform 96"/>
            <p:cNvSpPr>
              <a:spLocks/>
            </p:cNvSpPr>
            <p:nvPr/>
          </p:nvSpPr>
          <p:spPr bwMode="auto">
            <a:xfrm>
              <a:off x="10750551" y="668338"/>
              <a:ext cx="523875" cy="708025"/>
            </a:xfrm>
            <a:custGeom>
              <a:avLst/>
              <a:gdLst>
                <a:gd name="T0" fmla="*/ 0 w 140"/>
                <a:gd name="T1" fmla="*/ 189 h 189"/>
                <a:gd name="T2" fmla="*/ 0 w 140"/>
                <a:gd name="T3" fmla="*/ 187 h 189"/>
                <a:gd name="T4" fmla="*/ 12 w 140"/>
                <a:gd name="T5" fmla="*/ 144 h 189"/>
                <a:gd name="T6" fmla="*/ 43 w 140"/>
                <a:gd name="T7" fmla="*/ 114 h 189"/>
                <a:gd name="T8" fmla="*/ 63 w 140"/>
                <a:gd name="T9" fmla="*/ 101 h 189"/>
                <a:gd name="T10" fmla="*/ 81 w 140"/>
                <a:gd name="T11" fmla="*/ 89 h 189"/>
                <a:gd name="T12" fmla="*/ 95 w 140"/>
                <a:gd name="T13" fmla="*/ 74 h 189"/>
                <a:gd name="T14" fmla="*/ 100 w 140"/>
                <a:gd name="T15" fmla="*/ 57 h 189"/>
                <a:gd name="T16" fmla="*/ 92 w 140"/>
                <a:gd name="T17" fmla="*/ 38 h 189"/>
                <a:gd name="T18" fmla="*/ 71 w 140"/>
                <a:gd name="T19" fmla="*/ 32 h 189"/>
                <a:gd name="T20" fmla="*/ 57 w 140"/>
                <a:gd name="T21" fmla="*/ 35 h 189"/>
                <a:gd name="T22" fmla="*/ 49 w 140"/>
                <a:gd name="T23" fmla="*/ 44 h 189"/>
                <a:gd name="T24" fmla="*/ 44 w 140"/>
                <a:gd name="T25" fmla="*/ 56 h 189"/>
                <a:gd name="T26" fmla="*/ 42 w 140"/>
                <a:gd name="T27" fmla="*/ 70 h 189"/>
                <a:gd name="T28" fmla="*/ 42 w 140"/>
                <a:gd name="T29" fmla="*/ 71 h 189"/>
                <a:gd name="T30" fmla="*/ 2 w 140"/>
                <a:gd name="T31" fmla="*/ 71 h 189"/>
                <a:gd name="T32" fmla="*/ 2 w 140"/>
                <a:gd name="T33" fmla="*/ 70 h 189"/>
                <a:gd name="T34" fmla="*/ 21 w 140"/>
                <a:gd name="T35" fmla="*/ 18 h 189"/>
                <a:gd name="T36" fmla="*/ 73 w 140"/>
                <a:gd name="T37" fmla="*/ 0 h 189"/>
                <a:gd name="T38" fmla="*/ 98 w 140"/>
                <a:gd name="T39" fmla="*/ 3 h 189"/>
                <a:gd name="T40" fmla="*/ 120 w 140"/>
                <a:gd name="T41" fmla="*/ 13 h 189"/>
                <a:gd name="T42" fmla="*/ 135 w 140"/>
                <a:gd name="T43" fmla="*/ 30 h 189"/>
                <a:gd name="T44" fmla="*/ 140 w 140"/>
                <a:gd name="T45" fmla="*/ 56 h 189"/>
                <a:gd name="T46" fmla="*/ 137 w 140"/>
                <a:gd name="T47" fmla="*/ 76 h 189"/>
                <a:gd name="T48" fmla="*/ 127 w 140"/>
                <a:gd name="T49" fmla="*/ 92 h 189"/>
                <a:gd name="T50" fmla="*/ 112 w 140"/>
                <a:gd name="T51" fmla="*/ 106 h 189"/>
                <a:gd name="T52" fmla="*/ 96 w 140"/>
                <a:gd name="T53" fmla="*/ 117 h 189"/>
                <a:gd name="T54" fmla="*/ 80 w 140"/>
                <a:gd name="T55" fmla="*/ 127 h 189"/>
                <a:gd name="T56" fmla="*/ 65 w 140"/>
                <a:gd name="T57" fmla="*/ 137 h 189"/>
                <a:gd name="T58" fmla="*/ 53 w 140"/>
                <a:gd name="T59" fmla="*/ 147 h 189"/>
                <a:gd name="T60" fmla="*/ 47 w 140"/>
                <a:gd name="T61" fmla="*/ 156 h 189"/>
                <a:gd name="T62" fmla="*/ 136 w 140"/>
                <a:gd name="T63" fmla="*/ 156 h 189"/>
                <a:gd name="T64" fmla="*/ 136 w 140"/>
                <a:gd name="T65" fmla="*/ 189 h 189"/>
                <a:gd name="T66" fmla="*/ 0 w 140"/>
                <a:gd name="T6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189">
                  <a:moveTo>
                    <a:pt x="0" y="189"/>
                  </a:moveTo>
                  <a:cubicBezTo>
                    <a:pt x="0" y="187"/>
                    <a:pt x="0" y="187"/>
                    <a:pt x="0" y="187"/>
                  </a:cubicBezTo>
                  <a:cubicBezTo>
                    <a:pt x="0" y="170"/>
                    <a:pt x="4" y="155"/>
                    <a:pt x="12" y="144"/>
                  </a:cubicBezTo>
                  <a:cubicBezTo>
                    <a:pt x="19" y="132"/>
                    <a:pt x="30" y="122"/>
                    <a:pt x="43" y="114"/>
                  </a:cubicBezTo>
                  <a:cubicBezTo>
                    <a:pt x="50" y="109"/>
                    <a:pt x="56" y="105"/>
                    <a:pt x="63" y="101"/>
                  </a:cubicBezTo>
                  <a:cubicBezTo>
                    <a:pt x="69" y="97"/>
                    <a:pt x="76" y="93"/>
                    <a:pt x="81" y="89"/>
                  </a:cubicBezTo>
                  <a:cubicBezTo>
                    <a:pt x="87" y="84"/>
                    <a:pt x="91" y="79"/>
                    <a:pt x="95" y="74"/>
                  </a:cubicBezTo>
                  <a:cubicBezTo>
                    <a:pt x="98" y="69"/>
                    <a:pt x="100" y="63"/>
                    <a:pt x="100" y="57"/>
                  </a:cubicBezTo>
                  <a:cubicBezTo>
                    <a:pt x="100" y="48"/>
                    <a:pt x="98" y="42"/>
                    <a:pt x="92" y="38"/>
                  </a:cubicBezTo>
                  <a:cubicBezTo>
                    <a:pt x="86" y="34"/>
                    <a:pt x="79" y="32"/>
                    <a:pt x="71" y="32"/>
                  </a:cubicBezTo>
                  <a:cubicBezTo>
                    <a:pt x="66" y="32"/>
                    <a:pt x="61" y="33"/>
                    <a:pt x="57" y="35"/>
                  </a:cubicBezTo>
                  <a:cubicBezTo>
                    <a:pt x="54" y="37"/>
                    <a:pt x="51" y="40"/>
                    <a:pt x="49" y="44"/>
                  </a:cubicBezTo>
                  <a:cubicBezTo>
                    <a:pt x="47" y="47"/>
                    <a:pt x="45" y="51"/>
                    <a:pt x="44" y="56"/>
                  </a:cubicBezTo>
                  <a:cubicBezTo>
                    <a:pt x="43" y="60"/>
                    <a:pt x="42" y="65"/>
                    <a:pt x="42" y="70"/>
                  </a:cubicBezTo>
                  <a:cubicBezTo>
                    <a:pt x="42" y="71"/>
                    <a:pt x="42" y="71"/>
                    <a:pt x="42" y="71"/>
                  </a:cubicBezTo>
                  <a:cubicBezTo>
                    <a:pt x="2" y="71"/>
                    <a:pt x="2" y="71"/>
                    <a:pt x="2" y="71"/>
                  </a:cubicBezTo>
                  <a:cubicBezTo>
                    <a:pt x="2" y="70"/>
                    <a:pt x="2" y="70"/>
                    <a:pt x="2" y="70"/>
                  </a:cubicBezTo>
                  <a:cubicBezTo>
                    <a:pt x="2" y="48"/>
                    <a:pt x="8" y="31"/>
                    <a:pt x="21" y="18"/>
                  </a:cubicBezTo>
                  <a:cubicBezTo>
                    <a:pt x="34" y="6"/>
                    <a:pt x="51" y="0"/>
                    <a:pt x="73" y="0"/>
                  </a:cubicBezTo>
                  <a:cubicBezTo>
                    <a:pt x="82" y="0"/>
                    <a:pt x="90" y="1"/>
                    <a:pt x="98" y="3"/>
                  </a:cubicBezTo>
                  <a:cubicBezTo>
                    <a:pt x="107" y="5"/>
                    <a:pt x="114" y="8"/>
                    <a:pt x="120" y="13"/>
                  </a:cubicBezTo>
                  <a:cubicBezTo>
                    <a:pt x="126" y="17"/>
                    <a:pt x="131" y="23"/>
                    <a:pt x="135" y="30"/>
                  </a:cubicBezTo>
                  <a:cubicBezTo>
                    <a:pt x="138" y="38"/>
                    <a:pt x="140" y="46"/>
                    <a:pt x="140" y="56"/>
                  </a:cubicBezTo>
                  <a:cubicBezTo>
                    <a:pt x="140" y="63"/>
                    <a:pt x="139" y="70"/>
                    <a:pt x="137" y="76"/>
                  </a:cubicBezTo>
                  <a:cubicBezTo>
                    <a:pt x="134" y="82"/>
                    <a:pt x="131" y="87"/>
                    <a:pt x="127" y="92"/>
                  </a:cubicBezTo>
                  <a:cubicBezTo>
                    <a:pt x="122" y="97"/>
                    <a:pt x="118" y="101"/>
                    <a:pt x="112" y="106"/>
                  </a:cubicBezTo>
                  <a:cubicBezTo>
                    <a:pt x="107" y="110"/>
                    <a:pt x="102" y="113"/>
                    <a:pt x="96" y="117"/>
                  </a:cubicBezTo>
                  <a:cubicBezTo>
                    <a:pt x="91" y="121"/>
                    <a:pt x="85" y="124"/>
                    <a:pt x="80" y="127"/>
                  </a:cubicBezTo>
                  <a:cubicBezTo>
                    <a:pt x="74" y="131"/>
                    <a:pt x="69" y="134"/>
                    <a:pt x="65" y="137"/>
                  </a:cubicBezTo>
                  <a:cubicBezTo>
                    <a:pt x="60" y="140"/>
                    <a:pt x="56" y="144"/>
                    <a:pt x="53" y="147"/>
                  </a:cubicBezTo>
                  <a:cubicBezTo>
                    <a:pt x="50" y="150"/>
                    <a:pt x="48" y="153"/>
                    <a:pt x="47" y="156"/>
                  </a:cubicBezTo>
                  <a:cubicBezTo>
                    <a:pt x="136" y="156"/>
                    <a:pt x="136" y="156"/>
                    <a:pt x="136" y="156"/>
                  </a:cubicBezTo>
                  <a:cubicBezTo>
                    <a:pt x="136" y="189"/>
                    <a:pt x="136" y="189"/>
                    <a:pt x="136" y="189"/>
                  </a:cubicBezTo>
                  <a:lnTo>
                    <a:pt x="0" y="18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5" name="Freeform 97"/>
            <p:cNvSpPr>
              <a:spLocks noEditPoints="1"/>
            </p:cNvSpPr>
            <p:nvPr/>
          </p:nvSpPr>
          <p:spPr bwMode="auto">
            <a:xfrm>
              <a:off x="10742613" y="660400"/>
              <a:ext cx="539750" cy="720725"/>
            </a:xfrm>
            <a:custGeom>
              <a:avLst/>
              <a:gdLst>
                <a:gd name="T0" fmla="*/ 100 w 144"/>
                <a:gd name="T1" fmla="*/ 6 h 192"/>
                <a:gd name="T2" fmla="*/ 135 w 144"/>
                <a:gd name="T3" fmla="*/ 33 h 192"/>
                <a:gd name="T4" fmla="*/ 137 w 144"/>
                <a:gd name="T5" fmla="*/ 77 h 192"/>
                <a:gd name="T6" fmla="*/ 113 w 144"/>
                <a:gd name="T7" fmla="*/ 106 h 192"/>
                <a:gd name="T8" fmla="*/ 81 w 144"/>
                <a:gd name="T9" fmla="*/ 128 h 192"/>
                <a:gd name="T10" fmla="*/ 54 w 144"/>
                <a:gd name="T11" fmla="*/ 148 h 192"/>
                <a:gd name="T12" fmla="*/ 136 w 144"/>
                <a:gd name="T13" fmla="*/ 160 h 192"/>
                <a:gd name="T14" fmla="*/ 3 w 144"/>
                <a:gd name="T15" fmla="*/ 189 h 192"/>
                <a:gd name="T16" fmla="*/ 46 w 144"/>
                <a:gd name="T17" fmla="*/ 117 h 192"/>
                <a:gd name="T18" fmla="*/ 84 w 144"/>
                <a:gd name="T19" fmla="*/ 92 h 192"/>
                <a:gd name="T20" fmla="*/ 104 w 144"/>
                <a:gd name="T21" fmla="*/ 59 h 192"/>
                <a:gd name="T22" fmla="*/ 73 w 144"/>
                <a:gd name="T23" fmla="*/ 33 h 192"/>
                <a:gd name="T24" fmla="*/ 49 w 144"/>
                <a:gd name="T25" fmla="*/ 45 h 192"/>
                <a:gd name="T26" fmla="*/ 42 w 144"/>
                <a:gd name="T27" fmla="*/ 72 h 192"/>
                <a:gd name="T28" fmla="*/ 24 w 144"/>
                <a:gd name="T29" fmla="*/ 21 h 192"/>
                <a:gd name="T30" fmla="*/ 75 w 144"/>
                <a:gd name="T31" fmla="*/ 0 h 192"/>
                <a:gd name="T32" fmla="*/ 3 w 144"/>
                <a:gd name="T33" fmla="*/ 72 h 192"/>
                <a:gd name="T34" fmla="*/ 6 w 144"/>
                <a:gd name="T35" fmla="*/ 75 h 192"/>
                <a:gd name="T36" fmla="*/ 45 w 144"/>
                <a:gd name="T37" fmla="*/ 75 h 192"/>
                <a:gd name="T38" fmla="*/ 47 w 144"/>
                <a:gd name="T39" fmla="*/ 58 h 192"/>
                <a:gd name="T40" fmla="*/ 60 w 144"/>
                <a:gd name="T41" fmla="*/ 39 h 192"/>
                <a:gd name="T42" fmla="*/ 93 w 144"/>
                <a:gd name="T43" fmla="*/ 41 h 192"/>
                <a:gd name="T44" fmla="*/ 96 w 144"/>
                <a:gd name="T45" fmla="*/ 75 h 192"/>
                <a:gd name="T46" fmla="*/ 64 w 144"/>
                <a:gd name="T47" fmla="*/ 102 h 192"/>
                <a:gd name="T48" fmla="*/ 12 w 144"/>
                <a:gd name="T49" fmla="*/ 145 h 192"/>
                <a:gd name="T50" fmla="*/ 0 w 144"/>
                <a:gd name="T51" fmla="*/ 192 h 192"/>
                <a:gd name="T52" fmla="*/ 136 w 144"/>
                <a:gd name="T53" fmla="*/ 192 h 192"/>
                <a:gd name="T54" fmla="*/ 139 w 144"/>
                <a:gd name="T55" fmla="*/ 189 h 192"/>
                <a:gd name="T56" fmla="*/ 139 w 144"/>
                <a:gd name="T57" fmla="*/ 157 h 192"/>
                <a:gd name="T58" fmla="*/ 51 w 144"/>
                <a:gd name="T59" fmla="*/ 157 h 192"/>
                <a:gd name="T60" fmla="*/ 67 w 144"/>
                <a:gd name="T61" fmla="*/ 140 h 192"/>
                <a:gd name="T62" fmla="*/ 99 w 144"/>
                <a:gd name="T63" fmla="*/ 120 h 192"/>
                <a:gd name="T64" fmla="*/ 130 w 144"/>
                <a:gd name="T65" fmla="*/ 95 h 192"/>
                <a:gd name="T66" fmla="*/ 144 w 144"/>
                <a:gd name="T67" fmla="*/ 58 h 192"/>
                <a:gd name="T68" fmla="*/ 123 w 144"/>
                <a:gd name="T69" fmla="*/ 14 h 192"/>
                <a:gd name="T70" fmla="*/ 75 w 144"/>
                <a:gd name="T7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192">
                  <a:moveTo>
                    <a:pt x="75" y="3"/>
                  </a:moveTo>
                  <a:cubicBezTo>
                    <a:pt x="84" y="3"/>
                    <a:pt x="92" y="4"/>
                    <a:pt x="100" y="6"/>
                  </a:cubicBezTo>
                  <a:cubicBezTo>
                    <a:pt x="108" y="8"/>
                    <a:pt x="115" y="12"/>
                    <a:pt x="121" y="16"/>
                  </a:cubicBezTo>
                  <a:cubicBezTo>
                    <a:pt x="127" y="20"/>
                    <a:pt x="132" y="26"/>
                    <a:pt x="135" y="33"/>
                  </a:cubicBezTo>
                  <a:cubicBezTo>
                    <a:pt x="139" y="40"/>
                    <a:pt x="141" y="48"/>
                    <a:pt x="141" y="58"/>
                  </a:cubicBezTo>
                  <a:cubicBezTo>
                    <a:pt x="141" y="65"/>
                    <a:pt x="140" y="71"/>
                    <a:pt x="137" y="77"/>
                  </a:cubicBezTo>
                  <a:cubicBezTo>
                    <a:pt x="135" y="83"/>
                    <a:pt x="131" y="88"/>
                    <a:pt x="127" y="93"/>
                  </a:cubicBezTo>
                  <a:cubicBezTo>
                    <a:pt x="123" y="98"/>
                    <a:pt x="119" y="102"/>
                    <a:pt x="113" y="106"/>
                  </a:cubicBezTo>
                  <a:cubicBezTo>
                    <a:pt x="108" y="110"/>
                    <a:pt x="103" y="114"/>
                    <a:pt x="98" y="118"/>
                  </a:cubicBezTo>
                  <a:cubicBezTo>
                    <a:pt x="92" y="121"/>
                    <a:pt x="86" y="125"/>
                    <a:pt x="81" y="128"/>
                  </a:cubicBezTo>
                  <a:cubicBezTo>
                    <a:pt x="75" y="131"/>
                    <a:pt x="70" y="134"/>
                    <a:pt x="66" y="138"/>
                  </a:cubicBezTo>
                  <a:cubicBezTo>
                    <a:pt x="61" y="141"/>
                    <a:pt x="57" y="145"/>
                    <a:pt x="54" y="148"/>
                  </a:cubicBezTo>
                  <a:cubicBezTo>
                    <a:pt x="50" y="152"/>
                    <a:pt x="48" y="156"/>
                    <a:pt x="46" y="160"/>
                  </a:cubicBezTo>
                  <a:cubicBezTo>
                    <a:pt x="136" y="160"/>
                    <a:pt x="136" y="160"/>
                    <a:pt x="136" y="160"/>
                  </a:cubicBezTo>
                  <a:cubicBezTo>
                    <a:pt x="136" y="189"/>
                    <a:pt x="136" y="189"/>
                    <a:pt x="136" y="189"/>
                  </a:cubicBezTo>
                  <a:cubicBezTo>
                    <a:pt x="3" y="189"/>
                    <a:pt x="3" y="189"/>
                    <a:pt x="3" y="189"/>
                  </a:cubicBezTo>
                  <a:cubicBezTo>
                    <a:pt x="4" y="172"/>
                    <a:pt x="8" y="158"/>
                    <a:pt x="15" y="147"/>
                  </a:cubicBezTo>
                  <a:cubicBezTo>
                    <a:pt x="22" y="135"/>
                    <a:pt x="33" y="125"/>
                    <a:pt x="46" y="117"/>
                  </a:cubicBezTo>
                  <a:cubicBezTo>
                    <a:pt x="52" y="113"/>
                    <a:pt x="58" y="109"/>
                    <a:pt x="65" y="105"/>
                  </a:cubicBezTo>
                  <a:cubicBezTo>
                    <a:pt x="72" y="101"/>
                    <a:pt x="78" y="96"/>
                    <a:pt x="84" y="92"/>
                  </a:cubicBezTo>
                  <a:cubicBezTo>
                    <a:pt x="90" y="87"/>
                    <a:pt x="94" y="82"/>
                    <a:pt x="98" y="77"/>
                  </a:cubicBezTo>
                  <a:cubicBezTo>
                    <a:pt x="102" y="72"/>
                    <a:pt x="104" y="66"/>
                    <a:pt x="104" y="59"/>
                  </a:cubicBezTo>
                  <a:cubicBezTo>
                    <a:pt x="104" y="50"/>
                    <a:pt x="101" y="43"/>
                    <a:pt x="95" y="39"/>
                  </a:cubicBezTo>
                  <a:cubicBezTo>
                    <a:pt x="88" y="35"/>
                    <a:pt x="81" y="33"/>
                    <a:pt x="73" y="33"/>
                  </a:cubicBezTo>
                  <a:cubicBezTo>
                    <a:pt x="67" y="33"/>
                    <a:pt x="63" y="34"/>
                    <a:pt x="59" y="36"/>
                  </a:cubicBezTo>
                  <a:cubicBezTo>
                    <a:pt x="55" y="38"/>
                    <a:pt x="52" y="41"/>
                    <a:pt x="49" y="45"/>
                  </a:cubicBezTo>
                  <a:cubicBezTo>
                    <a:pt x="47" y="49"/>
                    <a:pt x="46" y="53"/>
                    <a:pt x="44" y="57"/>
                  </a:cubicBezTo>
                  <a:cubicBezTo>
                    <a:pt x="43" y="62"/>
                    <a:pt x="43" y="67"/>
                    <a:pt x="42" y="72"/>
                  </a:cubicBezTo>
                  <a:cubicBezTo>
                    <a:pt x="6" y="72"/>
                    <a:pt x="6" y="72"/>
                    <a:pt x="6" y="72"/>
                  </a:cubicBezTo>
                  <a:cubicBezTo>
                    <a:pt x="6" y="51"/>
                    <a:pt x="12" y="34"/>
                    <a:pt x="24" y="21"/>
                  </a:cubicBezTo>
                  <a:cubicBezTo>
                    <a:pt x="36" y="9"/>
                    <a:pt x="53" y="3"/>
                    <a:pt x="75" y="3"/>
                  </a:cubicBezTo>
                  <a:moveTo>
                    <a:pt x="75" y="0"/>
                  </a:moveTo>
                  <a:cubicBezTo>
                    <a:pt x="53" y="0"/>
                    <a:pt x="35" y="7"/>
                    <a:pt x="22" y="19"/>
                  </a:cubicBezTo>
                  <a:cubicBezTo>
                    <a:pt x="9" y="32"/>
                    <a:pt x="3" y="50"/>
                    <a:pt x="3" y="72"/>
                  </a:cubicBezTo>
                  <a:cubicBezTo>
                    <a:pt x="3" y="75"/>
                    <a:pt x="3" y="75"/>
                    <a:pt x="3" y="75"/>
                  </a:cubicBezTo>
                  <a:cubicBezTo>
                    <a:pt x="6" y="75"/>
                    <a:pt x="6" y="75"/>
                    <a:pt x="6" y="75"/>
                  </a:cubicBezTo>
                  <a:cubicBezTo>
                    <a:pt x="42" y="75"/>
                    <a:pt x="42" y="75"/>
                    <a:pt x="42" y="75"/>
                  </a:cubicBezTo>
                  <a:cubicBezTo>
                    <a:pt x="45" y="75"/>
                    <a:pt x="45" y="75"/>
                    <a:pt x="45" y="75"/>
                  </a:cubicBezTo>
                  <a:cubicBezTo>
                    <a:pt x="45" y="72"/>
                    <a:pt x="45" y="72"/>
                    <a:pt x="45" y="72"/>
                  </a:cubicBezTo>
                  <a:cubicBezTo>
                    <a:pt x="46" y="67"/>
                    <a:pt x="46" y="63"/>
                    <a:pt x="47" y="58"/>
                  </a:cubicBezTo>
                  <a:cubicBezTo>
                    <a:pt x="48" y="54"/>
                    <a:pt x="50" y="50"/>
                    <a:pt x="52" y="46"/>
                  </a:cubicBezTo>
                  <a:cubicBezTo>
                    <a:pt x="54" y="43"/>
                    <a:pt x="57" y="41"/>
                    <a:pt x="60" y="39"/>
                  </a:cubicBezTo>
                  <a:cubicBezTo>
                    <a:pt x="64" y="37"/>
                    <a:pt x="68" y="36"/>
                    <a:pt x="73" y="36"/>
                  </a:cubicBezTo>
                  <a:cubicBezTo>
                    <a:pt x="81" y="36"/>
                    <a:pt x="87" y="38"/>
                    <a:pt x="93" y="41"/>
                  </a:cubicBezTo>
                  <a:cubicBezTo>
                    <a:pt x="98" y="45"/>
                    <a:pt x="101" y="51"/>
                    <a:pt x="101" y="59"/>
                  </a:cubicBezTo>
                  <a:cubicBezTo>
                    <a:pt x="101" y="65"/>
                    <a:pt x="99" y="70"/>
                    <a:pt x="96" y="75"/>
                  </a:cubicBezTo>
                  <a:cubicBezTo>
                    <a:pt x="92" y="80"/>
                    <a:pt x="88" y="85"/>
                    <a:pt x="82" y="89"/>
                  </a:cubicBezTo>
                  <a:cubicBezTo>
                    <a:pt x="77" y="94"/>
                    <a:pt x="71" y="98"/>
                    <a:pt x="64" y="102"/>
                  </a:cubicBezTo>
                  <a:cubicBezTo>
                    <a:pt x="57" y="106"/>
                    <a:pt x="51" y="110"/>
                    <a:pt x="44" y="115"/>
                  </a:cubicBezTo>
                  <a:cubicBezTo>
                    <a:pt x="31" y="123"/>
                    <a:pt x="20" y="133"/>
                    <a:pt x="12" y="145"/>
                  </a:cubicBezTo>
                  <a:cubicBezTo>
                    <a:pt x="5" y="157"/>
                    <a:pt x="1" y="172"/>
                    <a:pt x="0" y="189"/>
                  </a:cubicBezTo>
                  <a:cubicBezTo>
                    <a:pt x="0" y="192"/>
                    <a:pt x="0" y="192"/>
                    <a:pt x="0" y="192"/>
                  </a:cubicBezTo>
                  <a:cubicBezTo>
                    <a:pt x="3" y="192"/>
                    <a:pt x="3" y="192"/>
                    <a:pt x="3" y="192"/>
                  </a:cubicBezTo>
                  <a:cubicBezTo>
                    <a:pt x="136" y="192"/>
                    <a:pt x="136" y="192"/>
                    <a:pt x="136" y="192"/>
                  </a:cubicBezTo>
                  <a:cubicBezTo>
                    <a:pt x="139" y="192"/>
                    <a:pt x="139" y="192"/>
                    <a:pt x="139" y="192"/>
                  </a:cubicBezTo>
                  <a:cubicBezTo>
                    <a:pt x="139" y="189"/>
                    <a:pt x="139" y="189"/>
                    <a:pt x="139" y="189"/>
                  </a:cubicBezTo>
                  <a:cubicBezTo>
                    <a:pt x="139" y="160"/>
                    <a:pt x="139" y="160"/>
                    <a:pt x="139" y="160"/>
                  </a:cubicBezTo>
                  <a:cubicBezTo>
                    <a:pt x="139" y="157"/>
                    <a:pt x="139" y="157"/>
                    <a:pt x="139" y="157"/>
                  </a:cubicBezTo>
                  <a:cubicBezTo>
                    <a:pt x="136" y="157"/>
                    <a:pt x="136" y="157"/>
                    <a:pt x="136" y="157"/>
                  </a:cubicBezTo>
                  <a:cubicBezTo>
                    <a:pt x="51" y="157"/>
                    <a:pt x="51" y="157"/>
                    <a:pt x="51" y="157"/>
                  </a:cubicBezTo>
                  <a:cubicBezTo>
                    <a:pt x="52" y="155"/>
                    <a:pt x="54" y="152"/>
                    <a:pt x="56" y="150"/>
                  </a:cubicBezTo>
                  <a:cubicBezTo>
                    <a:pt x="59" y="147"/>
                    <a:pt x="63" y="143"/>
                    <a:pt x="67" y="140"/>
                  </a:cubicBezTo>
                  <a:cubicBezTo>
                    <a:pt x="72" y="137"/>
                    <a:pt x="77" y="134"/>
                    <a:pt x="82" y="130"/>
                  </a:cubicBezTo>
                  <a:cubicBezTo>
                    <a:pt x="88" y="127"/>
                    <a:pt x="93" y="124"/>
                    <a:pt x="99" y="120"/>
                  </a:cubicBezTo>
                  <a:cubicBezTo>
                    <a:pt x="105" y="117"/>
                    <a:pt x="110" y="113"/>
                    <a:pt x="115" y="109"/>
                  </a:cubicBezTo>
                  <a:cubicBezTo>
                    <a:pt x="121" y="104"/>
                    <a:pt x="126" y="100"/>
                    <a:pt x="130" y="95"/>
                  </a:cubicBezTo>
                  <a:cubicBezTo>
                    <a:pt x="134" y="90"/>
                    <a:pt x="137" y="84"/>
                    <a:pt x="140" y="78"/>
                  </a:cubicBezTo>
                  <a:cubicBezTo>
                    <a:pt x="142" y="72"/>
                    <a:pt x="144" y="65"/>
                    <a:pt x="144" y="58"/>
                  </a:cubicBezTo>
                  <a:cubicBezTo>
                    <a:pt x="144" y="48"/>
                    <a:pt x="142" y="39"/>
                    <a:pt x="138" y="32"/>
                  </a:cubicBezTo>
                  <a:cubicBezTo>
                    <a:pt x="134" y="24"/>
                    <a:pt x="129" y="18"/>
                    <a:pt x="123" y="14"/>
                  </a:cubicBezTo>
                  <a:cubicBezTo>
                    <a:pt x="117" y="9"/>
                    <a:pt x="109" y="6"/>
                    <a:pt x="101" y="3"/>
                  </a:cubicBezTo>
                  <a:cubicBezTo>
                    <a:pt x="92" y="1"/>
                    <a:pt x="84" y="0"/>
                    <a:pt x="75" y="0"/>
                  </a:cubicBez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16" name="Freeform 98"/>
            <p:cNvSpPr>
              <a:spLocks/>
            </p:cNvSpPr>
            <p:nvPr/>
          </p:nvSpPr>
          <p:spPr bwMode="auto">
            <a:xfrm>
              <a:off x="11488738" y="465138"/>
              <a:ext cx="927100" cy="923925"/>
            </a:xfrm>
            <a:custGeom>
              <a:avLst/>
              <a:gdLst>
                <a:gd name="T0" fmla="*/ 156 w 584"/>
                <a:gd name="T1" fmla="*/ 582 h 582"/>
                <a:gd name="T2" fmla="*/ 156 w 584"/>
                <a:gd name="T3" fmla="*/ 470 h 582"/>
                <a:gd name="T4" fmla="*/ 357 w 584"/>
                <a:gd name="T5" fmla="*/ 470 h 582"/>
                <a:gd name="T6" fmla="*/ 392 w 584"/>
                <a:gd name="T7" fmla="*/ 506 h 582"/>
                <a:gd name="T8" fmla="*/ 414 w 584"/>
                <a:gd name="T9" fmla="*/ 506 h 582"/>
                <a:gd name="T10" fmla="*/ 414 w 584"/>
                <a:gd name="T11" fmla="*/ 482 h 582"/>
                <a:gd name="T12" fmla="*/ 364 w 584"/>
                <a:gd name="T13" fmla="*/ 433 h 582"/>
                <a:gd name="T14" fmla="*/ 345 w 584"/>
                <a:gd name="T15" fmla="*/ 433 h 582"/>
                <a:gd name="T16" fmla="*/ 0 w 584"/>
                <a:gd name="T17" fmla="*/ 85 h 582"/>
                <a:gd name="T18" fmla="*/ 85 w 584"/>
                <a:gd name="T19" fmla="*/ 0 h 582"/>
                <a:gd name="T20" fmla="*/ 432 w 584"/>
                <a:gd name="T21" fmla="*/ 345 h 582"/>
                <a:gd name="T22" fmla="*/ 432 w 584"/>
                <a:gd name="T23" fmla="*/ 362 h 582"/>
                <a:gd name="T24" fmla="*/ 482 w 584"/>
                <a:gd name="T25" fmla="*/ 414 h 582"/>
                <a:gd name="T26" fmla="*/ 506 w 584"/>
                <a:gd name="T27" fmla="*/ 414 h 582"/>
                <a:gd name="T28" fmla="*/ 506 w 584"/>
                <a:gd name="T29" fmla="*/ 390 h 582"/>
                <a:gd name="T30" fmla="*/ 470 w 584"/>
                <a:gd name="T31" fmla="*/ 357 h 582"/>
                <a:gd name="T32" fmla="*/ 470 w 584"/>
                <a:gd name="T33" fmla="*/ 156 h 582"/>
                <a:gd name="T34" fmla="*/ 584 w 584"/>
                <a:gd name="T35" fmla="*/ 156 h 582"/>
                <a:gd name="T36" fmla="*/ 584 w 584"/>
                <a:gd name="T37" fmla="*/ 582 h 582"/>
                <a:gd name="T38" fmla="*/ 156 w 584"/>
                <a:gd name="T39"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4" h="582">
                  <a:moveTo>
                    <a:pt x="156" y="582"/>
                  </a:moveTo>
                  <a:lnTo>
                    <a:pt x="156" y="470"/>
                  </a:lnTo>
                  <a:lnTo>
                    <a:pt x="357" y="470"/>
                  </a:lnTo>
                  <a:lnTo>
                    <a:pt x="392" y="506"/>
                  </a:lnTo>
                  <a:lnTo>
                    <a:pt x="414" y="506"/>
                  </a:lnTo>
                  <a:lnTo>
                    <a:pt x="414" y="482"/>
                  </a:lnTo>
                  <a:lnTo>
                    <a:pt x="364" y="433"/>
                  </a:lnTo>
                  <a:lnTo>
                    <a:pt x="345" y="433"/>
                  </a:lnTo>
                  <a:lnTo>
                    <a:pt x="0" y="85"/>
                  </a:lnTo>
                  <a:lnTo>
                    <a:pt x="85" y="0"/>
                  </a:lnTo>
                  <a:lnTo>
                    <a:pt x="432" y="345"/>
                  </a:lnTo>
                  <a:lnTo>
                    <a:pt x="432" y="362"/>
                  </a:lnTo>
                  <a:lnTo>
                    <a:pt x="482" y="414"/>
                  </a:lnTo>
                  <a:lnTo>
                    <a:pt x="506" y="414"/>
                  </a:lnTo>
                  <a:lnTo>
                    <a:pt x="506" y="390"/>
                  </a:lnTo>
                  <a:lnTo>
                    <a:pt x="470" y="357"/>
                  </a:lnTo>
                  <a:lnTo>
                    <a:pt x="470" y="156"/>
                  </a:lnTo>
                  <a:lnTo>
                    <a:pt x="584" y="156"/>
                  </a:lnTo>
                  <a:lnTo>
                    <a:pt x="584" y="582"/>
                  </a:lnTo>
                  <a:lnTo>
                    <a:pt x="156" y="582"/>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2" name="Freeform 99"/>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close/>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close/>
                </a:path>
              </a:pathLst>
            </a:custGeom>
            <a:grpFill/>
            <a:ln w="63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00"/>
            <p:cNvSpPr>
              <a:spLocks noEditPoints="1"/>
            </p:cNvSpPr>
            <p:nvPr/>
          </p:nvSpPr>
          <p:spPr bwMode="auto">
            <a:xfrm>
              <a:off x="11480801" y="454025"/>
              <a:ext cx="938213" cy="941388"/>
            </a:xfrm>
            <a:custGeom>
              <a:avLst/>
              <a:gdLst>
                <a:gd name="T0" fmla="*/ 90 w 591"/>
                <a:gd name="T1" fmla="*/ 12 h 593"/>
                <a:gd name="T2" fmla="*/ 433 w 591"/>
                <a:gd name="T3" fmla="*/ 352 h 593"/>
                <a:gd name="T4" fmla="*/ 433 w 591"/>
                <a:gd name="T5" fmla="*/ 369 h 593"/>
                <a:gd name="T6" fmla="*/ 433 w 591"/>
                <a:gd name="T7" fmla="*/ 371 h 593"/>
                <a:gd name="T8" fmla="*/ 435 w 591"/>
                <a:gd name="T9" fmla="*/ 374 h 593"/>
                <a:gd name="T10" fmla="*/ 485 w 591"/>
                <a:gd name="T11" fmla="*/ 423 h 593"/>
                <a:gd name="T12" fmla="*/ 487 w 591"/>
                <a:gd name="T13" fmla="*/ 423 h 593"/>
                <a:gd name="T14" fmla="*/ 489 w 591"/>
                <a:gd name="T15" fmla="*/ 423 h 593"/>
                <a:gd name="T16" fmla="*/ 508 w 591"/>
                <a:gd name="T17" fmla="*/ 423 h 593"/>
                <a:gd name="T18" fmla="*/ 515 w 591"/>
                <a:gd name="T19" fmla="*/ 423 h 593"/>
                <a:gd name="T20" fmla="*/ 515 w 591"/>
                <a:gd name="T21" fmla="*/ 416 h 593"/>
                <a:gd name="T22" fmla="*/ 515 w 591"/>
                <a:gd name="T23" fmla="*/ 400 h 593"/>
                <a:gd name="T24" fmla="*/ 515 w 591"/>
                <a:gd name="T25" fmla="*/ 397 h 593"/>
                <a:gd name="T26" fmla="*/ 513 w 591"/>
                <a:gd name="T27" fmla="*/ 395 h 593"/>
                <a:gd name="T28" fmla="*/ 480 w 591"/>
                <a:gd name="T29" fmla="*/ 362 h 593"/>
                <a:gd name="T30" fmla="*/ 480 w 591"/>
                <a:gd name="T31" fmla="*/ 168 h 593"/>
                <a:gd name="T32" fmla="*/ 584 w 591"/>
                <a:gd name="T33" fmla="*/ 168 h 593"/>
                <a:gd name="T34" fmla="*/ 584 w 591"/>
                <a:gd name="T35" fmla="*/ 586 h 593"/>
                <a:gd name="T36" fmla="*/ 166 w 591"/>
                <a:gd name="T37" fmla="*/ 586 h 593"/>
                <a:gd name="T38" fmla="*/ 166 w 591"/>
                <a:gd name="T39" fmla="*/ 482 h 593"/>
                <a:gd name="T40" fmla="*/ 360 w 591"/>
                <a:gd name="T41" fmla="*/ 482 h 593"/>
                <a:gd name="T42" fmla="*/ 393 w 591"/>
                <a:gd name="T43" fmla="*/ 513 h 593"/>
                <a:gd name="T44" fmla="*/ 395 w 591"/>
                <a:gd name="T45" fmla="*/ 515 h 593"/>
                <a:gd name="T46" fmla="*/ 397 w 591"/>
                <a:gd name="T47" fmla="*/ 515 h 593"/>
                <a:gd name="T48" fmla="*/ 416 w 591"/>
                <a:gd name="T49" fmla="*/ 515 h 593"/>
                <a:gd name="T50" fmla="*/ 423 w 591"/>
                <a:gd name="T51" fmla="*/ 515 h 593"/>
                <a:gd name="T52" fmla="*/ 423 w 591"/>
                <a:gd name="T53" fmla="*/ 508 h 593"/>
                <a:gd name="T54" fmla="*/ 423 w 591"/>
                <a:gd name="T55" fmla="*/ 492 h 593"/>
                <a:gd name="T56" fmla="*/ 423 w 591"/>
                <a:gd name="T57" fmla="*/ 487 h 593"/>
                <a:gd name="T58" fmla="*/ 421 w 591"/>
                <a:gd name="T59" fmla="*/ 487 h 593"/>
                <a:gd name="T60" fmla="*/ 371 w 591"/>
                <a:gd name="T61" fmla="*/ 437 h 593"/>
                <a:gd name="T62" fmla="*/ 369 w 591"/>
                <a:gd name="T63" fmla="*/ 435 h 593"/>
                <a:gd name="T64" fmla="*/ 367 w 591"/>
                <a:gd name="T65" fmla="*/ 435 h 593"/>
                <a:gd name="T66" fmla="*/ 352 w 591"/>
                <a:gd name="T67" fmla="*/ 435 h 593"/>
                <a:gd name="T68" fmla="*/ 10 w 591"/>
                <a:gd name="T69" fmla="*/ 92 h 593"/>
                <a:gd name="T70" fmla="*/ 90 w 591"/>
                <a:gd name="T71" fmla="*/ 12 h 593"/>
                <a:gd name="T72" fmla="*/ 90 w 591"/>
                <a:gd name="T73" fmla="*/ 0 h 593"/>
                <a:gd name="T74" fmla="*/ 0 w 591"/>
                <a:gd name="T75" fmla="*/ 92 h 593"/>
                <a:gd name="T76" fmla="*/ 348 w 591"/>
                <a:gd name="T77" fmla="*/ 442 h 593"/>
                <a:gd name="T78" fmla="*/ 367 w 591"/>
                <a:gd name="T79" fmla="*/ 442 h 593"/>
                <a:gd name="T80" fmla="*/ 416 w 591"/>
                <a:gd name="T81" fmla="*/ 492 h 593"/>
                <a:gd name="T82" fmla="*/ 416 w 591"/>
                <a:gd name="T83" fmla="*/ 508 h 593"/>
                <a:gd name="T84" fmla="*/ 397 w 591"/>
                <a:gd name="T85" fmla="*/ 508 h 593"/>
                <a:gd name="T86" fmla="*/ 362 w 591"/>
                <a:gd name="T87" fmla="*/ 475 h 593"/>
                <a:gd name="T88" fmla="*/ 159 w 591"/>
                <a:gd name="T89" fmla="*/ 475 h 593"/>
                <a:gd name="T90" fmla="*/ 159 w 591"/>
                <a:gd name="T91" fmla="*/ 593 h 593"/>
                <a:gd name="T92" fmla="*/ 591 w 591"/>
                <a:gd name="T93" fmla="*/ 593 h 593"/>
                <a:gd name="T94" fmla="*/ 591 w 591"/>
                <a:gd name="T95" fmla="*/ 161 h 593"/>
                <a:gd name="T96" fmla="*/ 473 w 591"/>
                <a:gd name="T97" fmla="*/ 161 h 593"/>
                <a:gd name="T98" fmla="*/ 473 w 591"/>
                <a:gd name="T99" fmla="*/ 364 h 593"/>
                <a:gd name="T100" fmla="*/ 508 w 591"/>
                <a:gd name="T101" fmla="*/ 400 h 593"/>
                <a:gd name="T102" fmla="*/ 508 w 591"/>
                <a:gd name="T103" fmla="*/ 416 h 593"/>
                <a:gd name="T104" fmla="*/ 489 w 591"/>
                <a:gd name="T105" fmla="*/ 416 h 593"/>
                <a:gd name="T106" fmla="*/ 440 w 591"/>
                <a:gd name="T107" fmla="*/ 369 h 593"/>
                <a:gd name="T108" fmla="*/ 440 w 591"/>
                <a:gd name="T109" fmla="*/ 350 h 593"/>
                <a:gd name="T110" fmla="*/ 90 w 591"/>
                <a:gd name="T111" fmla="*/ 0 h 593"/>
                <a:gd name="T112" fmla="*/ 90 w 591"/>
                <a:gd name="T113"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593">
                  <a:moveTo>
                    <a:pt x="90" y="12"/>
                  </a:moveTo>
                  <a:lnTo>
                    <a:pt x="433" y="352"/>
                  </a:lnTo>
                  <a:lnTo>
                    <a:pt x="433" y="369"/>
                  </a:lnTo>
                  <a:lnTo>
                    <a:pt x="433" y="371"/>
                  </a:lnTo>
                  <a:lnTo>
                    <a:pt x="435" y="374"/>
                  </a:lnTo>
                  <a:lnTo>
                    <a:pt x="485" y="423"/>
                  </a:lnTo>
                  <a:lnTo>
                    <a:pt x="487" y="423"/>
                  </a:lnTo>
                  <a:lnTo>
                    <a:pt x="489" y="423"/>
                  </a:lnTo>
                  <a:lnTo>
                    <a:pt x="508" y="423"/>
                  </a:lnTo>
                  <a:lnTo>
                    <a:pt x="515" y="423"/>
                  </a:lnTo>
                  <a:lnTo>
                    <a:pt x="515" y="416"/>
                  </a:lnTo>
                  <a:lnTo>
                    <a:pt x="515" y="400"/>
                  </a:lnTo>
                  <a:lnTo>
                    <a:pt x="515" y="397"/>
                  </a:lnTo>
                  <a:lnTo>
                    <a:pt x="513" y="395"/>
                  </a:lnTo>
                  <a:lnTo>
                    <a:pt x="480" y="362"/>
                  </a:lnTo>
                  <a:lnTo>
                    <a:pt x="480" y="168"/>
                  </a:lnTo>
                  <a:lnTo>
                    <a:pt x="584" y="168"/>
                  </a:lnTo>
                  <a:lnTo>
                    <a:pt x="584" y="586"/>
                  </a:lnTo>
                  <a:lnTo>
                    <a:pt x="166" y="586"/>
                  </a:lnTo>
                  <a:lnTo>
                    <a:pt x="166" y="482"/>
                  </a:lnTo>
                  <a:lnTo>
                    <a:pt x="360" y="482"/>
                  </a:lnTo>
                  <a:lnTo>
                    <a:pt x="393" y="513"/>
                  </a:lnTo>
                  <a:lnTo>
                    <a:pt x="395" y="515"/>
                  </a:lnTo>
                  <a:lnTo>
                    <a:pt x="397" y="515"/>
                  </a:lnTo>
                  <a:lnTo>
                    <a:pt x="416" y="515"/>
                  </a:lnTo>
                  <a:lnTo>
                    <a:pt x="423" y="515"/>
                  </a:lnTo>
                  <a:lnTo>
                    <a:pt x="423" y="508"/>
                  </a:lnTo>
                  <a:lnTo>
                    <a:pt x="423" y="492"/>
                  </a:lnTo>
                  <a:lnTo>
                    <a:pt x="423" y="487"/>
                  </a:lnTo>
                  <a:lnTo>
                    <a:pt x="421" y="487"/>
                  </a:lnTo>
                  <a:lnTo>
                    <a:pt x="371" y="437"/>
                  </a:lnTo>
                  <a:lnTo>
                    <a:pt x="369" y="435"/>
                  </a:lnTo>
                  <a:lnTo>
                    <a:pt x="367" y="435"/>
                  </a:lnTo>
                  <a:lnTo>
                    <a:pt x="352" y="435"/>
                  </a:lnTo>
                  <a:lnTo>
                    <a:pt x="10" y="92"/>
                  </a:lnTo>
                  <a:lnTo>
                    <a:pt x="90" y="12"/>
                  </a:lnTo>
                  <a:moveTo>
                    <a:pt x="90" y="0"/>
                  </a:moveTo>
                  <a:lnTo>
                    <a:pt x="0" y="92"/>
                  </a:lnTo>
                  <a:lnTo>
                    <a:pt x="348" y="442"/>
                  </a:lnTo>
                  <a:lnTo>
                    <a:pt x="367" y="442"/>
                  </a:lnTo>
                  <a:lnTo>
                    <a:pt x="416" y="492"/>
                  </a:lnTo>
                  <a:lnTo>
                    <a:pt x="416" y="508"/>
                  </a:lnTo>
                  <a:lnTo>
                    <a:pt x="397" y="508"/>
                  </a:lnTo>
                  <a:lnTo>
                    <a:pt x="362" y="475"/>
                  </a:lnTo>
                  <a:lnTo>
                    <a:pt x="159" y="475"/>
                  </a:lnTo>
                  <a:lnTo>
                    <a:pt x="159" y="593"/>
                  </a:lnTo>
                  <a:lnTo>
                    <a:pt x="591" y="593"/>
                  </a:lnTo>
                  <a:lnTo>
                    <a:pt x="591" y="161"/>
                  </a:lnTo>
                  <a:lnTo>
                    <a:pt x="473" y="161"/>
                  </a:lnTo>
                  <a:lnTo>
                    <a:pt x="473" y="364"/>
                  </a:lnTo>
                  <a:lnTo>
                    <a:pt x="508" y="400"/>
                  </a:lnTo>
                  <a:lnTo>
                    <a:pt x="508" y="416"/>
                  </a:lnTo>
                  <a:lnTo>
                    <a:pt x="489" y="416"/>
                  </a:lnTo>
                  <a:lnTo>
                    <a:pt x="440" y="369"/>
                  </a:lnTo>
                  <a:lnTo>
                    <a:pt x="440" y="350"/>
                  </a:lnTo>
                  <a:lnTo>
                    <a:pt x="90" y="0"/>
                  </a:lnTo>
                  <a:lnTo>
                    <a:pt x="90" y="0"/>
                  </a:lnTo>
                </a:path>
              </a:pathLst>
            </a:custGeom>
            <a:grpFill/>
            <a:ln w="6350">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1173" name="Group 1172"/>
          <p:cNvGrpSpPr/>
          <p:nvPr/>
        </p:nvGrpSpPr>
        <p:grpSpPr>
          <a:xfrm>
            <a:off x="3309006" y="4581128"/>
            <a:ext cx="399130" cy="400844"/>
            <a:chOff x="3838575" y="-1492251"/>
            <a:chExt cx="1109663" cy="1114425"/>
          </a:xfrm>
          <a:noFill/>
        </p:grpSpPr>
        <p:sp>
          <p:nvSpPr>
            <p:cNvPr id="1166" name="Oval 107"/>
            <p:cNvSpPr>
              <a:spLocks noChangeArrowheads="1"/>
            </p:cNvSpPr>
            <p:nvPr/>
          </p:nvSpPr>
          <p:spPr bwMode="auto">
            <a:xfrm>
              <a:off x="3838575" y="-1492251"/>
              <a:ext cx="1109663" cy="1114425"/>
            </a:xfrm>
            <a:prstGeom prst="ellips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7" name="Freeform 108"/>
            <p:cNvSpPr>
              <a:spLocks/>
            </p:cNvSpPr>
            <p:nvPr/>
          </p:nvSpPr>
          <p:spPr bwMode="auto">
            <a:xfrm>
              <a:off x="4217987" y="-1376363"/>
              <a:ext cx="352425" cy="874713"/>
            </a:xfrm>
            <a:custGeom>
              <a:avLst/>
              <a:gdLst>
                <a:gd name="T0" fmla="*/ 47 w 94"/>
                <a:gd name="T1" fmla="*/ 233 h 233"/>
                <a:gd name="T2" fmla="*/ 0 w 94"/>
                <a:gd name="T3" fmla="*/ 186 h 233"/>
                <a:gd name="T4" fmla="*/ 27 w 94"/>
                <a:gd name="T5" fmla="*/ 143 h 233"/>
                <a:gd name="T6" fmla="*/ 27 w 94"/>
                <a:gd name="T7" fmla="*/ 11 h 233"/>
                <a:gd name="T8" fmla="*/ 39 w 94"/>
                <a:gd name="T9" fmla="*/ 0 h 233"/>
                <a:gd name="T10" fmla="*/ 55 w 94"/>
                <a:gd name="T11" fmla="*/ 0 h 233"/>
                <a:gd name="T12" fmla="*/ 66 w 94"/>
                <a:gd name="T13" fmla="*/ 11 h 233"/>
                <a:gd name="T14" fmla="*/ 66 w 94"/>
                <a:gd name="T15" fmla="*/ 143 h 233"/>
                <a:gd name="T16" fmla="*/ 94 w 94"/>
                <a:gd name="T17" fmla="*/ 186 h 233"/>
                <a:gd name="T18" fmla="*/ 47 w 94"/>
                <a:gd name="T1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233">
                  <a:moveTo>
                    <a:pt x="47" y="233"/>
                  </a:moveTo>
                  <a:cubicBezTo>
                    <a:pt x="21" y="233"/>
                    <a:pt x="0" y="212"/>
                    <a:pt x="0" y="186"/>
                  </a:cubicBezTo>
                  <a:cubicBezTo>
                    <a:pt x="0" y="168"/>
                    <a:pt x="11" y="151"/>
                    <a:pt x="27" y="143"/>
                  </a:cubicBezTo>
                  <a:cubicBezTo>
                    <a:pt x="27" y="11"/>
                    <a:pt x="27" y="11"/>
                    <a:pt x="27" y="11"/>
                  </a:cubicBezTo>
                  <a:cubicBezTo>
                    <a:pt x="39" y="0"/>
                    <a:pt x="39" y="0"/>
                    <a:pt x="39" y="0"/>
                  </a:cubicBezTo>
                  <a:cubicBezTo>
                    <a:pt x="55" y="0"/>
                    <a:pt x="55" y="0"/>
                    <a:pt x="55" y="0"/>
                  </a:cubicBezTo>
                  <a:cubicBezTo>
                    <a:pt x="66" y="11"/>
                    <a:pt x="66" y="11"/>
                    <a:pt x="66" y="11"/>
                  </a:cubicBezTo>
                  <a:cubicBezTo>
                    <a:pt x="66" y="143"/>
                    <a:pt x="66" y="143"/>
                    <a:pt x="66" y="143"/>
                  </a:cubicBezTo>
                  <a:cubicBezTo>
                    <a:pt x="83" y="151"/>
                    <a:pt x="94" y="167"/>
                    <a:pt x="94" y="186"/>
                  </a:cubicBezTo>
                  <a:cubicBezTo>
                    <a:pt x="94" y="212"/>
                    <a:pt x="73" y="233"/>
                    <a:pt x="47" y="233"/>
                  </a:cubicBezTo>
                  <a:close/>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1168" name="Freeform 109"/>
            <p:cNvSpPr>
              <a:spLocks/>
            </p:cNvSpPr>
            <p:nvPr/>
          </p:nvSpPr>
          <p:spPr bwMode="auto">
            <a:xfrm>
              <a:off x="4273549" y="-1112838"/>
              <a:ext cx="239712" cy="554038"/>
            </a:xfrm>
            <a:custGeom>
              <a:avLst/>
              <a:gdLst>
                <a:gd name="T0" fmla="*/ 32 w 64"/>
                <a:gd name="T1" fmla="*/ 148 h 148"/>
                <a:gd name="T2" fmla="*/ 0 w 64"/>
                <a:gd name="T3" fmla="*/ 116 h 148"/>
                <a:gd name="T4" fmla="*/ 20 w 64"/>
                <a:gd name="T5" fmla="*/ 86 h 148"/>
                <a:gd name="T6" fmla="*/ 28 w 64"/>
                <a:gd name="T7" fmla="*/ 84 h 148"/>
                <a:gd name="T8" fmla="*/ 28 w 64"/>
                <a:gd name="T9" fmla="*/ 2 h 148"/>
                <a:gd name="T10" fmla="*/ 30 w 64"/>
                <a:gd name="T11" fmla="*/ 0 h 148"/>
                <a:gd name="T12" fmla="*/ 34 w 64"/>
                <a:gd name="T13" fmla="*/ 0 h 148"/>
                <a:gd name="T14" fmla="*/ 36 w 64"/>
                <a:gd name="T15" fmla="*/ 2 h 148"/>
                <a:gd name="T16" fmla="*/ 36 w 64"/>
                <a:gd name="T17" fmla="*/ 84 h 148"/>
                <a:gd name="T18" fmla="*/ 43 w 64"/>
                <a:gd name="T19" fmla="*/ 86 h 148"/>
                <a:gd name="T20" fmla="*/ 64 w 64"/>
                <a:gd name="T21" fmla="*/ 116 h 148"/>
                <a:gd name="T22" fmla="*/ 32 w 64"/>
                <a:gd name="T23"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48">
                  <a:moveTo>
                    <a:pt x="32" y="148"/>
                  </a:moveTo>
                  <a:cubicBezTo>
                    <a:pt x="14" y="148"/>
                    <a:pt x="0" y="134"/>
                    <a:pt x="0" y="116"/>
                  </a:cubicBezTo>
                  <a:cubicBezTo>
                    <a:pt x="0" y="103"/>
                    <a:pt x="8" y="91"/>
                    <a:pt x="20" y="86"/>
                  </a:cubicBezTo>
                  <a:cubicBezTo>
                    <a:pt x="28" y="84"/>
                    <a:pt x="28" y="84"/>
                    <a:pt x="28" y="84"/>
                  </a:cubicBezTo>
                  <a:cubicBezTo>
                    <a:pt x="28" y="2"/>
                    <a:pt x="28" y="2"/>
                    <a:pt x="28" y="2"/>
                  </a:cubicBezTo>
                  <a:cubicBezTo>
                    <a:pt x="30" y="0"/>
                    <a:pt x="30" y="0"/>
                    <a:pt x="30" y="0"/>
                  </a:cubicBezTo>
                  <a:cubicBezTo>
                    <a:pt x="34" y="0"/>
                    <a:pt x="34" y="0"/>
                    <a:pt x="34" y="0"/>
                  </a:cubicBezTo>
                  <a:cubicBezTo>
                    <a:pt x="36" y="2"/>
                    <a:pt x="36" y="2"/>
                    <a:pt x="36" y="2"/>
                  </a:cubicBezTo>
                  <a:cubicBezTo>
                    <a:pt x="36" y="84"/>
                    <a:pt x="36" y="84"/>
                    <a:pt x="36" y="84"/>
                  </a:cubicBezTo>
                  <a:cubicBezTo>
                    <a:pt x="43" y="86"/>
                    <a:pt x="43" y="86"/>
                    <a:pt x="43" y="86"/>
                  </a:cubicBezTo>
                  <a:cubicBezTo>
                    <a:pt x="56" y="91"/>
                    <a:pt x="64" y="103"/>
                    <a:pt x="64" y="116"/>
                  </a:cubicBezTo>
                  <a:cubicBezTo>
                    <a:pt x="64" y="134"/>
                    <a:pt x="49" y="148"/>
                    <a:pt x="32" y="14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4" name="Group 1173"/>
          <p:cNvGrpSpPr/>
          <p:nvPr/>
        </p:nvGrpSpPr>
        <p:grpSpPr>
          <a:xfrm>
            <a:off x="3837228" y="4581128"/>
            <a:ext cx="399131" cy="400844"/>
            <a:chOff x="6310314" y="-1492251"/>
            <a:chExt cx="1109663" cy="1114425"/>
          </a:xfrm>
        </p:grpSpPr>
        <p:sp>
          <p:nvSpPr>
            <p:cNvPr id="1169" name="Oval 110"/>
            <p:cNvSpPr>
              <a:spLocks noChangeArrowheads="1"/>
            </p:cNvSpPr>
            <p:nvPr/>
          </p:nvSpPr>
          <p:spPr bwMode="auto">
            <a:xfrm>
              <a:off x="6310314" y="-1492251"/>
              <a:ext cx="1109663" cy="1114425"/>
            </a:xfrm>
            <a:prstGeom prst="ellipse">
              <a:avLst/>
            </a:prstGeom>
            <a:noFill/>
            <a:ln w="127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111"/>
            <p:cNvSpPr>
              <a:spLocks/>
            </p:cNvSpPr>
            <p:nvPr/>
          </p:nvSpPr>
          <p:spPr bwMode="auto">
            <a:xfrm>
              <a:off x="6475411" y="-1323977"/>
              <a:ext cx="779462" cy="776289"/>
            </a:xfrm>
            <a:custGeom>
              <a:avLst/>
              <a:gdLst>
                <a:gd name="T0" fmla="*/ 453 w 491"/>
                <a:gd name="T1" fmla="*/ 194 h 489"/>
                <a:gd name="T2" fmla="*/ 437 w 491"/>
                <a:gd name="T3" fmla="*/ 178 h 489"/>
                <a:gd name="T4" fmla="*/ 356 w 491"/>
                <a:gd name="T5" fmla="*/ 156 h 489"/>
                <a:gd name="T6" fmla="*/ 434 w 491"/>
                <a:gd name="T7" fmla="*/ 140 h 489"/>
                <a:gd name="T8" fmla="*/ 422 w 491"/>
                <a:gd name="T9" fmla="*/ 90 h 489"/>
                <a:gd name="T10" fmla="*/ 399 w 491"/>
                <a:gd name="T11" fmla="*/ 66 h 489"/>
                <a:gd name="T12" fmla="*/ 351 w 491"/>
                <a:gd name="T13" fmla="*/ 55 h 489"/>
                <a:gd name="T14" fmla="*/ 333 w 491"/>
                <a:gd name="T15" fmla="*/ 133 h 489"/>
                <a:gd name="T16" fmla="*/ 311 w 491"/>
                <a:gd name="T17" fmla="*/ 52 h 489"/>
                <a:gd name="T18" fmla="*/ 295 w 491"/>
                <a:gd name="T19" fmla="*/ 36 h 489"/>
                <a:gd name="T20" fmla="*/ 252 w 491"/>
                <a:gd name="T21" fmla="*/ 0 h 489"/>
                <a:gd name="T22" fmla="*/ 229 w 491"/>
                <a:gd name="T23" fmla="*/ 69 h 489"/>
                <a:gd name="T24" fmla="*/ 177 w 491"/>
                <a:gd name="T25" fmla="*/ 43 h 489"/>
                <a:gd name="T26" fmla="*/ 229 w 491"/>
                <a:gd name="T27" fmla="*/ 204 h 489"/>
                <a:gd name="T28" fmla="*/ 151 w 491"/>
                <a:gd name="T29" fmla="*/ 55 h 489"/>
                <a:gd name="T30" fmla="*/ 132 w 491"/>
                <a:gd name="T31" fmla="*/ 109 h 489"/>
                <a:gd name="T32" fmla="*/ 66 w 491"/>
                <a:gd name="T33" fmla="*/ 76 h 489"/>
                <a:gd name="T34" fmla="*/ 63 w 491"/>
                <a:gd name="T35" fmla="*/ 133 h 489"/>
                <a:gd name="T36" fmla="*/ 63 w 491"/>
                <a:gd name="T37" fmla="*/ 156 h 489"/>
                <a:gd name="T38" fmla="*/ 103 w 491"/>
                <a:gd name="T39" fmla="*/ 227 h 489"/>
                <a:gd name="T40" fmla="*/ 37 w 491"/>
                <a:gd name="T41" fmla="*/ 185 h 489"/>
                <a:gd name="T42" fmla="*/ 9 w 491"/>
                <a:gd name="T43" fmla="*/ 227 h 489"/>
                <a:gd name="T44" fmla="*/ 9 w 491"/>
                <a:gd name="T45" fmla="*/ 260 h 489"/>
                <a:gd name="T46" fmla="*/ 37 w 491"/>
                <a:gd name="T47" fmla="*/ 303 h 489"/>
                <a:gd name="T48" fmla="*/ 103 w 491"/>
                <a:gd name="T49" fmla="*/ 260 h 489"/>
                <a:gd name="T50" fmla="*/ 63 w 491"/>
                <a:gd name="T51" fmla="*/ 331 h 489"/>
                <a:gd name="T52" fmla="*/ 63 w 491"/>
                <a:gd name="T53" fmla="*/ 357 h 489"/>
                <a:gd name="T54" fmla="*/ 66 w 491"/>
                <a:gd name="T55" fmla="*/ 412 h 489"/>
                <a:gd name="T56" fmla="*/ 132 w 491"/>
                <a:gd name="T57" fmla="*/ 381 h 489"/>
                <a:gd name="T58" fmla="*/ 151 w 491"/>
                <a:gd name="T59" fmla="*/ 435 h 489"/>
                <a:gd name="T60" fmla="*/ 229 w 491"/>
                <a:gd name="T61" fmla="*/ 286 h 489"/>
                <a:gd name="T62" fmla="*/ 177 w 491"/>
                <a:gd name="T63" fmla="*/ 445 h 489"/>
                <a:gd name="T64" fmla="*/ 229 w 491"/>
                <a:gd name="T65" fmla="*/ 421 h 489"/>
                <a:gd name="T66" fmla="*/ 252 w 491"/>
                <a:gd name="T67" fmla="*/ 489 h 489"/>
                <a:gd name="T68" fmla="*/ 295 w 491"/>
                <a:gd name="T69" fmla="*/ 454 h 489"/>
                <a:gd name="T70" fmla="*/ 311 w 491"/>
                <a:gd name="T71" fmla="*/ 435 h 489"/>
                <a:gd name="T72" fmla="*/ 333 w 491"/>
                <a:gd name="T73" fmla="*/ 357 h 489"/>
                <a:gd name="T74" fmla="*/ 351 w 491"/>
                <a:gd name="T75" fmla="*/ 435 h 489"/>
                <a:gd name="T76" fmla="*/ 399 w 491"/>
                <a:gd name="T77" fmla="*/ 423 h 489"/>
                <a:gd name="T78" fmla="*/ 422 w 491"/>
                <a:gd name="T79" fmla="*/ 400 h 489"/>
                <a:gd name="T80" fmla="*/ 434 w 491"/>
                <a:gd name="T81" fmla="*/ 350 h 489"/>
                <a:gd name="T82" fmla="*/ 356 w 491"/>
                <a:gd name="T83" fmla="*/ 331 h 489"/>
                <a:gd name="T84" fmla="*/ 437 w 491"/>
                <a:gd name="T85" fmla="*/ 312 h 489"/>
                <a:gd name="T86" fmla="*/ 453 w 491"/>
                <a:gd name="T87" fmla="*/ 293 h 489"/>
                <a:gd name="T88" fmla="*/ 491 w 491"/>
                <a:gd name="T89" fmla="*/ 25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1" h="489">
                  <a:moveTo>
                    <a:pt x="479" y="227"/>
                  </a:moveTo>
                  <a:lnTo>
                    <a:pt x="420" y="227"/>
                  </a:lnTo>
                  <a:lnTo>
                    <a:pt x="453" y="194"/>
                  </a:lnTo>
                  <a:lnTo>
                    <a:pt x="453" y="185"/>
                  </a:lnTo>
                  <a:lnTo>
                    <a:pt x="446" y="178"/>
                  </a:lnTo>
                  <a:lnTo>
                    <a:pt x="437" y="178"/>
                  </a:lnTo>
                  <a:lnTo>
                    <a:pt x="387" y="227"/>
                  </a:lnTo>
                  <a:lnTo>
                    <a:pt x="285" y="227"/>
                  </a:lnTo>
                  <a:lnTo>
                    <a:pt x="356" y="156"/>
                  </a:lnTo>
                  <a:lnTo>
                    <a:pt x="427" y="156"/>
                  </a:lnTo>
                  <a:lnTo>
                    <a:pt x="434" y="149"/>
                  </a:lnTo>
                  <a:lnTo>
                    <a:pt x="434" y="140"/>
                  </a:lnTo>
                  <a:lnTo>
                    <a:pt x="427" y="133"/>
                  </a:lnTo>
                  <a:lnTo>
                    <a:pt x="382" y="133"/>
                  </a:lnTo>
                  <a:lnTo>
                    <a:pt x="422" y="90"/>
                  </a:lnTo>
                  <a:lnTo>
                    <a:pt x="422" y="76"/>
                  </a:lnTo>
                  <a:lnTo>
                    <a:pt x="413" y="66"/>
                  </a:lnTo>
                  <a:lnTo>
                    <a:pt x="399" y="66"/>
                  </a:lnTo>
                  <a:lnTo>
                    <a:pt x="359" y="109"/>
                  </a:lnTo>
                  <a:lnTo>
                    <a:pt x="359" y="62"/>
                  </a:lnTo>
                  <a:lnTo>
                    <a:pt x="351" y="55"/>
                  </a:lnTo>
                  <a:lnTo>
                    <a:pt x="340" y="55"/>
                  </a:lnTo>
                  <a:lnTo>
                    <a:pt x="333" y="62"/>
                  </a:lnTo>
                  <a:lnTo>
                    <a:pt x="333" y="133"/>
                  </a:lnTo>
                  <a:lnTo>
                    <a:pt x="262" y="204"/>
                  </a:lnTo>
                  <a:lnTo>
                    <a:pt x="262" y="104"/>
                  </a:lnTo>
                  <a:lnTo>
                    <a:pt x="311" y="52"/>
                  </a:lnTo>
                  <a:lnTo>
                    <a:pt x="311" y="43"/>
                  </a:lnTo>
                  <a:lnTo>
                    <a:pt x="304" y="36"/>
                  </a:lnTo>
                  <a:lnTo>
                    <a:pt x="295" y="36"/>
                  </a:lnTo>
                  <a:lnTo>
                    <a:pt x="262" y="69"/>
                  </a:lnTo>
                  <a:lnTo>
                    <a:pt x="262" y="10"/>
                  </a:lnTo>
                  <a:lnTo>
                    <a:pt x="252" y="0"/>
                  </a:lnTo>
                  <a:lnTo>
                    <a:pt x="238" y="0"/>
                  </a:lnTo>
                  <a:lnTo>
                    <a:pt x="229" y="10"/>
                  </a:lnTo>
                  <a:lnTo>
                    <a:pt x="229" y="69"/>
                  </a:lnTo>
                  <a:lnTo>
                    <a:pt x="196" y="36"/>
                  </a:lnTo>
                  <a:lnTo>
                    <a:pt x="186" y="36"/>
                  </a:lnTo>
                  <a:lnTo>
                    <a:pt x="177" y="43"/>
                  </a:lnTo>
                  <a:lnTo>
                    <a:pt x="177" y="52"/>
                  </a:lnTo>
                  <a:lnTo>
                    <a:pt x="229" y="104"/>
                  </a:lnTo>
                  <a:lnTo>
                    <a:pt x="229" y="204"/>
                  </a:lnTo>
                  <a:lnTo>
                    <a:pt x="158" y="133"/>
                  </a:lnTo>
                  <a:lnTo>
                    <a:pt x="158" y="62"/>
                  </a:lnTo>
                  <a:lnTo>
                    <a:pt x="151" y="55"/>
                  </a:lnTo>
                  <a:lnTo>
                    <a:pt x="139" y="55"/>
                  </a:lnTo>
                  <a:lnTo>
                    <a:pt x="132" y="62"/>
                  </a:lnTo>
                  <a:lnTo>
                    <a:pt x="132" y="109"/>
                  </a:lnTo>
                  <a:lnTo>
                    <a:pt x="92" y="66"/>
                  </a:lnTo>
                  <a:lnTo>
                    <a:pt x="77" y="66"/>
                  </a:lnTo>
                  <a:lnTo>
                    <a:pt x="66" y="76"/>
                  </a:lnTo>
                  <a:lnTo>
                    <a:pt x="66" y="90"/>
                  </a:lnTo>
                  <a:lnTo>
                    <a:pt x="108" y="133"/>
                  </a:lnTo>
                  <a:lnTo>
                    <a:pt x="63" y="133"/>
                  </a:lnTo>
                  <a:lnTo>
                    <a:pt x="56" y="140"/>
                  </a:lnTo>
                  <a:lnTo>
                    <a:pt x="56" y="149"/>
                  </a:lnTo>
                  <a:lnTo>
                    <a:pt x="63" y="156"/>
                  </a:lnTo>
                  <a:lnTo>
                    <a:pt x="134" y="156"/>
                  </a:lnTo>
                  <a:lnTo>
                    <a:pt x="205" y="227"/>
                  </a:lnTo>
                  <a:lnTo>
                    <a:pt x="103" y="227"/>
                  </a:lnTo>
                  <a:lnTo>
                    <a:pt x="54" y="178"/>
                  </a:lnTo>
                  <a:lnTo>
                    <a:pt x="44" y="178"/>
                  </a:lnTo>
                  <a:lnTo>
                    <a:pt x="37" y="185"/>
                  </a:lnTo>
                  <a:lnTo>
                    <a:pt x="37" y="194"/>
                  </a:lnTo>
                  <a:lnTo>
                    <a:pt x="68" y="227"/>
                  </a:lnTo>
                  <a:lnTo>
                    <a:pt x="9" y="227"/>
                  </a:lnTo>
                  <a:lnTo>
                    <a:pt x="0" y="237"/>
                  </a:lnTo>
                  <a:lnTo>
                    <a:pt x="0" y="251"/>
                  </a:lnTo>
                  <a:lnTo>
                    <a:pt x="9" y="260"/>
                  </a:lnTo>
                  <a:lnTo>
                    <a:pt x="68" y="260"/>
                  </a:lnTo>
                  <a:lnTo>
                    <a:pt x="37" y="293"/>
                  </a:lnTo>
                  <a:lnTo>
                    <a:pt x="37" y="303"/>
                  </a:lnTo>
                  <a:lnTo>
                    <a:pt x="44" y="312"/>
                  </a:lnTo>
                  <a:lnTo>
                    <a:pt x="54" y="312"/>
                  </a:lnTo>
                  <a:lnTo>
                    <a:pt x="103" y="260"/>
                  </a:lnTo>
                  <a:lnTo>
                    <a:pt x="205" y="260"/>
                  </a:lnTo>
                  <a:lnTo>
                    <a:pt x="134" y="331"/>
                  </a:lnTo>
                  <a:lnTo>
                    <a:pt x="63" y="331"/>
                  </a:lnTo>
                  <a:lnTo>
                    <a:pt x="56" y="338"/>
                  </a:lnTo>
                  <a:lnTo>
                    <a:pt x="56" y="350"/>
                  </a:lnTo>
                  <a:lnTo>
                    <a:pt x="63" y="357"/>
                  </a:lnTo>
                  <a:lnTo>
                    <a:pt x="108" y="357"/>
                  </a:lnTo>
                  <a:lnTo>
                    <a:pt x="66" y="400"/>
                  </a:lnTo>
                  <a:lnTo>
                    <a:pt x="66" y="412"/>
                  </a:lnTo>
                  <a:lnTo>
                    <a:pt x="77" y="423"/>
                  </a:lnTo>
                  <a:lnTo>
                    <a:pt x="92" y="423"/>
                  </a:lnTo>
                  <a:lnTo>
                    <a:pt x="132" y="381"/>
                  </a:lnTo>
                  <a:lnTo>
                    <a:pt x="132" y="428"/>
                  </a:lnTo>
                  <a:lnTo>
                    <a:pt x="139" y="435"/>
                  </a:lnTo>
                  <a:lnTo>
                    <a:pt x="151" y="435"/>
                  </a:lnTo>
                  <a:lnTo>
                    <a:pt x="158" y="428"/>
                  </a:lnTo>
                  <a:lnTo>
                    <a:pt x="158" y="357"/>
                  </a:lnTo>
                  <a:lnTo>
                    <a:pt x="229" y="286"/>
                  </a:lnTo>
                  <a:lnTo>
                    <a:pt x="229" y="386"/>
                  </a:lnTo>
                  <a:lnTo>
                    <a:pt x="177" y="435"/>
                  </a:lnTo>
                  <a:lnTo>
                    <a:pt x="177" y="445"/>
                  </a:lnTo>
                  <a:lnTo>
                    <a:pt x="186" y="454"/>
                  </a:lnTo>
                  <a:lnTo>
                    <a:pt x="196" y="454"/>
                  </a:lnTo>
                  <a:lnTo>
                    <a:pt x="229" y="421"/>
                  </a:lnTo>
                  <a:lnTo>
                    <a:pt x="229" y="480"/>
                  </a:lnTo>
                  <a:lnTo>
                    <a:pt x="238" y="489"/>
                  </a:lnTo>
                  <a:lnTo>
                    <a:pt x="252" y="489"/>
                  </a:lnTo>
                  <a:lnTo>
                    <a:pt x="262" y="480"/>
                  </a:lnTo>
                  <a:lnTo>
                    <a:pt x="262" y="421"/>
                  </a:lnTo>
                  <a:lnTo>
                    <a:pt x="295" y="454"/>
                  </a:lnTo>
                  <a:lnTo>
                    <a:pt x="304" y="454"/>
                  </a:lnTo>
                  <a:lnTo>
                    <a:pt x="311" y="445"/>
                  </a:lnTo>
                  <a:lnTo>
                    <a:pt x="311" y="435"/>
                  </a:lnTo>
                  <a:lnTo>
                    <a:pt x="262" y="386"/>
                  </a:lnTo>
                  <a:lnTo>
                    <a:pt x="262" y="286"/>
                  </a:lnTo>
                  <a:lnTo>
                    <a:pt x="333" y="357"/>
                  </a:lnTo>
                  <a:lnTo>
                    <a:pt x="333" y="428"/>
                  </a:lnTo>
                  <a:lnTo>
                    <a:pt x="340" y="435"/>
                  </a:lnTo>
                  <a:lnTo>
                    <a:pt x="351" y="435"/>
                  </a:lnTo>
                  <a:lnTo>
                    <a:pt x="359" y="428"/>
                  </a:lnTo>
                  <a:lnTo>
                    <a:pt x="359" y="381"/>
                  </a:lnTo>
                  <a:lnTo>
                    <a:pt x="399" y="423"/>
                  </a:lnTo>
                  <a:lnTo>
                    <a:pt x="413" y="423"/>
                  </a:lnTo>
                  <a:lnTo>
                    <a:pt x="422" y="412"/>
                  </a:lnTo>
                  <a:lnTo>
                    <a:pt x="422" y="400"/>
                  </a:lnTo>
                  <a:lnTo>
                    <a:pt x="382" y="357"/>
                  </a:lnTo>
                  <a:lnTo>
                    <a:pt x="427" y="357"/>
                  </a:lnTo>
                  <a:lnTo>
                    <a:pt x="434" y="350"/>
                  </a:lnTo>
                  <a:lnTo>
                    <a:pt x="434" y="338"/>
                  </a:lnTo>
                  <a:lnTo>
                    <a:pt x="427" y="331"/>
                  </a:lnTo>
                  <a:lnTo>
                    <a:pt x="356" y="331"/>
                  </a:lnTo>
                  <a:lnTo>
                    <a:pt x="285" y="260"/>
                  </a:lnTo>
                  <a:lnTo>
                    <a:pt x="387" y="260"/>
                  </a:lnTo>
                  <a:lnTo>
                    <a:pt x="437" y="312"/>
                  </a:lnTo>
                  <a:lnTo>
                    <a:pt x="446" y="312"/>
                  </a:lnTo>
                  <a:lnTo>
                    <a:pt x="453" y="303"/>
                  </a:lnTo>
                  <a:lnTo>
                    <a:pt x="453" y="293"/>
                  </a:lnTo>
                  <a:lnTo>
                    <a:pt x="420" y="260"/>
                  </a:lnTo>
                  <a:lnTo>
                    <a:pt x="479" y="260"/>
                  </a:lnTo>
                  <a:lnTo>
                    <a:pt x="491" y="251"/>
                  </a:lnTo>
                  <a:lnTo>
                    <a:pt x="491" y="237"/>
                  </a:lnTo>
                  <a:lnTo>
                    <a:pt x="479" y="22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1" name="Freeform 112"/>
          <p:cNvSpPr>
            <a:spLocks noEditPoints="1"/>
          </p:cNvSpPr>
          <p:nvPr/>
        </p:nvSpPr>
        <p:spPr bwMode="auto">
          <a:xfrm>
            <a:off x="4400615" y="4615168"/>
            <a:ext cx="600505" cy="332764"/>
          </a:xfrm>
          <a:custGeom>
            <a:avLst/>
            <a:gdLst>
              <a:gd name="T0" fmla="*/ 0 w 785"/>
              <a:gd name="T1" fmla="*/ 435 h 435"/>
              <a:gd name="T2" fmla="*/ 785 w 785"/>
              <a:gd name="T3" fmla="*/ 0 h 435"/>
              <a:gd name="T4" fmla="*/ 629 w 785"/>
              <a:gd name="T5" fmla="*/ 61 h 435"/>
              <a:gd name="T6" fmla="*/ 681 w 785"/>
              <a:gd name="T7" fmla="*/ 125 h 435"/>
              <a:gd name="T8" fmla="*/ 629 w 785"/>
              <a:gd name="T9" fmla="*/ 61 h 435"/>
              <a:gd name="T10" fmla="*/ 508 w 785"/>
              <a:gd name="T11" fmla="*/ 61 h 435"/>
              <a:gd name="T12" fmla="*/ 454 w 785"/>
              <a:gd name="T13" fmla="*/ 189 h 435"/>
              <a:gd name="T14" fmla="*/ 279 w 785"/>
              <a:gd name="T15" fmla="*/ 61 h 435"/>
              <a:gd name="T16" fmla="*/ 333 w 785"/>
              <a:gd name="T17" fmla="*/ 101 h 435"/>
              <a:gd name="T18" fmla="*/ 279 w 785"/>
              <a:gd name="T19" fmla="*/ 61 h 435"/>
              <a:gd name="T20" fmla="*/ 159 w 785"/>
              <a:gd name="T21" fmla="*/ 61 h 435"/>
              <a:gd name="T22" fmla="*/ 107 w 785"/>
              <a:gd name="T23" fmla="*/ 253 h 435"/>
              <a:gd name="T24" fmla="*/ 159 w 785"/>
              <a:gd name="T25" fmla="*/ 373 h 435"/>
              <a:gd name="T26" fmla="*/ 107 w 785"/>
              <a:gd name="T27" fmla="*/ 333 h 435"/>
              <a:gd name="T28" fmla="*/ 159 w 785"/>
              <a:gd name="T29" fmla="*/ 373 h 435"/>
              <a:gd name="T30" fmla="*/ 57 w 785"/>
              <a:gd name="T31" fmla="*/ 319 h 435"/>
              <a:gd name="T32" fmla="*/ 208 w 785"/>
              <a:gd name="T33" fmla="*/ 267 h 435"/>
              <a:gd name="T34" fmla="*/ 333 w 785"/>
              <a:gd name="T35" fmla="*/ 373 h 435"/>
              <a:gd name="T36" fmla="*/ 279 w 785"/>
              <a:gd name="T37" fmla="*/ 182 h 435"/>
              <a:gd name="T38" fmla="*/ 333 w 785"/>
              <a:gd name="T39" fmla="*/ 373 h 435"/>
              <a:gd name="T40" fmla="*/ 230 w 785"/>
              <a:gd name="T41" fmla="*/ 168 h 435"/>
              <a:gd name="T42" fmla="*/ 383 w 785"/>
              <a:gd name="T43" fmla="*/ 113 h 435"/>
              <a:gd name="T44" fmla="*/ 508 w 785"/>
              <a:gd name="T45" fmla="*/ 373 h 435"/>
              <a:gd name="T46" fmla="*/ 454 w 785"/>
              <a:gd name="T47" fmla="*/ 269 h 435"/>
              <a:gd name="T48" fmla="*/ 508 w 785"/>
              <a:gd name="T49" fmla="*/ 373 h 435"/>
              <a:gd name="T50" fmla="*/ 404 w 785"/>
              <a:gd name="T51" fmla="*/ 255 h 435"/>
              <a:gd name="T52" fmla="*/ 556 w 785"/>
              <a:gd name="T53" fmla="*/ 203 h 435"/>
              <a:gd name="T54" fmla="*/ 681 w 785"/>
              <a:gd name="T55" fmla="*/ 373 h 435"/>
              <a:gd name="T56" fmla="*/ 629 w 785"/>
              <a:gd name="T57" fmla="*/ 205 h 435"/>
              <a:gd name="T58" fmla="*/ 681 w 785"/>
              <a:gd name="T59" fmla="*/ 373 h 435"/>
              <a:gd name="T60" fmla="*/ 579 w 785"/>
              <a:gd name="T61" fmla="*/ 194 h 435"/>
              <a:gd name="T62" fmla="*/ 730 w 785"/>
              <a:gd name="T63" fmla="*/ 13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5" h="435">
                <a:moveTo>
                  <a:pt x="0" y="0"/>
                </a:moveTo>
                <a:lnTo>
                  <a:pt x="0" y="435"/>
                </a:lnTo>
                <a:lnTo>
                  <a:pt x="785" y="435"/>
                </a:lnTo>
                <a:lnTo>
                  <a:pt x="785" y="0"/>
                </a:lnTo>
                <a:lnTo>
                  <a:pt x="0" y="0"/>
                </a:lnTo>
                <a:close/>
                <a:moveTo>
                  <a:pt x="629" y="61"/>
                </a:moveTo>
                <a:lnTo>
                  <a:pt x="681" y="61"/>
                </a:lnTo>
                <a:lnTo>
                  <a:pt x="681" y="125"/>
                </a:lnTo>
                <a:lnTo>
                  <a:pt x="629" y="125"/>
                </a:lnTo>
                <a:lnTo>
                  <a:pt x="629" y="61"/>
                </a:lnTo>
                <a:close/>
                <a:moveTo>
                  <a:pt x="454" y="61"/>
                </a:moveTo>
                <a:lnTo>
                  <a:pt x="508" y="61"/>
                </a:lnTo>
                <a:lnTo>
                  <a:pt x="508" y="189"/>
                </a:lnTo>
                <a:lnTo>
                  <a:pt x="454" y="189"/>
                </a:lnTo>
                <a:lnTo>
                  <a:pt x="454" y="61"/>
                </a:lnTo>
                <a:close/>
                <a:moveTo>
                  <a:pt x="279" y="61"/>
                </a:moveTo>
                <a:lnTo>
                  <a:pt x="333" y="61"/>
                </a:lnTo>
                <a:lnTo>
                  <a:pt x="333" y="101"/>
                </a:lnTo>
                <a:lnTo>
                  <a:pt x="279" y="101"/>
                </a:lnTo>
                <a:lnTo>
                  <a:pt x="279" y="61"/>
                </a:lnTo>
                <a:close/>
                <a:moveTo>
                  <a:pt x="107" y="61"/>
                </a:moveTo>
                <a:lnTo>
                  <a:pt x="159" y="61"/>
                </a:lnTo>
                <a:lnTo>
                  <a:pt x="159" y="253"/>
                </a:lnTo>
                <a:lnTo>
                  <a:pt x="107" y="253"/>
                </a:lnTo>
                <a:lnTo>
                  <a:pt x="107" y="61"/>
                </a:lnTo>
                <a:close/>
                <a:moveTo>
                  <a:pt x="159" y="373"/>
                </a:moveTo>
                <a:lnTo>
                  <a:pt x="107" y="373"/>
                </a:lnTo>
                <a:lnTo>
                  <a:pt x="107" y="333"/>
                </a:lnTo>
                <a:lnTo>
                  <a:pt x="159" y="333"/>
                </a:lnTo>
                <a:lnTo>
                  <a:pt x="159" y="373"/>
                </a:lnTo>
                <a:close/>
                <a:moveTo>
                  <a:pt x="208" y="319"/>
                </a:moveTo>
                <a:lnTo>
                  <a:pt x="57" y="319"/>
                </a:lnTo>
                <a:lnTo>
                  <a:pt x="57" y="267"/>
                </a:lnTo>
                <a:lnTo>
                  <a:pt x="208" y="267"/>
                </a:lnTo>
                <a:lnTo>
                  <a:pt x="208" y="319"/>
                </a:lnTo>
                <a:close/>
                <a:moveTo>
                  <a:pt x="333" y="373"/>
                </a:moveTo>
                <a:lnTo>
                  <a:pt x="279" y="373"/>
                </a:lnTo>
                <a:lnTo>
                  <a:pt x="279" y="182"/>
                </a:lnTo>
                <a:lnTo>
                  <a:pt x="333" y="182"/>
                </a:lnTo>
                <a:lnTo>
                  <a:pt x="333" y="373"/>
                </a:lnTo>
                <a:close/>
                <a:moveTo>
                  <a:pt x="383" y="168"/>
                </a:moveTo>
                <a:lnTo>
                  <a:pt x="230" y="168"/>
                </a:lnTo>
                <a:lnTo>
                  <a:pt x="230" y="113"/>
                </a:lnTo>
                <a:lnTo>
                  <a:pt x="383" y="113"/>
                </a:lnTo>
                <a:lnTo>
                  <a:pt x="383" y="168"/>
                </a:lnTo>
                <a:close/>
                <a:moveTo>
                  <a:pt x="508" y="373"/>
                </a:moveTo>
                <a:lnTo>
                  <a:pt x="454" y="373"/>
                </a:lnTo>
                <a:lnTo>
                  <a:pt x="454" y="269"/>
                </a:lnTo>
                <a:lnTo>
                  <a:pt x="508" y="269"/>
                </a:lnTo>
                <a:lnTo>
                  <a:pt x="508" y="373"/>
                </a:lnTo>
                <a:close/>
                <a:moveTo>
                  <a:pt x="556" y="255"/>
                </a:moveTo>
                <a:lnTo>
                  <a:pt x="404" y="255"/>
                </a:lnTo>
                <a:lnTo>
                  <a:pt x="404" y="203"/>
                </a:lnTo>
                <a:lnTo>
                  <a:pt x="556" y="203"/>
                </a:lnTo>
                <a:lnTo>
                  <a:pt x="556" y="255"/>
                </a:lnTo>
                <a:close/>
                <a:moveTo>
                  <a:pt x="681" y="373"/>
                </a:moveTo>
                <a:lnTo>
                  <a:pt x="629" y="373"/>
                </a:lnTo>
                <a:lnTo>
                  <a:pt x="629" y="205"/>
                </a:lnTo>
                <a:lnTo>
                  <a:pt x="681" y="205"/>
                </a:lnTo>
                <a:lnTo>
                  <a:pt x="681" y="373"/>
                </a:lnTo>
                <a:close/>
                <a:moveTo>
                  <a:pt x="730" y="194"/>
                </a:moveTo>
                <a:lnTo>
                  <a:pt x="579" y="194"/>
                </a:lnTo>
                <a:lnTo>
                  <a:pt x="579" y="139"/>
                </a:lnTo>
                <a:lnTo>
                  <a:pt x="730" y="139"/>
                </a:lnTo>
                <a:lnTo>
                  <a:pt x="730" y="1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78" name="Freeform 117"/>
          <p:cNvSpPr>
            <a:spLocks noEditPoints="1"/>
          </p:cNvSpPr>
          <p:nvPr/>
        </p:nvSpPr>
        <p:spPr bwMode="auto">
          <a:xfrm>
            <a:off x="1519115" y="5642542"/>
            <a:ext cx="496957" cy="493839"/>
          </a:xfrm>
          <a:custGeom>
            <a:avLst/>
            <a:gdLst>
              <a:gd name="T0" fmla="*/ 2091 w 2232"/>
              <a:gd name="T1" fmla="*/ 1238 h 2218"/>
              <a:gd name="T2" fmla="*/ 2145 w 2232"/>
              <a:gd name="T3" fmla="*/ 1214 h 2218"/>
              <a:gd name="T4" fmla="*/ 2232 w 2232"/>
              <a:gd name="T5" fmla="*/ 1004 h 2218"/>
              <a:gd name="T6" fmla="*/ 2209 w 2232"/>
              <a:gd name="T7" fmla="*/ 948 h 2218"/>
              <a:gd name="T8" fmla="*/ 631 w 2232"/>
              <a:gd name="T9" fmla="*/ 296 h 2218"/>
              <a:gd name="T10" fmla="*/ 688 w 2232"/>
              <a:gd name="T11" fmla="*/ 159 h 2218"/>
              <a:gd name="T12" fmla="*/ 664 w 2232"/>
              <a:gd name="T13" fmla="*/ 102 h 2218"/>
              <a:gd name="T14" fmla="*/ 416 w 2232"/>
              <a:gd name="T15" fmla="*/ 0 h 2218"/>
              <a:gd name="T16" fmla="*/ 359 w 2232"/>
              <a:gd name="T17" fmla="*/ 24 h 2218"/>
              <a:gd name="T18" fmla="*/ 0 w 2232"/>
              <a:gd name="T19" fmla="*/ 891 h 2218"/>
              <a:gd name="T20" fmla="*/ 144 w 2232"/>
              <a:gd name="T21" fmla="*/ 1236 h 2218"/>
              <a:gd name="T22" fmla="*/ 227 w 2232"/>
              <a:gd name="T23" fmla="*/ 1271 h 2218"/>
              <a:gd name="T24" fmla="*/ 513 w 2232"/>
              <a:gd name="T25" fmla="*/ 586 h 2218"/>
              <a:gd name="T26" fmla="*/ 1014 w 2232"/>
              <a:gd name="T27" fmla="*/ 794 h 2218"/>
              <a:gd name="T28" fmla="*/ 1044 w 2232"/>
              <a:gd name="T29" fmla="*/ 622 h 2218"/>
              <a:gd name="T30" fmla="*/ 1113 w 2232"/>
              <a:gd name="T31" fmla="*/ 650 h 2218"/>
              <a:gd name="T32" fmla="*/ 834 w 2232"/>
              <a:gd name="T33" fmla="*/ 2218 h 2218"/>
              <a:gd name="T34" fmla="*/ 952 w 2232"/>
              <a:gd name="T35" fmla="*/ 2218 h 2218"/>
              <a:gd name="T36" fmla="*/ 1007 w 2232"/>
              <a:gd name="T37" fmla="*/ 1918 h 2218"/>
              <a:gd name="T38" fmla="*/ 1153 w 2232"/>
              <a:gd name="T39" fmla="*/ 1918 h 2218"/>
              <a:gd name="T40" fmla="*/ 1153 w 2232"/>
              <a:gd name="T41" fmla="*/ 2218 h 2218"/>
              <a:gd name="T42" fmla="*/ 1231 w 2232"/>
              <a:gd name="T43" fmla="*/ 2218 h 2218"/>
              <a:gd name="T44" fmla="*/ 1231 w 2232"/>
              <a:gd name="T45" fmla="*/ 1085 h 2218"/>
              <a:gd name="T46" fmla="*/ 1434 w 2232"/>
              <a:gd name="T47" fmla="*/ 2218 h 2218"/>
              <a:gd name="T48" fmla="*/ 1552 w 2232"/>
              <a:gd name="T49" fmla="*/ 2218 h 2218"/>
              <a:gd name="T50" fmla="*/ 1321 w 2232"/>
              <a:gd name="T51" fmla="*/ 919 h 2218"/>
              <a:gd name="T52" fmla="*/ 1944 w 2232"/>
              <a:gd name="T53" fmla="*/ 1179 h 2218"/>
              <a:gd name="T54" fmla="*/ 1944 w 2232"/>
              <a:gd name="T55" fmla="*/ 1831 h 2218"/>
              <a:gd name="T56" fmla="*/ 1892 w 2232"/>
              <a:gd name="T57" fmla="*/ 1831 h 2218"/>
              <a:gd name="T58" fmla="*/ 1850 w 2232"/>
              <a:gd name="T59" fmla="*/ 1873 h 2218"/>
              <a:gd name="T60" fmla="*/ 1850 w 2232"/>
              <a:gd name="T61" fmla="*/ 2218 h 2218"/>
              <a:gd name="T62" fmla="*/ 2107 w 2232"/>
              <a:gd name="T63" fmla="*/ 2218 h 2218"/>
              <a:gd name="T64" fmla="*/ 2107 w 2232"/>
              <a:gd name="T65" fmla="*/ 1873 h 2218"/>
              <a:gd name="T66" fmla="*/ 2062 w 2232"/>
              <a:gd name="T67" fmla="*/ 1831 h 2218"/>
              <a:gd name="T68" fmla="*/ 2010 w 2232"/>
              <a:gd name="T69" fmla="*/ 1831 h 2218"/>
              <a:gd name="T70" fmla="*/ 2010 w 2232"/>
              <a:gd name="T71" fmla="*/ 1207 h 2218"/>
              <a:gd name="T72" fmla="*/ 2091 w 2232"/>
              <a:gd name="T73" fmla="*/ 1238 h 2218"/>
              <a:gd name="T74" fmla="*/ 1153 w 2232"/>
              <a:gd name="T75" fmla="*/ 1852 h 2218"/>
              <a:gd name="T76" fmla="*/ 1018 w 2232"/>
              <a:gd name="T77" fmla="*/ 1852 h 2218"/>
              <a:gd name="T78" fmla="*/ 1153 w 2232"/>
              <a:gd name="T79" fmla="*/ 1085 h 2218"/>
              <a:gd name="T80" fmla="*/ 1153 w 2232"/>
              <a:gd name="T81" fmla="*/ 1852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2" h="2218">
                <a:moveTo>
                  <a:pt x="2091" y="1238"/>
                </a:moveTo>
                <a:lnTo>
                  <a:pt x="2145" y="1214"/>
                </a:lnTo>
                <a:lnTo>
                  <a:pt x="2232" y="1004"/>
                </a:lnTo>
                <a:lnTo>
                  <a:pt x="2209" y="948"/>
                </a:lnTo>
                <a:lnTo>
                  <a:pt x="631" y="296"/>
                </a:lnTo>
                <a:lnTo>
                  <a:pt x="688" y="159"/>
                </a:lnTo>
                <a:lnTo>
                  <a:pt x="664" y="102"/>
                </a:lnTo>
                <a:lnTo>
                  <a:pt x="416" y="0"/>
                </a:lnTo>
                <a:lnTo>
                  <a:pt x="359" y="24"/>
                </a:lnTo>
                <a:lnTo>
                  <a:pt x="0" y="891"/>
                </a:lnTo>
                <a:lnTo>
                  <a:pt x="144" y="1236"/>
                </a:lnTo>
                <a:lnTo>
                  <a:pt x="227" y="1271"/>
                </a:lnTo>
                <a:lnTo>
                  <a:pt x="513" y="586"/>
                </a:lnTo>
                <a:lnTo>
                  <a:pt x="1014" y="794"/>
                </a:lnTo>
                <a:lnTo>
                  <a:pt x="1044" y="622"/>
                </a:lnTo>
                <a:lnTo>
                  <a:pt x="1113" y="650"/>
                </a:lnTo>
                <a:lnTo>
                  <a:pt x="834" y="2218"/>
                </a:lnTo>
                <a:lnTo>
                  <a:pt x="952" y="2218"/>
                </a:lnTo>
                <a:lnTo>
                  <a:pt x="1007" y="1918"/>
                </a:lnTo>
                <a:lnTo>
                  <a:pt x="1153" y="1918"/>
                </a:lnTo>
                <a:lnTo>
                  <a:pt x="1153" y="2218"/>
                </a:lnTo>
                <a:lnTo>
                  <a:pt x="1231" y="2218"/>
                </a:lnTo>
                <a:lnTo>
                  <a:pt x="1231" y="1085"/>
                </a:lnTo>
                <a:lnTo>
                  <a:pt x="1434" y="2218"/>
                </a:lnTo>
                <a:lnTo>
                  <a:pt x="1552" y="2218"/>
                </a:lnTo>
                <a:lnTo>
                  <a:pt x="1321" y="919"/>
                </a:lnTo>
                <a:lnTo>
                  <a:pt x="1944" y="1179"/>
                </a:lnTo>
                <a:lnTo>
                  <a:pt x="1944" y="1831"/>
                </a:lnTo>
                <a:lnTo>
                  <a:pt x="1892" y="1831"/>
                </a:lnTo>
                <a:lnTo>
                  <a:pt x="1850" y="1873"/>
                </a:lnTo>
                <a:lnTo>
                  <a:pt x="1850" y="2218"/>
                </a:lnTo>
                <a:lnTo>
                  <a:pt x="2107" y="2218"/>
                </a:lnTo>
                <a:lnTo>
                  <a:pt x="2107" y="1873"/>
                </a:lnTo>
                <a:lnTo>
                  <a:pt x="2062" y="1831"/>
                </a:lnTo>
                <a:lnTo>
                  <a:pt x="2010" y="1831"/>
                </a:lnTo>
                <a:lnTo>
                  <a:pt x="2010" y="1207"/>
                </a:lnTo>
                <a:lnTo>
                  <a:pt x="2091" y="1238"/>
                </a:lnTo>
                <a:close/>
                <a:moveTo>
                  <a:pt x="1153" y="1852"/>
                </a:moveTo>
                <a:lnTo>
                  <a:pt x="1018" y="1852"/>
                </a:lnTo>
                <a:lnTo>
                  <a:pt x="1153" y="1085"/>
                </a:lnTo>
                <a:lnTo>
                  <a:pt x="1153" y="1852"/>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8381" name="Group 48380"/>
          <p:cNvGrpSpPr/>
          <p:nvPr/>
        </p:nvGrpSpPr>
        <p:grpSpPr>
          <a:xfrm>
            <a:off x="2204617" y="5195860"/>
            <a:ext cx="914992" cy="940522"/>
            <a:chOff x="-4513263" y="-7319963"/>
            <a:chExt cx="5348288" cy="5497513"/>
          </a:xfrm>
        </p:grpSpPr>
        <p:sp>
          <p:nvSpPr>
            <p:cNvPr id="1182" name="Freeform 122"/>
            <p:cNvSpPr>
              <a:spLocks/>
            </p:cNvSpPr>
            <p:nvPr/>
          </p:nvSpPr>
          <p:spPr bwMode="auto">
            <a:xfrm>
              <a:off x="-4513263" y="-4376738"/>
              <a:ext cx="2727325" cy="2554288"/>
            </a:xfrm>
            <a:custGeom>
              <a:avLst/>
              <a:gdLst>
                <a:gd name="T0" fmla="*/ 727 w 727"/>
                <a:gd name="T1" fmla="*/ 681 h 681"/>
                <a:gd name="T2" fmla="*/ 727 w 727"/>
                <a:gd name="T3" fmla="*/ 642 h 681"/>
                <a:gd name="T4" fmla="*/ 549 w 727"/>
                <a:gd name="T5" fmla="*/ 0 h 681"/>
                <a:gd name="T6" fmla="*/ 178 w 727"/>
                <a:gd name="T7" fmla="*/ 0 h 681"/>
                <a:gd name="T8" fmla="*/ 0 w 727"/>
                <a:gd name="T9" fmla="*/ 642 h 681"/>
                <a:gd name="T10" fmla="*/ 0 w 727"/>
                <a:gd name="T11" fmla="*/ 681 h 681"/>
                <a:gd name="T12" fmla="*/ 727 w 727"/>
                <a:gd name="T13" fmla="*/ 681 h 681"/>
              </a:gdLst>
              <a:ahLst/>
              <a:cxnLst>
                <a:cxn ang="0">
                  <a:pos x="T0" y="T1"/>
                </a:cxn>
                <a:cxn ang="0">
                  <a:pos x="T2" y="T3"/>
                </a:cxn>
                <a:cxn ang="0">
                  <a:pos x="T4" y="T5"/>
                </a:cxn>
                <a:cxn ang="0">
                  <a:pos x="T6" y="T7"/>
                </a:cxn>
                <a:cxn ang="0">
                  <a:pos x="T8" y="T9"/>
                </a:cxn>
                <a:cxn ang="0">
                  <a:pos x="T10" y="T11"/>
                </a:cxn>
                <a:cxn ang="0">
                  <a:pos x="T12" y="T13"/>
                </a:cxn>
              </a:cxnLst>
              <a:rect l="0" t="0" r="r" b="b"/>
              <a:pathLst>
                <a:path w="727" h="681">
                  <a:moveTo>
                    <a:pt x="727" y="681"/>
                  </a:moveTo>
                  <a:cubicBezTo>
                    <a:pt x="727" y="642"/>
                    <a:pt x="727" y="642"/>
                    <a:pt x="727" y="642"/>
                  </a:cubicBezTo>
                  <a:cubicBezTo>
                    <a:pt x="551" y="387"/>
                    <a:pt x="549" y="0"/>
                    <a:pt x="549" y="0"/>
                  </a:cubicBezTo>
                  <a:cubicBezTo>
                    <a:pt x="178" y="0"/>
                    <a:pt x="178" y="0"/>
                    <a:pt x="178" y="0"/>
                  </a:cubicBezTo>
                  <a:cubicBezTo>
                    <a:pt x="178" y="0"/>
                    <a:pt x="177" y="387"/>
                    <a:pt x="0" y="642"/>
                  </a:cubicBezTo>
                  <a:cubicBezTo>
                    <a:pt x="0" y="681"/>
                    <a:pt x="0" y="681"/>
                    <a:pt x="0" y="681"/>
                  </a:cubicBezTo>
                  <a:lnTo>
                    <a:pt x="727" y="681"/>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98" name="Freeform 124"/>
            <p:cNvSpPr>
              <a:spLocks/>
            </p:cNvSpPr>
            <p:nvPr/>
          </p:nvSpPr>
          <p:spPr bwMode="auto">
            <a:xfrm>
              <a:off x="-3875088" y="-4189413"/>
              <a:ext cx="892175" cy="379413"/>
            </a:xfrm>
            <a:custGeom>
              <a:avLst/>
              <a:gdLst>
                <a:gd name="T0" fmla="*/ 238 w 238"/>
                <a:gd name="T1" fmla="*/ 0 h 101"/>
                <a:gd name="T2" fmla="*/ 9 w 238"/>
                <a:gd name="T3" fmla="*/ 0 h 101"/>
                <a:gd name="T4" fmla="*/ 0 w 238"/>
                <a:gd name="T5" fmla="*/ 101 h 101"/>
                <a:gd name="T6" fmla="*/ 234 w 238"/>
                <a:gd name="T7" fmla="*/ 101 h 101"/>
                <a:gd name="T8" fmla="*/ 238 w 238"/>
                <a:gd name="T9" fmla="*/ 0 h 101"/>
              </a:gdLst>
              <a:ahLst/>
              <a:cxnLst>
                <a:cxn ang="0">
                  <a:pos x="T0" y="T1"/>
                </a:cxn>
                <a:cxn ang="0">
                  <a:pos x="T2" y="T3"/>
                </a:cxn>
                <a:cxn ang="0">
                  <a:pos x="T4" y="T5"/>
                </a:cxn>
                <a:cxn ang="0">
                  <a:pos x="T6" y="T7"/>
                </a:cxn>
                <a:cxn ang="0">
                  <a:pos x="T8" y="T9"/>
                </a:cxn>
              </a:cxnLst>
              <a:rect l="0" t="0" r="r" b="b"/>
              <a:pathLst>
                <a:path w="238" h="101">
                  <a:moveTo>
                    <a:pt x="238" y="0"/>
                  </a:moveTo>
                  <a:cubicBezTo>
                    <a:pt x="9" y="0"/>
                    <a:pt x="9" y="0"/>
                    <a:pt x="9" y="0"/>
                  </a:cubicBezTo>
                  <a:cubicBezTo>
                    <a:pt x="7" y="25"/>
                    <a:pt x="5" y="60"/>
                    <a:pt x="0" y="101"/>
                  </a:cubicBezTo>
                  <a:cubicBezTo>
                    <a:pt x="234" y="101"/>
                    <a:pt x="234" y="101"/>
                    <a:pt x="234" y="101"/>
                  </a:cubicBezTo>
                  <a:lnTo>
                    <a:pt x="23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99" name="Freeform 125"/>
            <p:cNvSpPr>
              <a:spLocks noEditPoints="1"/>
            </p:cNvSpPr>
            <p:nvPr/>
          </p:nvSpPr>
          <p:spPr bwMode="auto">
            <a:xfrm>
              <a:off x="-3060700" y="-4819650"/>
              <a:ext cx="3228975" cy="2997200"/>
            </a:xfrm>
            <a:custGeom>
              <a:avLst/>
              <a:gdLst>
                <a:gd name="T0" fmla="*/ 1837 w 2034"/>
                <a:gd name="T1" fmla="*/ 712 h 1888"/>
                <a:gd name="T2" fmla="*/ 1762 w 2034"/>
                <a:gd name="T3" fmla="*/ 712 h 1888"/>
                <a:gd name="T4" fmla="*/ 1762 w 2034"/>
                <a:gd name="T5" fmla="*/ 468 h 1888"/>
                <a:gd name="T6" fmla="*/ 1717 w 2034"/>
                <a:gd name="T7" fmla="*/ 468 h 1888"/>
                <a:gd name="T8" fmla="*/ 1445 w 2034"/>
                <a:gd name="T9" fmla="*/ 683 h 1888"/>
                <a:gd name="T10" fmla="*/ 1400 w 2034"/>
                <a:gd name="T11" fmla="*/ 683 h 1888"/>
                <a:gd name="T12" fmla="*/ 1400 w 2034"/>
                <a:gd name="T13" fmla="*/ 468 h 1888"/>
                <a:gd name="T14" fmla="*/ 1356 w 2034"/>
                <a:gd name="T15" fmla="*/ 468 h 1888"/>
                <a:gd name="T16" fmla="*/ 1082 w 2034"/>
                <a:gd name="T17" fmla="*/ 683 h 1888"/>
                <a:gd name="T18" fmla="*/ 1037 w 2034"/>
                <a:gd name="T19" fmla="*/ 683 h 1888"/>
                <a:gd name="T20" fmla="*/ 1037 w 2034"/>
                <a:gd name="T21" fmla="*/ 468 h 1888"/>
                <a:gd name="T22" fmla="*/ 992 w 2034"/>
                <a:gd name="T23" fmla="*/ 468 h 1888"/>
                <a:gd name="T24" fmla="*/ 718 w 2034"/>
                <a:gd name="T25" fmla="*/ 683 h 1888"/>
                <a:gd name="T26" fmla="*/ 276 w 2034"/>
                <a:gd name="T27" fmla="*/ 683 h 1888"/>
                <a:gd name="T28" fmla="*/ 276 w 2034"/>
                <a:gd name="T29" fmla="*/ 1888 h 1888"/>
                <a:gd name="T30" fmla="*/ 1542 w 2034"/>
                <a:gd name="T31" fmla="*/ 1888 h 1888"/>
                <a:gd name="T32" fmla="*/ 1762 w 2034"/>
                <a:gd name="T33" fmla="*/ 1888 h 1888"/>
                <a:gd name="T34" fmla="*/ 2034 w 2034"/>
                <a:gd name="T35" fmla="*/ 1888 h 1888"/>
                <a:gd name="T36" fmla="*/ 2034 w 2034"/>
                <a:gd name="T37" fmla="*/ 917 h 1888"/>
                <a:gd name="T38" fmla="*/ 2034 w 2034"/>
                <a:gd name="T39" fmla="*/ 839 h 1888"/>
                <a:gd name="T40" fmla="*/ 1837 w 2034"/>
                <a:gd name="T41" fmla="*/ 712 h 1888"/>
                <a:gd name="T42" fmla="*/ 61 w 2034"/>
                <a:gd name="T43" fmla="*/ 0 h 1888"/>
                <a:gd name="T44" fmla="*/ 307 w 2034"/>
                <a:gd name="T45" fmla="*/ 0 h 1888"/>
                <a:gd name="T46" fmla="*/ 371 w 2034"/>
                <a:gd name="T47" fmla="*/ 1888 h 1888"/>
                <a:gd name="T48" fmla="*/ 0 w 2034"/>
                <a:gd name="T49" fmla="*/ 1888 h 1888"/>
                <a:gd name="T50" fmla="*/ 61 w 2034"/>
                <a:gd name="T51" fmla="*/ 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34" h="1888">
                  <a:moveTo>
                    <a:pt x="1837" y="712"/>
                  </a:moveTo>
                  <a:lnTo>
                    <a:pt x="1762" y="712"/>
                  </a:lnTo>
                  <a:lnTo>
                    <a:pt x="1762" y="468"/>
                  </a:lnTo>
                  <a:lnTo>
                    <a:pt x="1717" y="468"/>
                  </a:lnTo>
                  <a:lnTo>
                    <a:pt x="1445" y="683"/>
                  </a:lnTo>
                  <a:lnTo>
                    <a:pt x="1400" y="683"/>
                  </a:lnTo>
                  <a:lnTo>
                    <a:pt x="1400" y="468"/>
                  </a:lnTo>
                  <a:lnTo>
                    <a:pt x="1356" y="468"/>
                  </a:lnTo>
                  <a:lnTo>
                    <a:pt x="1082" y="683"/>
                  </a:lnTo>
                  <a:lnTo>
                    <a:pt x="1037" y="683"/>
                  </a:lnTo>
                  <a:lnTo>
                    <a:pt x="1037" y="468"/>
                  </a:lnTo>
                  <a:lnTo>
                    <a:pt x="992" y="468"/>
                  </a:lnTo>
                  <a:lnTo>
                    <a:pt x="718" y="683"/>
                  </a:lnTo>
                  <a:lnTo>
                    <a:pt x="276" y="683"/>
                  </a:lnTo>
                  <a:lnTo>
                    <a:pt x="276" y="1888"/>
                  </a:lnTo>
                  <a:lnTo>
                    <a:pt x="1542" y="1888"/>
                  </a:lnTo>
                  <a:lnTo>
                    <a:pt x="1762" y="1888"/>
                  </a:lnTo>
                  <a:lnTo>
                    <a:pt x="2034" y="1888"/>
                  </a:lnTo>
                  <a:lnTo>
                    <a:pt x="2034" y="917"/>
                  </a:lnTo>
                  <a:lnTo>
                    <a:pt x="2034" y="839"/>
                  </a:lnTo>
                  <a:lnTo>
                    <a:pt x="1837" y="712"/>
                  </a:lnTo>
                  <a:close/>
                  <a:moveTo>
                    <a:pt x="61" y="0"/>
                  </a:moveTo>
                  <a:lnTo>
                    <a:pt x="307" y="0"/>
                  </a:lnTo>
                  <a:lnTo>
                    <a:pt x="371" y="1888"/>
                  </a:lnTo>
                  <a:lnTo>
                    <a:pt x="0" y="1888"/>
                  </a:lnTo>
                  <a:lnTo>
                    <a:pt x="61" y="0"/>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1" name="Freeform 127"/>
            <p:cNvSpPr>
              <a:spLocks/>
            </p:cNvSpPr>
            <p:nvPr/>
          </p:nvSpPr>
          <p:spPr bwMode="auto">
            <a:xfrm>
              <a:off x="-3241675" y="-3082925"/>
              <a:ext cx="671513" cy="1260475"/>
            </a:xfrm>
            <a:custGeom>
              <a:avLst/>
              <a:gdLst>
                <a:gd name="T0" fmla="*/ 423 w 423"/>
                <a:gd name="T1" fmla="*/ 0 h 794"/>
                <a:gd name="T2" fmla="*/ 192 w 423"/>
                <a:gd name="T3" fmla="*/ 0 h 794"/>
                <a:gd name="T4" fmla="*/ 0 w 423"/>
                <a:gd name="T5" fmla="*/ 237 h 794"/>
                <a:gd name="T6" fmla="*/ 0 w 423"/>
                <a:gd name="T7" fmla="*/ 794 h 794"/>
                <a:gd name="T8" fmla="*/ 423 w 423"/>
                <a:gd name="T9" fmla="*/ 794 h 794"/>
                <a:gd name="T10" fmla="*/ 423 w 423"/>
                <a:gd name="T11" fmla="*/ 0 h 794"/>
              </a:gdLst>
              <a:ahLst/>
              <a:cxnLst>
                <a:cxn ang="0">
                  <a:pos x="T0" y="T1"/>
                </a:cxn>
                <a:cxn ang="0">
                  <a:pos x="T2" y="T3"/>
                </a:cxn>
                <a:cxn ang="0">
                  <a:pos x="T4" y="T5"/>
                </a:cxn>
                <a:cxn ang="0">
                  <a:pos x="T6" y="T7"/>
                </a:cxn>
                <a:cxn ang="0">
                  <a:pos x="T8" y="T9"/>
                </a:cxn>
                <a:cxn ang="0">
                  <a:pos x="T10" y="T11"/>
                </a:cxn>
              </a:cxnLst>
              <a:rect l="0" t="0" r="r" b="b"/>
              <a:pathLst>
                <a:path w="423" h="794">
                  <a:moveTo>
                    <a:pt x="423" y="0"/>
                  </a:moveTo>
                  <a:lnTo>
                    <a:pt x="192" y="0"/>
                  </a:lnTo>
                  <a:lnTo>
                    <a:pt x="0" y="237"/>
                  </a:lnTo>
                  <a:lnTo>
                    <a:pt x="0" y="794"/>
                  </a:lnTo>
                  <a:lnTo>
                    <a:pt x="423" y="794"/>
                  </a:lnTo>
                  <a:lnTo>
                    <a:pt x="42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05" name="Rectangle 131"/>
            <p:cNvSpPr>
              <a:spLocks noChangeArrowheads="1"/>
            </p:cNvSpPr>
            <p:nvPr/>
          </p:nvSpPr>
          <p:spPr bwMode="auto">
            <a:xfrm>
              <a:off x="-2225675" y="-2632075"/>
              <a:ext cx="1965325" cy="295275"/>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6" name="Freeform 132"/>
            <p:cNvSpPr>
              <a:spLocks/>
            </p:cNvSpPr>
            <p:nvPr/>
          </p:nvSpPr>
          <p:spPr bwMode="auto">
            <a:xfrm>
              <a:off x="-7731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7" name="Line 133"/>
            <p:cNvSpPr>
              <a:spLocks noChangeShapeType="1"/>
            </p:cNvSpPr>
            <p:nvPr/>
          </p:nvSpPr>
          <p:spPr bwMode="auto">
            <a:xfrm>
              <a:off x="-773113" y="-2632075"/>
              <a:ext cx="0" cy="212725"/>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8" name="Freeform 134"/>
            <p:cNvSpPr>
              <a:spLocks/>
            </p:cNvSpPr>
            <p:nvPr/>
          </p:nvSpPr>
          <p:spPr bwMode="auto">
            <a:xfrm>
              <a:off x="-1711325"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9" name="Line 135"/>
            <p:cNvSpPr>
              <a:spLocks noChangeShapeType="1"/>
            </p:cNvSpPr>
            <p:nvPr/>
          </p:nvSpPr>
          <p:spPr bwMode="auto">
            <a:xfrm>
              <a:off x="-1711325" y="-2632075"/>
              <a:ext cx="0" cy="212725"/>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0" name="Freeform 136"/>
            <p:cNvSpPr>
              <a:spLocks/>
            </p:cNvSpPr>
            <p:nvPr/>
          </p:nvSpPr>
          <p:spPr bwMode="auto">
            <a:xfrm>
              <a:off x="-1243013" y="-2632075"/>
              <a:ext cx="0" cy="212725"/>
            </a:xfrm>
            <a:custGeom>
              <a:avLst/>
              <a:gdLst>
                <a:gd name="T0" fmla="*/ 0 h 134"/>
                <a:gd name="T1" fmla="*/ 134 h 134"/>
                <a:gd name="T2" fmla="*/ 0 h 134"/>
              </a:gdLst>
              <a:ahLst/>
              <a:cxnLst>
                <a:cxn ang="0">
                  <a:pos x="0" y="T0"/>
                </a:cxn>
                <a:cxn ang="0">
                  <a:pos x="0" y="T1"/>
                </a:cxn>
                <a:cxn ang="0">
                  <a:pos x="0" y="T2"/>
                </a:cxn>
              </a:cxnLst>
              <a:rect l="0" t="0" r="r" b="b"/>
              <a:pathLst>
                <a:path h="134">
                  <a:moveTo>
                    <a:pt x="0" y="0"/>
                  </a:moveTo>
                  <a:lnTo>
                    <a:pt x="0" y="134"/>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1" name="Line 137"/>
            <p:cNvSpPr>
              <a:spLocks noChangeShapeType="1"/>
            </p:cNvSpPr>
            <p:nvPr/>
          </p:nvSpPr>
          <p:spPr bwMode="auto">
            <a:xfrm>
              <a:off x="-1243013" y="-2632075"/>
              <a:ext cx="0" cy="212725"/>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2" name="Rectangle 138"/>
            <p:cNvSpPr>
              <a:spLocks noChangeArrowheads="1"/>
            </p:cNvSpPr>
            <p:nvPr/>
          </p:nvSpPr>
          <p:spPr bwMode="auto">
            <a:xfrm>
              <a:off x="-2225675" y="-2336800"/>
              <a:ext cx="1965325" cy="293688"/>
            </a:xfrm>
            <a:prstGeom prst="rect">
              <a:avLst/>
            </a:prstGeom>
            <a:solidFill>
              <a:srgbClr val="FFFFFF"/>
            </a:soli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3" name="Freeform 139"/>
            <p:cNvSpPr>
              <a:spLocks/>
            </p:cNvSpPr>
            <p:nvPr/>
          </p:nvSpPr>
          <p:spPr bwMode="auto">
            <a:xfrm>
              <a:off x="-7731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4" name="Line 140"/>
            <p:cNvSpPr>
              <a:spLocks noChangeShapeType="1"/>
            </p:cNvSpPr>
            <p:nvPr/>
          </p:nvSpPr>
          <p:spPr bwMode="auto">
            <a:xfrm>
              <a:off x="-773113" y="-2336800"/>
              <a:ext cx="0" cy="211138"/>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5" name="Freeform 141"/>
            <p:cNvSpPr>
              <a:spLocks/>
            </p:cNvSpPr>
            <p:nvPr/>
          </p:nvSpPr>
          <p:spPr bwMode="auto">
            <a:xfrm>
              <a:off x="-1711325"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6" name="Line 142"/>
            <p:cNvSpPr>
              <a:spLocks noChangeShapeType="1"/>
            </p:cNvSpPr>
            <p:nvPr/>
          </p:nvSpPr>
          <p:spPr bwMode="auto">
            <a:xfrm>
              <a:off x="-1711325" y="-2336800"/>
              <a:ext cx="0" cy="211138"/>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7" name="Freeform 143"/>
            <p:cNvSpPr>
              <a:spLocks/>
            </p:cNvSpPr>
            <p:nvPr/>
          </p:nvSpPr>
          <p:spPr bwMode="auto">
            <a:xfrm>
              <a:off x="-1243013" y="-2336800"/>
              <a:ext cx="0" cy="211138"/>
            </a:xfrm>
            <a:custGeom>
              <a:avLst/>
              <a:gdLst>
                <a:gd name="T0" fmla="*/ 0 h 133"/>
                <a:gd name="T1" fmla="*/ 133 h 133"/>
                <a:gd name="T2" fmla="*/ 0 h 133"/>
              </a:gdLst>
              <a:ahLst/>
              <a:cxnLst>
                <a:cxn ang="0">
                  <a:pos x="0" y="T0"/>
                </a:cxn>
                <a:cxn ang="0">
                  <a:pos x="0" y="T1"/>
                </a:cxn>
                <a:cxn ang="0">
                  <a:pos x="0" y="T2"/>
                </a:cxn>
              </a:cxnLst>
              <a:rect l="0" t="0" r="r" b="b"/>
              <a:pathLst>
                <a:path h="133">
                  <a:moveTo>
                    <a:pt x="0" y="0"/>
                  </a:moveTo>
                  <a:lnTo>
                    <a:pt x="0" y="133"/>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8" name="Line 144"/>
            <p:cNvSpPr>
              <a:spLocks noChangeShapeType="1"/>
            </p:cNvSpPr>
            <p:nvPr/>
          </p:nvSpPr>
          <p:spPr bwMode="auto">
            <a:xfrm>
              <a:off x="-1243013" y="-2336800"/>
              <a:ext cx="0" cy="211138"/>
            </a:xfrm>
            <a:prstGeom prst="line">
              <a:avLst/>
            </a:prstGeom>
            <a:noFill/>
            <a:ln w="6350" cap="flat">
              <a:solidFill>
                <a:schemeClr val="accent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0" name="Freeform 146"/>
            <p:cNvSpPr>
              <a:spLocks/>
            </p:cNvSpPr>
            <p:nvPr/>
          </p:nvSpPr>
          <p:spPr bwMode="auto">
            <a:xfrm>
              <a:off x="-2374900" y="-6342063"/>
              <a:ext cx="2744788" cy="1181100"/>
            </a:xfrm>
            <a:custGeom>
              <a:avLst/>
              <a:gdLst>
                <a:gd name="T0" fmla="*/ 1729 w 1729"/>
                <a:gd name="T1" fmla="*/ 76 h 744"/>
                <a:gd name="T2" fmla="*/ 1472 w 1729"/>
                <a:gd name="T3" fmla="*/ 333 h 744"/>
                <a:gd name="T4" fmla="*/ 810 w 1729"/>
                <a:gd name="T5" fmla="*/ 333 h 744"/>
                <a:gd name="T6" fmla="*/ 477 w 1729"/>
                <a:gd name="T7" fmla="*/ 0 h 744"/>
                <a:gd name="T8" fmla="*/ 340 w 1729"/>
                <a:gd name="T9" fmla="*/ 0 h 744"/>
                <a:gd name="T10" fmla="*/ 227 w 1729"/>
                <a:gd name="T11" fmla="*/ 114 h 744"/>
                <a:gd name="T12" fmla="*/ 227 w 1729"/>
                <a:gd name="T13" fmla="*/ 272 h 744"/>
                <a:gd name="T14" fmla="*/ 0 w 1729"/>
                <a:gd name="T15" fmla="*/ 499 h 744"/>
                <a:gd name="T16" fmla="*/ 0 w 1729"/>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9" h="744">
                  <a:moveTo>
                    <a:pt x="1729" y="76"/>
                  </a:moveTo>
                  <a:lnTo>
                    <a:pt x="1472" y="333"/>
                  </a:lnTo>
                  <a:lnTo>
                    <a:pt x="810" y="333"/>
                  </a:lnTo>
                  <a:lnTo>
                    <a:pt x="477" y="0"/>
                  </a:lnTo>
                  <a:lnTo>
                    <a:pt x="340" y="0"/>
                  </a:lnTo>
                  <a:lnTo>
                    <a:pt x="227" y="114"/>
                  </a:lnTo>
                  <a:lnTo>
                    <a:pt x="227" y="272"/>
                  </a:lnTo>
                  <a:lnTo>
                    <a:pt x="0" y="499"/>
                  </a:lnTo>
                  <a:lnTo>
                    <a:pt x="0" y="744"/>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1" name="Freeform 147"/>
            <p:cNvSpPr>
              <a:spLocks/>
            </p:cNvSpPr>
            <p:nvPr/>
          </p:nvSpPr>
          <p:spPr bwMode="auto">
            <a:xfrm>
              <a:off x="-2536825" y="-7005638"/>
              <a:ext cx="3371850" cy="1844675"/>
            </a:xfrm>
            <a:custGeom>
              <a:avLst/>
              <a:gdLst>
                <a:gd name="T0" fmla="*/ 0 w 2124"/>
                <a:gd name="T1" fmla="*/ 1162 h 1162"/>
                <a:gd name="T2" fmla="*/ 0 w 2124"/>
                <a:gd name="T3" fmla="*/ 784 h 1162"/>
                <a:gd name="T4" fmla="*/ 156 w 2124"/>
                <a:gd name="T5" fmla="*/ 631 h 1162"/>
                <a:gd name="T6" fmla="*/ 156 w 2124"/>
                <a:gd name="T7" fmla="*/ 383 h 1162"/>
                <a:gd name="T8" fmla="*/ 371 w 2124"/>
                <a:gd name="T9" fmla="*/ 168 h 1162"/>
                <a:gd name="T10" fmla="*/ 598 w 2124"/>
                <a:gd name="T11" fmla="*/ 168 h 1162"/>
                <a:gd name="T12" fmla="*/ 766 w 2124"/>
                <a:gd name="T13" fmla="*/ 0 h 1162"/>
                <a:gd name="T14" fmla="*/ 2124 w 2124"/>
                <a:gd name="T15" fmla="*/ 0 h 1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4" h="1162">
                  <a:moveTo>
                    <a:pt x="0" y="1162"/>
                  </a:moveTo>
                  <a:lnTo>
                    <a:pt x="0" y="784"/>
                  </a:lnTo>
                  <a:lnTo>
                    <a:pt x="156" y="631"/>
                  </a:lnTo>
                  <a:lnTo>
                    <a:pt x="156" y="383"/>
                  </a:lnTo>
                  <a:lnTo>
                    <a:pt x="371" y="168"/>
                  </a:lnTo>
                  <a:lnTo>
                    <a:pt x="598" y="168"/>
                  </a:lnTo>
                  <a:lnTo>
                    <a:pt x="766" y="0"/>
                  </a:lnTo>
                  <a:lnTo>
                    <a:pt x="2124"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2" name="Freeform 148"/>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 name="T6" fmla="*/ 0 w 418"/>
                <a:gd name="T7" fmla="*/ 585 h 585"/>
              </a:gdLst>
              <a:ahLst/>
              <a:cxnLst>
                <a:cxn ang="0">
                  <a:pos x="T0" y="T1"/>
                </a:cxn>
                <a:cxn ang="0">
                  <a:pos x="T2" y="T3"/>
                </a:cxn>
                <a:cxn ang="0">
                  <a:pos x="T4" y="T5"/>
                </a:cxn>
                <a:cxn ang="0">
                  <a:pos x="T6" y="T7"/>
                </a:cxn>
              </a:cxnLst>
              <a:rect l="0" t="0" r="r" b="b"/>
              <a:pathLst>
                <a:path w="418" h="585">
                  <a:moveTo>
                    <a:pt x="0" y="585"/>
                  </a:moveTo>
                  <a:lnTo>
                    <a:pt x="0" y="418"/>
                  </a:lnTo>
                  <a:lnTo>
                    <a:pt x="418" y="0"/>
                  </a:lnTo>
                  <a:lnTo>
                    <a:pt x="0" y="585"/>
                  </a:lnTo>
                  <a:close/>
                </a:path>
              </a:pathLst>
            </a:custGeom>
            <a:noFill/>
            <a:ln w="3175">
              <a:solidFill>
                <a:schemeClr val="accent3"/>
              </a:solidFill>
            </a:ln>
          </p:spPr>
          <p:txBody>
            <a:bodyPr vert="horz" wrap="square" lIns="91440" tIns="45720" rIns="91440" bIns="45720" numCol="1" anchor="t" anchorCtr="0" compatLnSpc="1">
              <a:prstTxWarp prst="textNoShape">
                <a:avLst/>
              </a:prstTxWarp>
            </a:bodyPr>
            <a:lstStyle/>
            <a:p>
              <a:endParaRPr lang="de-DE"/>
            </a:p>
          </p:txBody>
        </p:sp>
        <p:sp>
          <p:nvSpPr>
            <p:cNvPr id="523" name="Freeform 149"/>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9525">
              <a:solidFill>
                <a:schemeClr val="accent3"/>
              </a:solidFill>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6" name="Freeform 150"/>
            <p:cNvSpPr>
              <a:spLocks/>
            </p:cNvSpPr>
            <p:nvPr/>
          </p:nvSpPr>
          <p:spPr bwMode="auto">
            <a:xfrm>
              <a:off x="-2209800" y="-6089650"/>
              <a:ext cx="663575" cy="928688"/>
            </a:xfrm>
            <a:custGeom>
              <a:avLst/>
              <a:gdLst>
                <a:gd name="T0" fmla="*/ 0 w 418"/>
                <a:gd name="T1" fmla="*/ 585 h 585"/>
                <a:gd name="T2" fmla="*/ 0 w 418"/>
                <a:gd name="T3" fmla="*/ 418 h 585"/>
                <a:gd name="T4" fmla="*/ 418 w 418"/>
                <a:gd name="T5" fmla="*/ 0 h 585"/>
              </a:gdLst>
              <a:ahLst/>
              <a:cxnLst>
                <a:cxn ang="0">
                  <a:pos x="T0" y="T1"/>
                </a:cxn>
                <a:cxn ang="0">
                  <a:pos x="T2" y="T3"/>
                </a:cxn>
                <a:cxn ang="0">
                  <a:pos x="T4" y="T5"/>
                </a:cxn>
              </a:cxnLst>
              <a:rect l="0" t="0" r="r" b="b"/>
              <a:pathLst>
                <a:path w="418" h="585">
                  <a:moveTo>
                    <a:pt x="0" y="585"/>
                  </a:moveTo>
                  <a:lnTo>
                    <a:pt x="0" y="418"/>
                  </a:lnTo>
                  <a:lnTo>
                    <a:pt x="418"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7" name="Freeform 151"/>
            <p:cNvSpPr>
              <a:spLocks/>
            </p:cNvSpPr>
            <p:nvPr/>
          </p:nvSpPr>
          <p:spPr bwMode="auto">
            <a:xfrm>
              <a:off x="-1366838" y="-6484938"/>
              <a:ext cx="1328738" cy="263525"/>
            </a:xfrm>
            <a:custGeom>
              <a:avLst/>
              <a:gdLst>
                <a:gd name="T0" fmla="*/ 0 w 837"/>
                <a:gd name="T1" fmla="*/ 135 h 166"/>
                <a:gd name="T2" fmla="*/ 135 w 837"/>
                <a:gd name="T3" fmla="*/ 0 h 166"/>
                <a:gd name="T4" fmla="*/ 393 w 837"/>
                <a:gd name="T5" fmla="*/ 0 h 166"/>
                <a:gd name="T6" fmla="*/ 560 w 837"/>
                <a:gd name="T7" fmla="*/ 166 h 166"/>
                <a:gd name="T8" fmla="*/ 837 w 837"/>
                <a:gd name="T9" fmla="*/ 166 h 166"/>
              </a:gdLst>
              <a:ahLst/>
              <a:cxnLst>
                <a:cxn ang="0">
                  <a:pos x="T0" y="T1"/>
                </a:cxn>
                <a:cxn ang="0">
                  <a:pos x="T2" y="T3"/>
                </a:cxn>
                <a:cxn ang="0">
                  <a:pos x="T4" y="T5"/>
                </a:cxn>
                <a:cxn ang="0">
                  <a:pos x="T6" y="T7"/>
                </a:cxn>
                <a:cxn ang="0">
                  <a:pos x="T8" y="T9"/>
                </a:cxn>
              </a:cxnLst>
              <a:rect l="0" t="0" r="r" b="b"/>
              <a:pathLst>
                <a:path w="837" h="166">
                  <a:moveTo>
                    <a:pt x="0" y="135"/>
                  </a:moveTo>
                  <a:lnTo>
                    <a:pt x="135" y="0"/>
                  </a:lnTo>
                  <a:lnTo>
                    <a:pt x="393" y="0"/>
                  </a:lnTo>
                  <a:lnTo>
                    <a:pt x="560" y="166"/>
                  </a:lnTo>
                  <a:lnTo>
                    <a:pt x="837" y="166"/>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8" name="Freeform 152"/>
            <p:cNvSpPr>
              <a:spLocks/>
            </p:cNvSpPr>
            <p:nvPr/>
          </p:nvSpPr>
          <p:spPr bwMode="auto">
            <a:xfrm>
              <a:off x="-522288" y="-6724650"/>
              <a:ext cx="1065213" cy="280988"/>
            </a:xfrm>
            <a:custGeom>
              <a:avLst/>
              <a:gdLst>
                <a:gd name="T0" fmla="*/ 0 w 671"/>
                <a:gd name="T1" fmla="*/ 177 h 177"/>
                <a:gd name="T2" fmla="*/ 177 w 671"/>
                <a:gd name="T3" fmla="*/ 0 h 177"/>
                <a:gd name="T4" fmla="*/ 671 w 671"/>
                <a:gd name="T5" fmla="*/ 0 h 177"/>
              </a:gdLst>
              <a:ahLst/>
              <a:cxnLst>
                <a:cxn ang="0">
                  <a:pos x="T0" y="T1"/>
                </a:cxn>
                <a:cxn ang="0">
                  <a:pos x="T2" y="T3"/>
                </a:cxn>
                <a:cxn ang="0">
                  <a:pos x="T4" y="T5"/>
                </a:cxn>
              </a:cxnLst>
              <a:rect l="0" t="0" r="r" b="b"/>
              <a:pathLst>
                <a:path w="671" h="177">
                  <a:moveTo>
                    <a:pt x="0" y="177"/>
                  </a:moveTo>
                  <a:lnTo>
                    <a:pt x="177" y="0"/>
                  </a:lnTo>
                  <a:lnTo>
                    <a:pt x="671"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9" name="Freeform 153"/>
            <p:cNvSpPr>
              <a:spLocks/>
            </p:cNvSpPr>
            <p:nvPr/>
          </p:nvSpPr>
          <p:spPr bwMode="auto">
            <a:xfrm>
              <a:off x="-4137025" y="-7319963"/>
              <a:ext cx="2106613" cy="2782888"/>
            </a:xfrm>
            <a:custGeom>
              <a:avLst/>
              <a:gdLst>
                <a:gd name="T0" fmla="*/ 210 w 1327"/>
                <a:gd name="T1" fmla="*/ 1753 h 1753"/>
                <a:gd name="T2" fmla="*/ 210 w 1327"/>
                <a:gd name="T3" fmla="*/ 1497 h 1753"/>
                <a:gd name="T4" fmla="*/ 0 w 1327"/>
                <a:gd name="T5" fmla="*/ 1287 h 1753"/>
                <a:gd name="T6" fmla="*/ 0 w 1327"/>
                <a:gd name="T7" fmla="*/ 713 h 1753"/>
                <a:gd name="T8" fmla="*/ 300 w 1327"/>
                <a:gd name="T9" fmla="*/ 413 h 1753"/>
                <a:gd name="T10" fmla="*/ 300 w 1327"/>
                <a:gd name="T11" fmla="*/ 184 h 1753"/>
                <a:gd name="T12" fmla="*/ 486 w 1327"/>
                <a:gd name="T13" fmla="*/ 0 h 1753"/>
                <a:gd name="T14" fmla="*/ 1327 w 1327"/>
                <a:gd name="T15" fmla="*/ 0 h 1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7" h="1753">
                  <a:moveTo>
                    <a:pt x="210" y="1753"/>
                  </a:moveTo>
                  <a:lnTo>
                    <a:pt x="210" y="1497"/>
                  </a:lnTo>
                  <a:lnTo>
                    <a:pt x="0" y="1287"/>
                  </a:lnTo>
                  <a:lnTo>
                    <a:pt x="0" y="713"/>
                  </a:lnTo>
                  <a:lnTo>
                    <a:pt x="300" y="413"/>
                  </a:lnTo>
                  <a:lnTo>
                    <a:pt x="300" y="184"/>
                  </a:lnTo>
                  <a:lnTo>
                    <a:pt x="486" y="0"/>
                  </a:lnTo>
                  <a:lnTo>
                    <a:pt x="1327"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0" name="Freeform 154"/>
            <p:cNvSpPr>
              <a:spLocks/>
            </p:cNvSpPr>
            <p:nvPr/>
          </p:nvSpPr>
          <p:spPr bwMode="auto">
            <a:xfrm>
              <a:off x="-3552825" y="-6270625"/>
              <a:ext cx="393700" cy="1733550"/>
            </a:xfrm>
            <a:custGeom>
              <a:avLst/>
              <a:gdLst>
                <a:gd name="T0" fmla="*/ 0 w 248"/>
                <a:gd name="T1" fmla="*/ 1092 h 1092"/>
                <a:gd name="T2" fmla="*/ 0 w 248"/>
                <a:gd name="T3" fmla="*/ 629 h 1092"/>
                <a:gd name="T4" fmla="*/ 248 w 248"/>
                <a:gd name="T5" fmla="*/ 380 h 1092"/>
                <a:gd name="T6" fmla="*/ 248 w 248"/>
                <a:gd name="T7" fmla="*/ 0 h 1092"/>
              </a:gdLst>
              <a:ahLst/>
              <a:cxnLst>
                <a:cxn ang="0">
                  <a:pos x="T0" y="T1"/>
                </a:cxn>
                <a:cxn ang="0">
                  <a:pos x="T2" y="T3"/>
                </a:cxn>
                <a:cxn ang="0">
                  <a:pos x="T4" y="T5"/>
                </a:cxn>
                <a:cxn ang="0">
                  <a:pos x="T6" y="T7"/>
                </a:cxn>
              </a:cxnLst>
              <a:rect l="0" t="0" r="r" b="b"/>
              <a:pathLst>
                <a:path w="248" h="1092">
                  <a:moveTo>
                    <a:pt x="0" y="1092"/>
                  </a:moveTo>
                  <a:lnTo>
                    <a:pt x="0" y="629"/>
                  </a:lnTo>
                  <a:lnTo>
                    <a:pt x="248" y="380"/>
                  </a:lnTo>
                  <a:lnTo>
                    <a:pt x="248"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1" name="Freeform 155"/>
            <p:cNvSpPr>
              <a:spLocks/>
            </p:cNvSpPr>
            <p:nvPr/>
          </p:nvSpPr>
          <p:spPr bwMode="auto">
            <a:xfrm>
              <a:off x="-3162300" y="-6548438"/>
              <a:ext cx="325438" cy="2011363"/>
            </a:xfrm>
            <a:custGeom>
              <a:avLst/>
              <a:gdLst>
                <a:gd name="T0" fmla="*/ 9 w 205"/>
                <a:gd name="T1" fmla="*/ 1267 h 1267"/>
                <a:gd name="T2" fmla="*/ 9 w 205"/>
                <a:gd name="T3" fmla="*/ 931 h 1267"/>
                <a:gd name="T4" fmla="*/ 205 w 205"/>
                <a:gd name="T5" fmla="*/ 733 h 1267"/>
                <a:gd name="T6" fmla="*/ 205 w 205"/>
                <a:gd name="T7" fmla="*/ 206 h 1267"/>
                <a:gd name="T8" fmla="*/ 0 w 205"/>
                <a:gd name="T9" fmla="*/ 0 h 1267"/>
              </a:gdLst>
              <a:ahLst/>
              <a:cxnLst>
                <a:cxn ang="0">
                  <a:pos x="T0" y="T1"/>
                </a:cxn>
                <a:cxn ang="0">
                  <a:pos x="T2" y="T3"/>
                </a:cxn>
                <a:cxn ang="0">
                  <a:pos x="T4" y="T5"/>
                </a:cxn>
                <a:cxn ang="0">
                  <a:pos x="T6" y="T7"/>
                </a:cxn>
                <a:cxn ang="0">
                  <a:pos x="T8" y="T9"/>
                </a:cxn>
              </a:cxnLst>
              <a:rect l="0" t="0" r="r" b="b"/>
              <a:pathLst>
                <a:path w="205" h="1267">
                  <a:moveTo>
                    <a:pt x="9" y="1267"/>
                  </a:moveTo>
                  <a:lnTo>
                    <a:pt x="9" y="931"/>
                  </a:lnTo>
                  <a:lnTo>
                    <a:pt x="205" y="733"/>
                  </a:lnTo>
                  <a:lnTo>
                    <a:pt x="205" y="206"/>
                  </a:lnTo>
                  <a:lnTo>
                    <a:pt x="0"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2" name="Freeform 156"/>
            <p:cNvSpPr>
              <a:spLocks/>
            </p:cNvSpPr>
            <p:nvPr/>
          </p:nvSpPr>
          <p:spPr bwMode="auto">
            <a:xfrm>
              <a:off x="-3654425" y="-6945313"/>
              <a:ext cx="1054100" cy="1143000"/>
            </a:xfrm>
            <a:custGeom>
              <a:avLst/>
              <a:gdLst>
                <a:gd name="T0" fmla="*/ 0 w 664"/>
                <a:gd name="T1" fmla="*/ 720 h 720"/>
                <a:gd name="T2" fmla="*/ 0 w 664"/>
                <a:gd name="T3" fmla="*/ 425 h 720"/>
                <a:gd name="T4" fmla="*/ 426 w 664"/>
                <a:gd name="T5" fmla="*/ 0 h 720"/>
                <a:gd name="T6" fmla="*/ 664 w 664"/>
                <a:gd name="T7" fmla="*/ 0 h 720"/>
              </a:gdLst>
              <a:ahLst/>
              <a:cxnLst>
                <a:cxn ang="0">
                  <a:pos x="T0" y="T1"/>
                </a:cxn>
                <a:cxn ang="0">
                  <a:pos x="T2" y="T3"/>
                </a:cxn>
                <a:cxn ang="0">
                  <a:pos x="T4" y="T5"/>
                </a:cxn>
                <a:cxn ang="0">
                  <a:pos x="T6" y="T7"/>
                </a:cxn>
              </a:cxnLst>
              <a:rect l="0" t="0" r="r" b="b"/>
              <a:pathLst>
                <a:path w="664" h="720">
                  <a:moveTo>
                    <a:pt x="0" y="720"/>
                  </a:moveTo>
                  <a:lnTo>
                    <a:pt x="0" y="425"/>
                  </a:lnTo>
                  <a:lnTo>
                    <a:pt x="426" y="0"/>
                  </a:lnTo>
                  <a:lnTo>
                    <a:pt x="664"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6" name="Line 157"/>
            <p:cNvSpPr>
              <a:spLocks noChangeShapeType="1"/>
            </p:cNvSpPr>
            <p:nvPr/>
          </p:nvSpPr>
          <p:spPr bwMode="auto">
            <a:xfrm flipV="1">
              <a:off x="-2705100" y="-6323013"/>
              <a:ext cx="239713" cy="239713"/>
            </a:xfrm>
            <a:prstGeom prst="line">
              <a:avLst/>
            </a:prstGeom>
            <a:noFill/>
            <a:ln w="3175"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7" name="Freeform 158"/>
            <p:cNvSpPr>
              <a:spLocks/>
            </p:cNvSpPr>
            <p:nvPr/>
          </p:nvSpPr>
          <p:spPr bwMode="auto">
            <a:xfrm>
              <a:off x="-2911475" y="-6667500"/>
              <a:ext cx="685800" cy="195263"/>
            </a:xfrm>
            <a:custGeom>
              <a:avLst/>
              <a:gdLst>
                <a:gd name="T0" fmla="*/ 0 w 432"/>
                <a:gd name="T1" fmla="*/ 123 h 123"/>
                <a:gd name="T2" fmla="*/ 123 w 432"/>
                <a:gd name="T3" fmla="*/ 0 h 123"/>
                <a:gd name="T4" fmla="*/ 432 w 432"/>
                <a:gd name="T5" fmla="*/ 0 h 123"/>
              </a:gdLst>
              <a:ahLst/>
              <a:cxnLst>
                <a:cxn ang="0">
                  <a:pos x="T0" y="T1"/>
                </a:cxn>
                <a:cxn ang="0">
                  <a:pos x="T2" y="T3"/>
                </a:cxn>
                <a:cxn ang="0">
                  <a:pos x="T4" y="T5"/>
                </a:cxn>
              </a:cxnLst>
              <a:rect l="0" t="0" r="r" b="b"/>
              <a:pathLst>
                <a:path w="432" h="123">
                  <a:moveTo>
                    <a:pt x="0" y="123"/>
                  </a:moveTo>
                  <a:lnTo>
                    <a:pt x="123" y="0"/>
                  </a:lnTo>
                  <a:lnTo>
                    <a:pt x="432" y="0"/>
                  </a:lnTo>
                </a:path>
              </a:pathLst>
            </a:custGeom>
            <a:noFill/>
            <a:ln w="3175"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02" name="Freeform 128"/>
            <p:cNvSpPr>
              <a:spLocks/>
            </p:cNvSpPr>
            <p:nvPr/>
          </p:nvSpPr>
          <p:spPr bwMode="auto">
            <a:xfrm>
              <a:off x="-3079750" y="-5006975"/>
              <a:ext cx="1042988" cy="3184525"/>
            </a:xfrm>
            <a:custGeom>
              <a:avLst/>
              <a:gdLst>
                <a:gd name="T0" fmla="*/ 0 w 657"/>
                <a:gd name="T1" fmla="*/ 2006 h 2006"/>
                <a:gd name="T2" fmla="*/ 657 w 657"/>
                <a:gd name="T3" fmla="*/ 2006 h 2006"/>
                <a:gd name="T4" fmla="*/ 581 w 657"/>
                <a:gd name="T5" fmla="*/ 0 h 2006"/>
                <a:gd name="T6" fmla="*/ 309 w 657"/>
                <a:gd name="T7" fmla="*/ 0 h 2006"/>
                <a:gd name="T8" fmla="*/ 238 w 657"/>
                <a:gd name="T9" fmla="*/ 2006 h 2006"/>
                <a:gd name="T10" fmla="*/ 0 w 657"/>
                <a:gd name="T11" fmla="*/ 2006 h 2006"/>
              </a:gdLst>
              <a:ahLst/>
              <a:cxnLst>
                <a:cxn ang="0">
                  <a:pos x="T0" y="T1"/>
                </a:cxn>
                <a:cxn ang="0">
                  <a:pos x="T2" y="T3"/>
                </a:cxn>
                <a:cxn ang="0">
                  <a:pos x="T4" y="T5"/>
                </a:cxn>
                <a:cxn ang="0">
                  <a:pos x="T6" y="T7"/>
                </a:cxn>
                <a:cxn ang="0">
                  <a:pos x="T8" y="T9"/>
                </a:cxn>
                <a:cxn ang="0">
                  <a:pos x="T10" y="T11"/>
                </a:cxn>
              </a:cxnLst>
              <a:rect l="0" t="0" r="r" b="b"/>
              <a:pathLst>
                <a:path w="657" h="2006">
                  <a:moveTo>
                    <a:pt x="0" y="2006"/>
                  </a:moveTo>
                  <a:lnTo>
                    <a:pt x="657" y="2006"/>
                  </a:lnTo>
                  <a:lnTo>
                    <a:pt x="581" y="0"/>
                  </a:lnTo>
                  <a:lnTo>
                    <a:pt x="309" y="0"/>
                  </a:lnTo>
                  <a:lnTo>
                    <a:pt x="238" y="2006"/>
                  </a:lnTo>
                  <a:lnTo>
                    <a:pt x="0" y="200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19" name="Freeform 145"/>
            <p:cNvSpPr>
              <a:spLocks/>
            </p:cNvSpPr>
            <p:nvPr/>
          </p:nvSpPr>
          <p:spPr bwMode="auto">
            <a:xfrm>
              <a:off x="-2600325" y="-4811713"/>
              <a:ext cx="442913" cy="187325"/>
            </a:xfrm>
            <a:custGeom>
              <a:avLst/>
              <a:gdLst>
                <a:gd name="T0" fmla="*/ 3 w 279"/>
                <a:gd name="T1" fmla="*/ 0 h 118"/>
                <a:gd name="T2" fmla="*/ 274 w 279"/>
                <a:gd name="T3" fmla="*/ 0 h 118"/>
                <a:gd name="T4" fmla="*/ 279 w 279"/>
                <a:gd name="T5" fmla="*/ 118 h 118"/>
                <a:gd name="T6" fmla="*/ 0 w 279"/>
                <a:gd name="T7" fmla="*/ 118 h 118"/>
                <a:gd name="T8" fmla="*/ 3 w 279"/>
                <a:gd name="T9" fmla="*/ 0 h 118"/>
              </a:gdLst>
              <a:ahLst/>
              <a:cxnLst>
                <a:cxn ang="0">
                  <a:pos x="T0" y="T1"/>
                </a:cxn>
                <a:cxn ang="0">
                  <a:pos x="T2" y="T3"/>
                </a:cxn>
                <a:cxn ang="0">
                  <a:pos x="T4" y="T5"/>
                </a:cxn>
                <a:cxn ang="0">
                  <a:pos x="T6" y="T7"/>
                </a:cxn>
                <a:cxn ang="0">
                  <a:pos x="T8" y="T9"/>
                </a:cxn>
              </a:cxnLst>
              <a:rect l="0" t="0" r="r" b="b"/>
              <a:pathLst>
                <a:path w="279" h="118">
                  <a:moveTo>
                    <a:pt x="3" y="0"/>
                  </a:moveTo>
                  <a:lnTo>
                    <a:pt x="274" y="0"/>
                  </a:lnTo>
                  <a:lnTo>
                    <a:pt x="279" y="118"/>
                  </a:lnTo>
                  <a:lnTo>
                    <a:pt x="0" y="118"/>
                  </a:lnTo>
                  <a:lnTo>
                    <a:pt x="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8378" name="Group 48377"/>
          <p:cNvGrpSpPr/>
          <p:nvPr/>
        </p:nvGrpSpPr>
        <p:grpSpPr>
          <a:xfrm>
            <a:off x="3254346" y="5391937"/>
            <a:ext cx="800303" cy="751771"/>
            <a:chOff x="15122525" y="-6246254"/>
            <a:chExt cx="3952875" cy="3713163"/>
          </a:xfrm>
        </p:grpSpPr>
        <p:sp>
          <p:nvSpPr>
            <p:cNvPr id="538" name="Freeform 159"/>
            <p:cNvSpPr>
              <a:spLocks/>
            </p:cNvSpPr>
            <p:nvPr/>
          </p:nvSpPr>
          <p:spPr bwMode="auto">
            <a:xfrm>
              <a:off x="15122525" y="-5280025"/>
              <a:ext cx="1690688" cy="2719388"/>
            </a:xfrm>
            <a:custGeom>
              <a:avLst/>
              <a:gdLst>
                <a:gd name="T0" fmla="*/ 289 w 451"/>
                <a:gd name="T1" fmla="*/ 664 h 725"/>
                <a:gd name="T2" fmla="*/ 292 w 451"/>
                <a:gd name="T3" fmla="*/ 658 h 725"/>
                <a:gd name="T4" fmla="*/ 451 w 451"/>
                <a:gd name="T5" fmla="*/ 0 h 725"/>
                <a:gd name="T6" fmla="*/ 143 w 451"/>
                <a:gd name="T7" fmla="*/ 0 h 725"/>
                <a:gd name="T8" fmla="*/ 0 w 451"/>
                <a:gd name="T9" fmla="*/ 677 h 725"/>
                <a:gd name="T10" fmla="*/ 0 w 451"/>
                <a:gd name="T11" fmla="*/ 725 h 725"/>
                <a:gd name="T12" fmla="*/ 289 w 451"/>
                <a:gd name="T13" fmla="*/ 725 h 725"/>
                <a:gd name="T14" fmla="*/ 289 w 451"/>
                <a:gd name="T15" fmla="*/ 664 h 7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725">
                  <a:moveTo>
                    <a:pt x="289" y="664"/>
                  </a:moveTo>
                  <a:cubicBezTo>
                    <a:pt x="292" y="658"/>
                    <a:pt x="292" y="658"/>
                    <a:pt x="292" y="658"/>
                  </a:cubicBezTo>
                  <a:cubicBezTo>
                    <a:pt x="435" y="385"/>
                    <a:pt x="450" y="161"/>
                    <a:pt x="451" y="0"/>
                  </a:cubicBezTo>
                  <a:cubicBezTo>
                    <a:pt x="143" y="0"/>
                    <a:pt x="143" y="0"/>
                    <a:pt x="143" y="0"/>
                  </a:cubicBezTo>
                  <a:cubicBezTo>
                    <a:pt x="143" y="150"/>
                    <a:pt x="155" y="380"/>
                    <a:pt x="0" y="677"/>
                  </a:cubicBezTo>
                  <a:cubicBezTo>
                    <a:pt x="0" y="725"/>
                    <a:pt x="0" y="725"/>
                    <a:pt x="0" y="725"/>
                  </a:cubicBezTo>
                  <a:cubicBezTo>
                    <a:pt x="289" y="725"/>
                    <a:pt x="289" y="725"/>
                    <a:pt x="289" y="725"/>
                  </a:cubicBezTo>
                  <a:lnTo>
                    <a:pt x="289" y="664"/>
                  </a:lnTo>
                  <a:close/>
                </a:path>
              </a:pathLst>
            </a:custGeom>
            <a:solidFill>
              <a:srgbClr val="FFFFFF"/>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45" name="Freeform 160"/>
            <p:cNvSpPr>
              <a:spLocks/>
            </p:cNvSpPr>
            <p:nvPr/>
          </p:nvSpPr>
          <p:spPr bwMode="auto">
            <a:xfrm>
              <a:off x="18430876" y="-6246254"/>
              <a:ext cx="644524" cy="3713163"/>
            </a:xfrm>
            <a:custGeom>
              <a:avLst/>
              <a:gdLst>
                <a:gd name="T0" fmla="*/ 172 w 172"/>
                <a:gd name="T1" fmla="*/ 88 h 990"/>
                <a:gd name="T2" fmla="*/ 172 w 172"/>
                <a:gd name="T3" fmla="*/ 69 h 990"/>
                <a:gd name="T4" fmla="*/ 153 w 172"/>
                <a:gd name="T5" fmla="*/ 69 h 990"/>
                <a:gd name="T6" fmla="*/ 153 w 172"/>
                <a:gd name="T7" fmla="*/ 0 h 990"/>
                <a:gd name="T8" fmla="*/ 19 w 172"/>
                <a:gd name="T9" fmla="*/ 0 h 990"/>
                <a:gd name="T10" fmla="*/ 19 w 172"/>
                <a:gd name="T11" fmla="*/ 69 h 990"/>
                <a:gd name="T12" fmla="*/ 0 w 172"/>
                <a:gd name="T13" fmla="*/ 69 h 990"/>
                <a:gd name="T14" fmla="*/ 0 w 172"/>
                <a:gd name="T15" fmla="*/ 88 h 990"/>
                <a:gd name="T16" fmla="*/ 38 w 172"/>
                <a:gd name="T17" fmla="*/ 88 h 990"/>
                <a:gd name="T18" fmla="*/ 38 w 172"/>
                <a:gd name="T19" fmla="*/ 107 h 990"/>
                <a:gd name="T20" fmla="*/ 0 w 172"/>
                <a:gd name="T21" fmla="*/ 107 h 990"/>
                <a:gd name="T22" fmla="*/ 0 w 172"/>
                <a:gd name="T23" fmla="*/ 126 h 990"/>
                <a:gd name="T24" fmla="*/ 38 w 172"/>
                <a:gd name="T25" fmla="*/ 126 h 990"/>
                <a:gd name="T26" fmla="*/ 38 w 172"/>
                <a:gd name="T27" fmla="*/ 145 h 990"/>
                <a:gd name="T28" fmla="*/ 0 w 172"/>
                <a:gd name="T29" fmla="*/ 145 h 990"/>
                <a:gd name="T30" fmla="*/ 0 w 172"/>
                <a:gd name="T31" fmla="*/ 164 h 990"/>
                <a:gd name="T32" fmla="*/ 38 w 172"/>
                <a:gd name="T33" fmla="*/ 164 h 990"/>
                <a:gd name="T34" fmla="*/ 38 w 172"/>
                <a:gd name="T35" fmla="*/ 182 h 990"/>
                <a:gd name="T36" fmla="*/ 0 w 172"/>
                <a:gd name="T37" fmla="*/ 182 h 990"/>
                <a:gd name="T38" fmla="*/ 0 w 172"/>
                <a:gd name="T39" fmla="*/ 201 h 990"/>
                <a:gd name="T40" fmla="*/ 38 w 172"/>
                <a:gd name="T41" fmla="*/ 201 h 990"/>
                <a:gd name="T42" fmla="*/ 38 w 172"/>
                <a:gd name="T43" fmla="*/ 220 h 990"/>
                <a:gd name="T44" fmla="*/ 19 w 172"/>
                <a:gd name="T45" fmla="*/ 220 h 990"/>
                <a:gd name="T46" fmla="*/ 19 w 172"/>
                <a:gd name="T47" fmla="*/ 795 h 990"/>
                <a:gd name="T48" fmla="*/ 78 w 172"/>
                <a:gd name="T49" fmla="*/ 923 h 990"/>
                <a:gd name="T50" fmla="*/ 81 w 172"/>
                <a:gd name="T51" fmla="*/ 929 h 990"/>
                <a:gd name="T52" fmla="*/ 81 w 172"/>
                <a:gd name="T53" fmla="*/ 990 h 990"/>
                <a:gd name="T54" fmla="*/ 153 w 172"/>
                <a:gd name="T55" fmla="*/ 990 h 990"/>
                <a:gd name="T56" fmla="*/ 153 w 172"/>
                <a:gd name="T57" fmla="*/ 220 h 990"/>
                <a:gd name="T58" fmla="*/ 134 w 172"/>
                <a:gd name="T59" fmla="*/ 220 h 990"/>
                <a:gd name="T60" fmla="*/ 134 w 172"/>
                <a:gd name="T61" fmla="*/ 201 h 990"/>
                <a:gd name="T62" fmla="*/ 172 w 172"/>
                <a:gd name="T63" fmla="*/ 201 h 990"/>
                <a:gd name="T64" fmla="*/ 172 w 172"/>
                <a:gd name="T65" fmla="*/ 182 h 990"/>
                <a:gd name="T66" fmla="*/ 134 w 172"/>
                <a:gd name="T67" fmla="*/ 182 h 990"/>
                <a:gd name="T68" fmla="*/ 134 w 172"/>
                <a:gd name="T69" fmla="*/ 164 h 990"/>
                <a:gd name="T70" fmla="*/ 172 w 172"/>
                <a:gd name="T71" fmla="*/ 164 h 990"/>
                <a:gd name="T72" fmla="*/ 172 w 172"/>
                <a:gd name="T73" fmla="*/ 145 h 990"/>
                <a:gd name="T74" fmla="*/ 134 w 172"/>
                <a:gd name="T75" fmla="*/ 145 h 990"/>
                <a:gd name="T76" fmla="*/ 134 w 172"/>
                <a:gd name="T77" fmla="*/ 126 h 990"/>
                <a:gd name="T78" fmla="*/ 172 w 172"/>
                <a:gd name="T79" fmla="*/ 126 h 990"/>
                <a:gd name="T80" fmla="*/ 172 w 172"/>
                <a:gd name="T81" fmla="*/ 107 h 990"/>
                <a:gd name="T82" fmla="*/ 134 w 172"/>
                <a:gd name="T83" fmla="*/ 107 h 990"/>
                <a:gd name="T84" fmla="*/ 134 w 172"/>
                <a:gd name="T85" fmla="*/ 88 h 990"/>
                <a:gd name="T86" fmla="*/ 172 w 172"/>
                <a:gd name="T87" fmla="*/ 88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90">
                  <a:moveTo>
                    <a:pt x="172" y="88"/>
                  </a:moveTo>
                  <a:cubicBezTo>
                    <a:pt x="172" y="69"/>
                    <a:pt x="172" y="69"/>
                    <a:pt x="172" y="69"/>
                  </a:cubicBezTo>
                  <a:cubicBezTo>
                    <a:pt x="153" y="69"/>
                    <a:pt x="153" y="69"/>
                    <a:pt x="153" y="69"/>
                  </a:cubicBezTo>
                  <a:cubicBezTo>
                    <a:pt x="153" y="0"/>
                    <a:pt x="153" y="0"/>
                    <a:pt x="153" y="0"/>
                  </a:cubicBezTo>
                  <a:cubicBezTo>
                    <a:pt x="19" y="0"/>
                    <a:pt x="19" y="0"/>
                    <a:pt x="19" y="0"/>
                  </a:cubicBezTo>
                  <a:cubicBezTo>
                    <a:pt x="19" y="69"/>
                    <a:pt x="19" y="69"/>
                    <a:pt x="19" y="69"/>
                  </a:cubicBezTo>
                  <a:cubicBezTo>
                    <a:pt x="0" y="69"/>
                    <a:pt x="0" y="69"/>
                    <a:pt x="0" y="69"/>
                  </a:cubicBezTo>
                  <a:cubicBezTo>
                    <a:pt x="0" y="88"/>
                    <a:pt x="0" y="88"/>
                    <a:pt x="0" y="88"/>
                  </a:cubicBezTo>
                  <a:cubicBezTo>
                    <a:pt x="38" y="88"/>
                    <a:pt x="38" y="88"/>
                    <a:pt x="38" y="88"/>
                  </a:cubicBezTo>
                  <a:cubicBezTo>
                    <a:pt x="38" y="107"/>
                    <a:pt x="38" y="107"/>
                    <a:pt x="38" y="107"/>
                  </a:cubicBezTo>
                  <a:cubicBezTo>
                    <a:pt x="0" y="107"/>
                    <a:pt x="0" y="107"/>
                    <a:pt x="0" y="107"/>
                  </a:cubicBezTo>
                  <a:cubicBezTo>
                    <a:pt x="0" y="126"/>
                    <a:pt x="0" y="126"/>
                    <a:pt x="0" y="126"/>
                  </a:cubicBezTo>
                  <a:cubicBezTo>
                    <a:pt x="38" y="126"/>
                    <a:pt x="38" y="126"/>
                    <a:pt x="38" y="126"/>
                  </a:cubicBezTo>
                  <a:cubicBezTo>
                    <a:pt x="38" y="145"/>
                    <a:pt x="38" y="145"/>
                    <a:pt x="38" y="145"/>
                  </a:cubicBezTo>
                  <a:cubicBezTo>
                    <a:pt x="0" y="145"/>
                    <a:pt x="0" y="145"/>
                    <a:pt x="0" y="145"/>
                  </a:cubicBezTo>
                  <a:cubicBezTo>
                    <a:pt x="0" y="164"/>
                    <a:pt x="0" y="164"/>
                    <a:pt x="0" y="164"/>
                  </a:cubicBezTo>
                  <a:cubicBezTo>
                    <a:pt x="38" y="164"/>
                    <a:pt x="38" y="164"/>
                    <a:pt x="38" y="164"/>
                  </a:cubicBezTo>
                  <a:cubicBezTo>
                    <a:pt x="38" y="182"/>
                    <a:pt x="38" y="182"/>
                    <a:pt x="38" y="182"/>
                  </a:cubicBezTo>
                  <a:cubicBezTo>
                    <a:pt x="0" y="182"/>
                    <a:pt x="0" y="182"/>
                    <a:pt x="0" y="182"/>
                  </a:cubicBezTo>
                  <a:cubicBezTo>
                    <a:pt x="0" y="201"/>
                    <a:pt x="0" y="201"/>
                    <a:pt x="0" y="201"/>
                  </a:cubicBezTo>
                  <a:cubicBezTo>
                    <a:pt x="38" y="201"/>
                    <a:pt x="38" y="201"/>
                    <a:pt x="38" y="201"/>
                  </a:cubicBezTo>
                  <a:cubicBezTo>
                    <a:pt x="38" y="220"/>
                    <a:pt x="38" y="220"/>
                    <a:pt x="38" y="220"/>
                  </a:cubicBezTo>
                  <a:cubicBezTo>
                    <a:pt x="19" y="220"/>
                    <a:pt x="19" y="220"/>
                    <a:pt x="19" y="220"/>
                  </a:cubicBezTo>
                  <a:cubicBezTo>
                    <a:pt x="19" y="795"/>
                    <a:pt x="19" y="795"/>
                    <a:pt x="19" y="795"/>
                  </a:cubicBezTo>
                  <a:cubicBezTo>
                    <a:pt x="35" y="837"/>
                    <a:pt x="55" y="879"/>
                    <a:pt x="78" y="923"/>
                  </a:cubicBezTo>
                  <a:cubicBezTo>
                    <a:pt x="81" y="929"/>
                    <a:pt x="81" y="929"/>
                    <a:pt x="81" y="929"/>
                  </a:cubicBezTo>
                  <a:cubicBezTo>
                    <a:pt x="81" y="990"/>
                    <a:pt x="81" y="990"/>
                    <a:pt x="81" y="990"/>
                  </a:cubicBezTo>
                  <a:cubicBezTo>
                    <a:pt x="153" y="990"/>
                    <a:pt x="153" y="990"/>
                    <a:pt x="153" y="990"/>
                  </a:cubicBezTo>
                  <a:cubicBezTo>
                    <a:pt x="153" y="220"/>
                    <a:pt x="153" y="220"/>
                    <a:pt x="153" y="220"/>
                  </a:cubicBezTo>
                  <a:cubicBezTo>
                    <a:pt x="134" y="220"/>
                    <a:pt x="134" y="220"/>
                    <a:pt x="134" y="220"/>
                  </a:cubicBezTo>
                  <a:cubicBezTo>
                    <a:pt x="134" y="201"/>
                    <a:pt x="134" y="201"/>
                    <a:pt x="134" y="201"/>
                  </a:cubicBezTo>
                  <a:cubicBezTo>
                    <a:pt x="172" y="201"/>
                    <a:pt x="172" y="201"/>
                    <a:pt x="172" y="201"/>
                  </a:cubicBezTo>
                  <a:cubicBezTo>
                    <a:pt x="172" y="182"/>
                    <a:pt x="172" y="182"/>
                    <a:pt x="172" y="182"/>
                  </a:cubicBezTo>
                  <a:cubicBezTo>
                    <a:pt x="134" y="182"/>
                    <a:pt x="134" y="182"/>
                    <a:pt x="134" y="182"/>
                  </a:cubicBezTo>
                  <a:cubicBezTo>
                    <a:pt x="134" y="164"/>
                    <a:pt x="134" y="164"/>
                    <a:pt x="134" y="164"/>
                  </a:cubicBezTo>
                  <a:cubicBezTo>
                    <a:pt x="172" y="164"/>
                    <a:pt x="172" y="164"/>
                    <a:pt x="172" y="164"/>
                  </a:cubicBezTo>
                  <a:cubicBezTo>
                    <a:pt x="172" y="145"/>
                    <a:pt x="172" y="145"/>
                    <a:pt x="172" y="145"/>
                  </a:cubicBezTo>
                  <a:cubicBezTo>
                    <a:pt x="134" y="145"/>
                    <a:pt x="134" y="145"/>
                    <a:pt x="134" y="145"/>
                  </a:cubicBezTo>
                  <a:cubicBezTo>
                    <a:pt x="134" y="126"/>
                    <a:pt x="134" y="126"/>
                    <a:pt x="134" y="126"/>
                  </a:cubicBezTo>
                  <a:cubicBezTo>
                    <a:pt x="172" y="126"/>
                    <a:pt x="172" y="126"/>
                    <a:pt x="172" y="126"/>
                  </a:cubicBezTo>
                  <a:cubicBezTo>
                    <a:pt x="172" y="107"/>
                    <a:pt x="172" y="107"/>
                    <a:pt x="172" y="107"/>
                  </a:cubicBezTo>
                  <a:cubicBezTo>
                    <a:pt x="134" y="107"/>
                    <a:pt x="134" y="107"/>
                    <a:pt x="134" y="107"/>
                  </a:cubicBezTo>
                  <a:cubicBezTo>
                    <a:pt x="134" y="88"/>
                    <a:pt x="134" y="88"/>
                    <a:pt x="134" y="88"/>
                  </a:cubicBezTo>
                  <a:lnTo>
                    <a:pt x="172" y="8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6" name="Freeform 161"/>
            <p:cNvSpPr>
              <a:spLocks/>
            </p:cNvSpPr>
            <p:nvPr/>
          </p:nvSpPr>
          <p:spPr bwMode="auto">
            <a:xfrm>
              <a:off x="16116300" y="-5613400"/>
              <a:ext cx="2617788" cy="3052763"/>
            </a:xfrm>
            <a:custGeom>
              <a:avLst/>
              <a:gdLst>
                <a:gd name="T0" fmla="*/ 698 w 698"/>
                <a:gd name="T1" fmla="*/ 814 h 814"/>
                <a:gd name="T2" fmla="*/ 698 w 698"/>
                <a:gd name="T3" fmla="*/ 760 h 814"/>
                <a:gd name="T4" fmla="*/ 536 w 698"/>
                <a:gd name="T5" fmla="*/ 0 h 814"/>
                <a:gd name="T6" fmla="*/ 161 w 698"/>
                <a:gd name="T7" fmla="*/ 0 h 814"/>
                <a:gd name="T8" fmla="*/ 0 w 698"/>
                <a:gd name="T9" fmla="*/ 760 h 814"/>
                <a:gd name="T10" fmla="*/ 0 w 698"/>
                <a:gd name="T11" fmla="*/ 814 h 814"/>
                <a:gd name="T12" fmla="*/ 698 w 698"/>
                <a:gd name="T13" fmla="*/ 814 h 814"/>
              </a:gdLst>
              <a:ahLst/>
              <a:cxnLst>
                <a:cxn ang="0">
                  <a:pos x="T0" y="T1"/>
                </a:cxn>
                <a:cxn ang="0">
                  <a:pos x="T2" y="T3"/>
                </a:cxn>
                <a:cxn ang="0">
                  <a:pos x="T4" y="T5"/>
                </a:cxn>
                <a:cxn ang="0">
                  <a:pos x="T6" y="T7"/>
                </a:cxn>
                <a:cxn ang="0">
                  <a:pos x="T8" y="T9"/>
                </a:cxn>
                <a:cxn ang="0">
                  <a:pos x="T10" y="T11"/>
                </a:cxn>
                <a:cxn ang="0">
                  <a:pos x="T12" y="T13"/>
                </a:cxn>
              </a:cxnLst>
              <a:rect l="0" t="0" r="r" b="b"/>
              <a:pathLst>
                <a:path w="698" h="814">
                  <a:moveTo>
                    <a:pt x="698" y="814"/>
                  </a:moveTo>
                  <a:cubicBezTo>
                    <a:pt x="698" y="760"/>
                    <a:pt x="698" y="760"/>
                    <a:pt x="698" y="760"/>
                  </a:cubicBezTo>
                  <a:cubicBezTo>
                    <a:pt x="523" y="426"/>
                    <a:pt x="536" y="168"/>
                    <a:pt x="536" y="0"/>
                  </a:cubicBezTo>
                  <a:cubicBezTo>
                    <a:pt x="161" y="0"/>
                    <a:pt x="161" y="0"/>
                    <a:pt x="161" y="0"/>
                  </a:cubicBezTo>
                  <a:cubicBezTo>
                    <a:pt x="161" y="168"/>
                    <a:pt x="175" y="426"/>
                    <a:pt x="0" y="760"/>
                  </a:cubicBezTo>
                  <a:cubicBezTo>
                    <a:pt x="0" y="814"/>
                    <a:pt x="0" y="814"/>
                    <a:pt x="0" y="814"/>
                  </a:cubicBezTo>
                  <a:lnTo>
                    <a:pt x="698" y="814"/>
                  </a:ln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549" name="Freeform 163"/>
            <p:cNvSpPr>
              <a:spLocks/>
            </p:cNvSpPr>
            <p:nvPr/>
          </p:nvSpPr>
          <p:spPr bwMode="auto">
            <a:xfrm>
              <a:off x="18599150" y="-2560638"/>
              <a:ext cx="404813" cy="0"/>
            </a:xfrm>
            <a:custGeom>
              <a:avLst/>
              <a:gdLst>
                <a:gd name="T0" fmla="*/ 0 w 255"/>
                <a:gd name="T1" fmla="*/ 255 w 255"/>
                <a:gd name="T2" fmla="*/ 0 w 255"/>
              </a:gdLst>
              <a:ahLst/>
              <a:cxnLst>
                <a:cxn ang="0">
                  <a:pos x="T0" y="0"/>
                </a:cxn>
                <a:cxn ang="0">
                  <a:pos x="T1" y="0"/>
                </a:cxn>
                <a:cxn ang="0">
                  <a:pos x="T2" y="0"/>
                </a:cxn>
              </a:cxnLst>
              <a:rect l="0" t="0" r="r" b="b"/>
              <a:pathLst>
                <a:path w="255">
                  <a:moveTo>
                    <a:pt x="0" y="0"/>
                  </a:moveTo>
                  <a:lnTo>
                    <a:pt x="255"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6" name="Line 164"/>
            <p:cNvSpPr>
              <a:spLocks noChangeShapeType="1"/>
            </p:cNvSpPr>
            <p:nvPr/>
          </p:nvSpPr>
          <p:spPr bwMode="auto">
            <a:xfrm>
              <a:off x="18599150" y="-2560638"/>
              <a:ext cx="404813"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8380" name="Group 48379"/>
          <p:cNvGrpSpPr/>
          <p:nvPr/>
        </p:nvGrpSpPr>
        <p:grpSpPr>
          <a:xfrm>
            <a:off x="6479203" y="5427376"/>
            <a:ext cx="887631" cy="678619"/>
            <a:chOff x="2225675" y="-6892925"/>
            <a:chExt cx="6829425" cy="5221288"/>
          </a:xfrm>
        </p:grpSpPr>
        <p:sp>
          <p:nvSpPr>
            <p:cNvPr id="558" name="Freeform 166"/>
            <p:cNvSpPr>
              <a:spLocks/>
            </p:cNvSpPr>
            <p:nvPr/>
          </p:nvSpPr>
          <p:spPr bwMode="auto">
            <a:xfrm>
              <a:off x="2225675" y="-5497513"/>
              <a:ext cx="1425575" cy="434975"/>
            </a:xfrm>
            <a:custGeom>
              <a:avLst/>
              <a:gdLst>
                <a:gd name="T0" fmla="*/ 898 w 898"/>
                <a:gd name="T1" fmla="*/ 274 h 274"/>
                <a:gd name="T2" fmla="*/ 0 w 898"/>
                <a:gd name="T3" fmla="*/ 274 h 274"/>
                <a:gd name="T4" fmla="*/ 0 w 898"/>
                <a:gd name="T5" fmla="*/ 189 h 274"/>
                <a:gd name="T6" fmla="*/ 898 w 898"/>
                <a:gd name="T7" fmla="*/ 0 h 274"/>
                <a:gd name="T8" fmla="*/ 898 w 898"/>
                <a:gd name="T9" fmla="*/ 274 h 274"/>
              </a:gdLst>
              <a:ahLst/>
              <a:cxnLst>
                <a:cxn ang="0">
                  <a:pos x="T0" y="T1"/>
                </a:cxn>
                <a:cxn ang="0">
                  <a:pos x="T2" y="T3"/>
                </a:cxn>
                <a:cxn ang="0">
                  <a:pos x="T4" y="T5"/>
                </a:cxn>
                <a:cxn ang="0">
                  <a:pos x="T6" y="T7"/>
                </a:cxn>
                <a:cxn ang="0">
                  <a:pos x="T8" y="T9"/>
                </a:cxn>
              </a:cxnLst>
              <a:rect l="0" t="0" r="r" b="b"/>
              <a:pathLst>
                <a:path w="898" h="274">
                  <a:moveTo>
                    <a:pt x="898" y="274"/>
                  </a:moveTo>
                  <a:lnTo>
                    <a:pt x="0" y="274"/>
                  </a:lnTo>
                  <a:lnTo>
                    <a:pt x="0" y="189"/>
                  </a:lnTo>
                  <a:lnTo>
                    <a:pt x="898" y="0"/>
                  </a:lnTo>
                  <a:lnTo>
                    <a:pt x="898" y="274"/>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9" name="Freeform 167"/>
            <p:cNvSpPr>
              <a:spLocks/>
            </p:cNvSpPr>
            <p:nvPr/>
          </p:nvSpPr>
          <p:spPr bwMode="auto">
            <a:xfrm>
              <a:off x="2792412" y="-5497513"/>
              <a:ext cx="2662238" cy="434975"/>
            </a:xfrm>
            <a:custGeom>
              <a:avLst/>
              <a:gdLst>
                <a:gd name="T0" fmla="*/ 0 w 1677"/>
                <a:gd name="T1" fmla="*/ 184 h 274"/>
                <a:gd name="T2" fmla="*/ 90 w 1677"/>
                <a:gd name="T3" fmla="*/ 274 h 274"/>
                <a:gd name="T4" fmla="*/ 314 w 1677"/>
                <a:gd name="T5" fmla="*/ 47 h 274"/>
                <a:gd name="T6" fmla="*/ 541 w 1677"/>
                <a:gd name="T7" fmla="*/ 274 h 274"/>
                <a:gd name="T8" fmla="*/ 815 w 1677"/>
                <a:gd name="T9" fmla="*/ 0 h 274"/>
                <a:gd name="T10" fmla="*/ 1089 w 1677"/>
                <a:gd name="T11" fmla="*/ 274 h 274"/>
                <a:gd name="T12" fmla="*/ 1266 w 1677"/>
                <a:gd name="T13" fmla="*/ 94 h 274"/>
                <a:gd name="T14" fmla="*/ 1446 w 1677"/>
                <a:gd name="T15" fmla="*/ 274 h 274"/>
                <a:gd name="T16" fmla="*/ 1561 w 1677"/>
                <a:gd name="T17" fmla="*/ 156 h 274"/>
                <a:gd name="T18" fmla="*/ 1677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0" y="184"/>
                  </a:moveTo>
                  <a:lnTo>
                    <a:pt x="90" y="274"/>
                  </a:lnTo>
                  <a:lnTo>
                    <a:pt x="314" y="47"/>
                  </a:lnTo>
                  <a:lnTo>
                    <a:pt x="541" y="274"/>
                  </a:lnTo>
                  <a:lnTo>
                    <a:pt x="815" y="0"/>
                  </a:lnTo>
                  <a:lnTo>
                    <a:pt x="1089" y="274"/>
                  </a:lnTo>
                  <a:lnTo>
                    <a:pt x="1266" y="94"/>
                  </a:lnTo>
                  <a:lnTo>
                    <a:pt x="1446" y="274"/>
                  </a:lnTo>
                  <a:lnTo>
                    <a:pt x="1561" y="156"/>
                  </a:lnTo>
                  <a:lnTo>
                    <a:pt x="1677" y="274"/>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0" name="Freeform 168"/>
            <p:cNvSpPr>
              <a:spLocks/>
            </p:cNvSpPr>
            <p:nvPr/>
          </p:nvSpPr>
          <p:spPr bwMode="auto">
            <a:xfrm>
              <a:off x="4086225" y="-5497513"/>
              <a:ext cx="1425575" cy="434975"/>
            </a:xfrm>
            <a:custGeom>
              <a:avLst/>
              <a:gdLst>
                <a:gd name="T0" fmla="*/ 0 w 898"/>
                <a:gd name="T1" fmla="*/ 274 h 274"/>
                <a:gd name="T2" fmla="*/ 898 w 898"/>
                <a:gd name="T3" fmla="*/ 274 h 274"/>
                <a:gd name="T4" fmla="*/ 898 w 898"/>
                <a:gd name="T5" fmla="*/ 189 h 274"/>
                <a:gd name="T6" fmla="*/ 0 w 898"/>
                <a:gd name="T7" fmla="*/ 0 h 274"/>
                <a:gd name="T8" fmla="*/ 0 w 898"/>
                <a:gd name="T9" fmla="*/ 274 h 274"/>
              </a:gdLst>
              <a:ahLst/>
              <a:cxnLst>
                <a:cxn ang="0">
                  <a:pos x="T0" y="T1"/>
                </a:cxn>
                <a:cxn ang="0">
                  <a:pos x="T2" y="T3"/>
                </a:cxn>
                <a:cxn ang="0">
                  <a:pos x="T4" y="T5"/>
                </a:cxn>
                <a:cxn ang="0">
                  <a:pos x="T6" y="T7"/>
                </a:cxn>
                <a:cxn ang="0">
                  <a:pos x="T8" y="T9"/>
                </a:cxn>
              </a:cxnLst>
              <a:rect l="0" t="0" r="r" b="b"/>
              <a:pathLst>
                <a:path w="898" h="274">
                  <a:moveTo>
                    <a:pt x="0" y="274"/>
                  </a:moveTo>
                  <a:lnTo>
                    <a:pt x="898" y="274"/>
                  </a:lnTo>
                  <a:lnTo>
                    <a:pt x="898" y="189"/>
                  </a:lnTo>
                  <a:lnTo>
                    <a:pt x="0" y="0"/>
                  </a:lnTo>
                  <a:lnTo>
                    <a:pt x="0" y="274"/>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6" name="Freeform 169"/>
            <p:cNvSpPr>
              <a:spLocks/>
            </p:cNvSpPr>
            <p:nvPr/>
          </p:nvSpPr>
          <p:spPr bwMode="auto">
            <a:xfrm>
              <a:off x="2282825" y="-5497513"/>
              <a:ext cx="2662238" cy="434975"/>
            </a:xfrm>
            <a:custGeom>
              <a:avLst/>
              <a:gdLst>
                <a:gd name="T0" fmla="*/ 1677 w 1677"/>
                <a:gd name="T1" fmla="*/ 184 h 274"/>
                <a:gd name="T2" fmla="*/ 1587 w 1677"/>
                <a:gd name="T3" fmla="*/ 274 h 274"/>
                <a:gd name="T4" fmla="*/ 1363 w 1677"/>
                <a:gd name="T5" fmla="*/ 47 h 274"/>
                <a:gd name="T6" fmla="*/ 1136 w 1677"/>
                <a:gd name="T7" fmla="*/ 274 h 274"/>
                <a:gd name="T8" fmla="*/ 862 w 1677"/>
                <a:gd name="T9" fmla="*/ 0 h 274"/>
                <a:gd name="T10" fmla="*/ 588 w 1677"/>
                <a:gd name="T11" fmla="*/ 274 h 274"/>
                <a:gd name="T12" fmla="*/ 411 w 1677"/>
                <a:gd name="T13" fmla="*/ 94 h 274"/>
                <a:gd name="T14" fmla="*/ 231 w 1677"/>
                <a:gd name="T15" fmla="*/ 274 h 274"/>
                <a:gd name="T16" fmla="*/ 116 w 1677"/>
                <a:gd name="T17" fmla="*/ 156 h 274"/>
                <a:gd name="T18" fmla="*/ 0 w 1677"/>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7" h="274">
                  <a:moveTo>
                    <a:pt x="1677" y="184"/>
                  </a:moveTo>
                  <a:lnTo>
                    <a:pt x="1587" y="274"/>
                  </a:lnTo>
                  <a:lnTo>
                    <a:pt x="1363" y="47"/>
                  </a:lnTo>
                  <a:lnTo>
                    <a:pt x="1136" y="274"/>
                  </a:lnTo>
                  <a:lnTo>
                    <a:pt x="862" y="0"/>
                  </a:lnTo>
                  <a:lnTo>
                    <a:pt x="588" y="274"/>
                  </a:lnTo>
                  <a:lnTo>
                    <a:pt x="411" y="94"/>
                  </a:lnTo>
                  <a:lnTo>
                    <a:pt x="231" y="274"/>
                  </a:lnTo>
                  <a:lnTo>
                    <a:pt x="116" y="156"/>
                  </a:lnTo>
                  <a:lnTo>
                    <a:pt x="0" y="274"/>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7" name="Freeform 170"/>
            <p:cNvSpPr>
              <a:spLocks/>
            </p:cNvSpPr>
            <p:nvPr/>
          </p:nvSpPr>
          <p:spPr bwMode="auto">
            <a:xfrm>
              <a:off x="2706687" y="-6281738"/>
              <a:ext cx="989013" cy="349250"/>
            </a:xfrm>
            <a:custGeom>
              <a:avLst/>
              <a:gdLst>
                <a:gd name="T0" fmla="*/ 623 w 623"/>
                <a:gd name="T1" fmla="*/ 220 h 220"/>
                <a:gd name="T2" fmla="*/ 0 w 623"/>
                <a:gd name="T3" fmla="*/ 220 h 220"/>
                <a:gd name="T4" fmla="*/ 0 w 623"/>
                <a:gd name="T5" fmla="*/ 147 h 220"/>
                <a:gd name="T6" fmla="*/ 623 w 623"/>
                <a:gd name="T7" fmla="*/ 0 h 220"/>
                <a:gd name="T8" fmla="*/ 623 w 623"/>
                <a:gd name="T9" fmla="*/ 220 h 220"/>
              </a:gdLst>
              <a:ahLst/>
              <a:cxnLst>
                <a:cxn ang="0">
                  <a:pos x="T0" y="T1"/>
                </a:cxn>
                <a:cxn ang="0">
                  <a:pos x="T2" y="T3"/>
                </a:cxn>
                <a:cxn ang="0">
                  <a:pos x="T4" y="T5"/>
                </a:cxn>
                <a:cxn ang="0">
                  <a:pos x="T6" y="T7"/>
                </a:cxn>
                <a:cxn ang="0">
                  <a:pos x="T8" y="T9"/>
                </a:cxn>
              </a:cxnLst>
              <a:rect l="0" t="0" r="r" b="b"/>
              <a:pathLst>
                <a:path w="623" h="220">
                  <a:moveTo>
                    <a:pt x="623" y="220"/>
                  </a:moveTo>
                  <a:lnTo>
                    <a:pt x="0" y="220"/>
                  </a:lnTo>
                  <a:lnTo>
                    <a:pt x="0" y="147"/>
                  </a:lnTo>
                  <a:lnTo>
                    <a:pt x="623" y="0"/>
                  </a:lnTo>
                  <a:lnTo>
                    <a:pt x="623" y="220"/>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8" name="Freeform 171"/>
            <p:cNvSpPr>
              <a:spLocks/>
            </p:cNvSpPr>
            <p:nvPr/>
          </p:nvSpPr>
          <p:spPr bwMode="auto">
            <a:xfrm>
              <a:off x="2781300" y="-6281738"/>
              <a:ext cx="1608138" cy="349250"/>
            </a:xfrm>
            <a:custGeom>
              <a:avLst/>
              <a:gdLst>
                <a:gd name="T0" fmla="*/ 0 w 1013"/>
                <a:gd name="T1" fmla="*/ 220 h 220"/>
                <a:gd name="T2" fmla="*/ 111 w 1013"/>
                <a:gd name="T3" fmla="*/ 109 h 220"/>
                <a:gd name="T4" fmla="*/ 222 w 1013"/>
                <a:gd name="T5" fmla="*/ 220 h 220"/>
                <a:gd name="T6" fmla="*/ 399 w 1013"/>
                <a:gd name="T7" fmla="*/ 43 h 220"/>
                <a:gd name="T8" fmla="*/ 576 w 1013"/>
                <a:gd name="T9" fmla="*/ 220 h 220"/>
                <a:gd name="T10" fmla="*/ 794 w 1013"/>
                <a:gd name="T11" fmla="*/ 0 h 220"/>
                <a:gd name="T12" fmla="*/ 1013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0" y="220"/>
                  </a:moveTo>
                  <a:lnTo>
                    <a:pt x="111" y="109"/>
                  </a:lnTo>
                  <a:lnTo>
                    <a:pt x="222" y="220"/>
                  </a:lnTo>
                  <a:lnTo>
                    <a:pt x="399" y="43"/>
                  </a:lnTo>
                  <a:lnTo>
                    <a:pt x="576" y="220"/>
                  </a:lnTo>
                  <a:lnTo>
                    <a:pt x="794" y="0"/>
                  </a:lnTo>
                  <a:lnTo>
                    <a:pt x="1013" y="22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9" name="Freeform 172"/>
            <p:cNvSpPr>
              <a:spLocks/>
            </p:cNvSpPr>
            <p:nvPr/>
          </p:nvSpPr>
          <p:spPr bwMode="auto">
            <a:xfrm>
              <a:off x="4041775" y="-6281738"/>
              <a:ext cx="989013" cy="349250"/>
            </a:xfrm>
            <a:custGeom>
              <a:avLst/>
              <a:gdLst>
                <a:gd name="T0" fmla="*/ 0 w 623"/>
                <a:gd name="T1" fmla="*/ 220 h 220"/>
                <a:gd name="T2" fmla="*/ 623 w 623"/>
                <a:gd name="T3" fmla="*/ 220 h 220"/>
                <a:gd name="T4" fmla="*/ 623 w 623"/>
                <a:gd name="T5" fmla="*/ 147 h 220"/>
                <a:gd name="T6" fmla="*/ 0 w 623"/>
                <a:gd name="T7" fmla="*/ 0 h 220"/>
                <a:gd name="T8" fmla="*/ 0 w 623"/>
                <a:gd name="T9" fmla="*/ 220 h 220"/>
              </a:gdLst>
              <a:ahLst/>
              <a:cxnLst>
                <a:cxn ang="0">
                  <a:pos x="T0" y="T1"/>
                </a:cxn>
                <a:cxn ang="0">
                  <a:pos x="T2" y="T3"/>
                </a:cxn>
                <a:cxn ang="0">
                  <a:pos x="T4" y="T5"/>
                </a:cxn>
                <a:cxn ang="0">
                  <a:pos x="T6" y="T7"/>
                </a:cxn>
                <a:cxn ang="0">
                  <a:pos x="T8" y="T9"/>
                </a:cxn>
              </a:cxnLst>
              <a:rect l="0" t="0" r="r" b="b"/>
              <a:pathLst>
                <a:path w="623" h="220">
                  <a:moveTo>
                    <a:pt x="0" y="220"/>
                  </a:moveTo>
                  <a:lnTo>
                    <a:pt x="623" y="220"/>
                  </a:lnTo>
                  <a:lnTo>
                    <a:pt x="623" y="147"/>
                  </a:lnTo>
                  <a:lnTo>
                    <a:pt x="0" y="0"/>
                  </a:lnTo>
                  <a:lnTo>
                    <a:pt x="0" y="220"/>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0" name="Freeform 173"/>
            <p:cNvSpPr>
              <a:spLocks/>
            </p:cNvSpPr>
            <p:nvPr/>
          </p:nvSpPr>
          <p:spPr bwMode="auto">
            <a:xfrm>
              <a:off x="3348037" y="-6281738"/>
              <a:ext cx="1608138" cy="349250"/>
            </a:xfrm>
            <a:custGeom>
              <a:avLst/>
              <a:gdLst>
                <a:gd name="T0" fmla="*/ 1013 w 1013"/>
                <a:gd name="T1" fmla="*/ 220 h 220"/>
                <a:gd name="T2" fmla="*/ 902 w 1013"/>
                <a:gd name="T3" fmla="*/ 109 h 220"/>
                <a:gd name="T4" fmla="*/ 791 w 1013"/>
                <a:gd name="T5" fmla="*/ 220 h 220"/>
                <a:gd name="T6" fmla="*/ 614 w 1013"/>
                <a:gd name="T7" fmla="*/ 43 h 220"/>
                <a:gd name="T8" fmla="*/ 437 w 1013"/>
                <a:gd name="T9" fmla="*/ 220 h 220"/>
                <a:gd name="T10" fmla="*/ 219 w 1013"/>
                <a:gd name="T11" fmla="*/ 0 h 220"/>
                <a:gd name="T12" fmla="*/ 0 w 101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1013" h="220">
                  <a:moveTo>
                    <a:pt x="1013" y="220"/>
                  </a:moveTo>
                  <a:lnTo>
                    <a:pt x="902" y="109"/>
                  </a:lnTo>
                  <a:lnTo>
                    <a:pt x="791" y="220"/>
                  </a:lnTo>
                  <a:lnTo>
                    <a:pt x="614" y="43"/>
                  </a:lnTo>
                  <a:lnTo>
                    <a:pt x="437" y="220"/>
                  </a:lnTo>
                  <a:lnTo>
                    <a:pt x="219" y="0"/>
                  </a:lnTo>
                  <a:lnTo>
                    <a:pt x="0" y="22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1" name="Freeform 174"/>
            <p:cNvSpPr>
              <a:spLocks/>
            </p:cNvSpPr>
            <p:nvPr/>
          </p:nvSpPr>
          <p:spPr bwMode="auto">
            <a:xfrm>
              <a:off x="3651250" y="-5932488"/>
              <a:ext cx="434975" cy="434975"/>
            </a:xfrm>
            <a:custGeom>
              <a:avLst/>
              <a:gdLst>
                <a:gd name="T0" fmla="*/ 0 w 274"/>
                <a:gd name="T1" fmla="*/ 274 h 274"/>
                <a:gd name="T2" fmla="*/ 28 w 274"/>
                <a:gd name="T3" fmla="*/ 0 h 274"/>
                <a:gd name="T4" fmla="*/ 246 w 274"/>
                <a:gd name="T5" fmla="*/ 0 h 274"/>
                <a:gd name="T6" fmla="*/ 274 w 274"/>
                <a:gd name="T7" fmla="*/ 274 h 274"/>
                <a:gd name="T8" fmla="*/ 0 w 274"/>
                <a:gd name="T9" fmla="*/ 274 h 274"/>
              </a:gdLst>
              <a:ahLst/>
              <a:cxnLst>
                <a:cxn ang="0">
                  <a:pos x="T0" y="T1"/>
                </a:cxn>
                <a:cxn ang="0">
                  <a:pos x="T2" y="T3"/>
                </a:cxn>
                <a:cxn ang="0">
                  <a:pos x="T4" y="T5"/>
                </a:cxn>
                <a:cxn ang="0">
                  <a:pos x="T6" y="T7"/>
                </a:cxn>
                <a:cxn ang="0">
                  <a:pos x="T8" y="T9"/>
                </a:cxn>
              </a:cxnLst>
              <a:rect l="0" t="0" r="r" b="b"/>
              <a:pathLst>
                <a:path w="274" h="274">
                  <a:moveTo>
                    <a:pt x="0" y="274"/>
                  </a:moveTo>
                  <a:lnTo>
                    <a:pt x="28" y="0"/>
                  </a:lnTo>
                  <a:lnTo>
                    <a:pt x="246" y="0"/>
                  </a:lnTo>
                  <a:lnTo>
                    <a:pt x="274" y="274"/>
                  </a:lnTo>
                  <a:lnTo>
                    <a:pt x="0" y="274"/>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2" name="Line 175"/>
            <p:cNvSpPr>
              <a:spLocks noChangeShapeType="1"/>
            </p:cNvSpPr>
            <p:nvPr/>
          </p:nvSpPr>
          <p:spPr bwMode="auto">
            <a:xfrm flipV="1">
              <a:off x="3651250" y="-5932488"/>
              <a:ext cx="390525" cy="4349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3" name="Line 176"/>
            <p:cNvSpPr>
              <a:spLocks noChangeShapeType="1"/>
            </p:cNvSpPr>
            <p:nvPr/>
          </p:nvSpPr>
          <p:spPr bwMode="auto">
            <a:xfrm flipH="1" flipV="1">
              <a:off x="3695700" y="-5932488"/>
              <a:ext cx="390525" cy="4349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4" name="Freeform 177"/>
            <p:cNvSpPr>
              <a:spLocks/>
            </p:cNvSpPr>
            <p:nvPr/>
          </p:nvSpPr>
          <p:spPr bwMode="auto">
            <a:xfrm>
              <a:off x="3695700" y="-6892925"/>
              <a:ext cx="346075" cy="611188"/>
            </a:xfrm>
            <a:custGeom>
              <a:avLst/>
              <a:gdLst>
                <a:gd name="T0" fmla="*/ 0 w 218"/>
                <a:gd name="T1" fmla="*/ 385 h 385"/>
                <a:gd name="T2" fmla="*/ 109 w 218"/>
                <a:gd name="T3" fmla="*/ 0 h 385"/>
                <a:gd name="T4" fmla="*/ 218 w 218"/>
                <a:gd name="T5" fmla="*/ 385 h 385"/>
                <a:gd name="T6" fmla="*/ 0 w 218"/>
                <a:gd name="T7" fmla="*/ 385 h 385"/>
              </a:gdLst>
              <a:ahLst/>
              <a:cxnLst>
                <a:cxn ang="0">
                  <a:pos x="T0" y="T1"/>
                </a:cxn>
                <a:cxn ang="0">
                  <a:pos x="T2" y="T3"/>
                </a:cxn>
                <a:cxn ang="0">
                  <a:pos x="T4" y="T5"/>
                </a:cxn>
                <a:cxn ang="0">
                  <a:pos x="T6" y="T7"/>
                </a:cxn>
              </a:cxnLst>
              <a:rect l="0" t="0" r="r" b="b"/>
              <a:pathLst>
                <a:path w="218" h="385">
                  <a:moveTo>
                    <a:pt x="0" y="385"/>
                  </a:moveTo>
                  <a:lnTo>
                    <a:pt x="109" y="0"/>
                  </a:lnTo>
                  <a:lnTo>
                    <a:pt x="218" y="385"/>
                  </a:lnTo>
                  <a:lnTo>
                    <a:pt x="0" y="385"/>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5" name="Line 178"/>
            <p:cNvSpPr>
              <a:spLocks noChangeShapeType="1"/>
            </p:cNvSpPr>
            <p:nvPr/>
          </p:nvSpPr>
          <p:spPr bwMode="auto">
            <a:xfrm flipH="1">
              <a:off x="3695700" y="-6551613"/>
              <a:ext cx="269875" cy="2698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6" name="Line 179"/>
            <p:cNvSpPr>
              <a:spLocks noChangeShapeType="1"/>
            </p:cNvSpPr>
            <p:nvPr/>
          </p:nvSpPr>
          <p:spPr bwMode="auto">
            <a:xfrm flipH="1" flipV="1">
              <a:off x="3771900" y="-6551613"/>
              <a:ext cx="269875" cy="2698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7" name="Rectangle 180"/>
            <p:cNvSpPr>
              <a:spLocks noChangeArrowheads="1"/>
            </p:cNvSpPr>
            <p:nvPr/>
          </p:nvSpPr>
          <p:spPr bwMode="auto">
            <a:xfrm>
              <a:off x="3651250" y="-5062538"/>
              <a:ext cx="434975" cy="431800"/>
            </a:xfrm>
            <a:prstGeom prst="rect">
              <a:avLst/>
            </a:pr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8" name="Freeform 181"/>
            <p:cNvSpPr>
              <a:spLocks/>
            </p:cNvSpPr>
            <p:nvPr/>
          </p:nvSpPr>
          <p:spPr bwMode="auto">
            <a:xfrm>
              <a:off x="3306762" y="-5062538"/>
              <a:ext cx="1123950" cy="3349625"/>
            </a:xfrm>
            <a:custGeom>
              <a:avLst/>
              <a:gdLst>
                <a:gd name="T0" fmla="*/ 217 w 708"/>
                <a:gd name="T1" fmla="*/ 0 h 2110"/>
                <a:gd name="T2" fmla="*/ 491 w 708"/>
                <a:gd name="T3" fmla="*/ 272 h 2110"/>
                <a:gd name="T4" fmla="*/ 182 w 708"/>
                <a:gd name="T5" fmla="*/ 583 h 2110"/>
                <a:gd name="T6" fmla="*/ 574 w 708"/>
                <a:gd name="T7" fmla="*/ 978 h 2110"/>
                <a:gd name="T8" fmla="*/ 75 w 708"/>
                <a:gd name="T9" fmla="*/ 1476 h 2110"/>
                <a:gd name="T10" fmla="*/ 708 w 708"/>
                <a:gd name="T11" fmla="*/ 2110 h 2110"/>
                <a:gd name="T12" fmla="*/ 491 w 708"/>
                <a:gd name="T13" fmla="*/ 272 h 2110"/>
                <a:gd name="T14" fmla="*/ 217 w 708"/>
                <a:gd name="T15" fmla="*/ 272 h 2110"/>
                <a:gd name="T16" fmla="*/ 0 w 708"/>
                <a:gd name="T17" fmla="*/ 2110 h 2110"/>
                <a:gd name="T18" fmla="*/ 633 w 708"/>
                <a:gd name="T19" fmla="*/ 1476 h 2110"/>
                <a:gd name="T20" fmla="*/ 134 w 708"/>
                <a:gd name="T21" fmla="*/ 978 h 2110"/>
                <a:gd name="T22" fmla="*/ 529 w 708"/>
                <a:gd name="T23" fmla="*/ 583 h 2110"/>
                <a:gd name="T24" fmla="*/ 217 w 708"/>
                <a:gd name="T25" fmla="*/ 272 h 2110"/>
                <a:gd name="T26" fmla="*/ 491 w 708"/>
                <a:gd name="T27" fmla="*/ 0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8" h="2110">
                  <a:moveTo>
                    <a:pt x="217" y="0"/>
                  </a:moveTo>
                  <a:lnTo>
                    <a:pt x="491" y="272"/>
                  </a:lnTo>
                  <a:lnTo>
                    <a:pt x="182" y="583"/>
                  </a:lnTo>
                  <a:lnTo>
                    <a:pt x="574" y="978"/>
                  </a:lnTo>
                  <a:lnTo>
                    <a:pt x="75" y="1476"/>
                  </a:lnTo>
                  <a:lnTo>
                    <a:pt x="708" y="2110"/>
                  </a:lnTo>
                  <a:lnTo>
                    <a:pt x="491" y="272"/>
                  </a:lnTo>
                  <a:lnTo>
                    <a:pt x="217" y="272"/>
                  </a:lnTo>
                  <a:lnTo>
                    <a:pt x="0" y="2110"/>
                  </a:lnTo>
                  <a:lnTo>
                    <a:pt x="633" y="1476"/>
                  </a:lnTo>
                  <a:lnTo>
                    <a:pt x="134" y="978"/>
                  </a:lnTo>
                  <a:lnTo>
                    <a:pt x="529" y="583"/>
                  </a:lnTo>
                  <a:lnTo>
                    <a:pt x="217" y="272"/>
                  </a:lnTo>
                  <a:lnTo>
                    <a:pt x="491"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9" name="Line 182"/>
            <p:cNvSpPr>
              <a:spLocks noChangeShapeType="1"/>
            </p:cNvSpPr>
            <p:nvPr/>
          </p:nvSpPr>
          <p:spPr bwMode="auto">
            <a:xfrm>
              <a:off x="2781300" y="-593248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0" name="Line 183"/>
            <p:cNvSpPr>
              <a:spLocks noChangeShapeType="1"/>
            </p:cNvSpPr>
            <p:nvPr/>
          </p:nvSpPr>
          <p:spPr bwMode="auto">
            <a:xfrm>
              <a:off x="2282825" y="-506253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1" name="Line 184"/>
            <p:cNvSpPr>
              <a:spLocks noChangeShapeType="1"/>
            </p:cNvSpPr>
            <p:nvPr/>
          </p:nvSpPr>
          <p:spPr bwMode="auto">
            <a:xfrm>
              <a:off x="2649537" y="-506253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2" name="Line 185"/>
            <p:cNvSpPr>
              <a:spLocks noChangeShapeType="1"/>
            </p:cNvSpPr>
            <p:nvPr/>
          </p:nvSpPr>
          <p:spPr bwMode="auto">
            <a:xfrm>
              <a:off x="5087937" y="-506253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3" name="Line 186"/>
            <p:cNvSpPr>
              <a:spLocks noChangeShapeType="1"/>
            </p:cNvSpPr>
            <p:nvPr/>
          </p:nvSpPr>
          <p:spPr bwMode="auto">
            <a:xfrm>
              <a:off x="5454650" y="-506253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4" name="Line 187"/>
            <p:cNvSpPr>
              <a:spLocks noChangeShapeType="1"/>
            </p:cNvSpPr>
            <p:nvPr/>
          </p:nvSpPr>
          <p:spPr bwMode="auto">
            <a:xfrm>
              <a:off x="3133725" y="-593248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5" name="Line 188"/>
            <p:cNvSpPr>
              <a:spLocks noChangeShapeType="1"/>
            </p:cNvSpPr>
            <p:nvPr/>
          </p:nvSpPr>
          <p:spPr bwMode="auto">
            <a:xfrm>
              <a:off x="4603750" y="-593248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6" name="Line 189"/>
            <p:cNvSpPr>
              <a:spLocks noChangeShapeType="1"/>
            </p:cNvSpPr>
            <p:nvPr/>
          </p:nvSpPr>
          <p:spPr bwMode="auto">
            <a:xfrm>
              <a:off x="4956175" y="-5932488"/>
              <a:ext cx="0" cy="1127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7" name="Freeform 190"/>
            <p:cNvSpPr>
              <a:spLocks/>
            </p:cNvSpPr>
            <p:nvPr/>
          </p:nvSpPr>
          <p:spPr bwMode="auto">
            <a:xfrm>
              <a:off x="3306762" y="-1841500"/>
              <a:ext cx="14288" cy="169863"/>
            </a:xfrm>
            <a:custGeom>
              <a:avLst/>
              <a:gdLst>
                <a:gd name="T0" fmla="*/ 0 w 9"/>
                <a:gd name="T1" fmla="*/ 107 h 107"/>
                <a:gd name="T2" fmla="*/ 0 w 9"/>
                <a:gd name="T3" fmla="*/ 81 h 107"/>
                <a:gd name="T4" fmla="*/ 9 w 9"/>
                <a:gd name="T5" fmla="*/ 0 h 107"/>
              </a:gdLst>
              <a:ahLst/>
              <a:cxnLst>
                <a:cxn ang="0">
                  <a:pos x="T0" y="T1"/>
                </a:cxn>
                <a:cxn ang="0">
                  <a:pos x="T2" y="T3"/>
                </a:cxn>
                <a:cxn ang="0">
                  <a:pos x="T4" y="T5"/>
                </a:cxn>
              </a:cxnLst>
              <a:rect l="0" t="0" r="r" b="b"/>
              <a:pathLst>
                <a:path w="9" h="107">
                  <a:moveTo>
                    <a:pt x="0" y="107"/>
                  </a:moveTo>
                  <a:lnTo>
                    <a:pt x="0" y="81"/>
                  </a:lnTo>
                  <a:lnTo>
                    <a:pt x="9"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8" name="Freeform 191"/>
            <p:cNvSpPr>
              <a:spLocks/>
            </p:cNvSpPr>
            <p:nvPr/>
          </p:nvSpPr>
          <p:spPr bwMode="auto">
            <a:xfrm>
              <a:off x="4416425" y="-1841500"/>
              <a:ext cx="14288" cy="169863"/>
            </a:xfrm>
            <a:custGeom>
              <a:avLst/>
              <a:gdLst>
                <a:gd name="T0" fmla="*/ 9 w 9"/>
                <a:gd name="T1" fmla="*/ 107 h 107"/>
                <a:gd name="T2" fmla="*/ 9 w 9"/>
                <a:gd name="T3" fmla="*/ 81 h 107"/>
                <a:gd name="T4" fmla="*/ 0 w 9"/>
                <a:gd name="T5" fmla="*/ 0 h 107"/>
              </a:gdLst>
              <a:ahLst/>
              <a:cxnLst>
                <a:cxn ang="0">
                  <a:pos x="T0" y="T1"/>
                </a:cxn>
                <a:cxn ang="0">
                  <a:pos x="T2" y="T3"/>
                </a:cxn>
                <a:cxn ang="0">
                  <a:pos x="T4" y="T5"/>
                </a:cxn>
              </a:cxnLst>
              <a:rect l="0" t="0" r="r" b="b"/>
              <a:pathLst>
                <a:path w="9" h="107">
                  <a:moveTo>
                    <a:pt x="9" y="107"/>
                  </a:moveTo>
                  <a:lnTo>
                    <a:pt x="9" y="81"/>
                  </a:lnTo>
                  <a:lnTo>
                    <a:pt x="0"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9" name="Freeform 192"/>
            <p:cNvSpPr>
              <a:spLocks/>
            </p:cNvSpPr>
            <p:nvPr/>
          </p:nvSpPr>
          <p:spPr bwMode="auto">
            <a:xfrm>
              <a:off x="6591300" y="-4897438"/>
              <a:ext cx="1068388" cy="325438"/>
            </a:xfrm>
            <a:custGeom>
              <a:avLst/>
              <a:gdLst>
                <a:gd name="T0" fmla="*/ 673 w 673"/>
                <a:gd name="T1" fmla="*/ 205 h 205"/>
                <a:gd name="T2" fmla="*/ 0 w 673"/>
                <a:gd name="T3" fmla="*/ 205 h 205"/>
                <a:gd name="T4" fmla="*/ 0 w 673"/>
                <a:gd name="T5" fmla="*/ 142 h 205"/>
                <a:gd name="T6" fmla="*/ 673 w 673"/>
                <a:gd name="T7" fmla="*/ 0 h 205"/>
                <a:gd name="T8" fmla="*/ 673 w 673"/>
                <a:gd name="T9" fmla="*/ 205 h 205"/>
              </a:gdLst>
              <a:ahLst/>
              <a:cxnLst>
                <a:cxn ang="0">
                  <a:pos x="T0" y="T1"/>
                </a:cxn>
                <a:cxn ang="0">
                  <a:pos x="T2" y="T3"/>
                </a:cxn>
                <a:cxn ang="0">
                  <a:pos x="T4" y="T5"/>
                </a:cxn>
                <a:cxn ang="0">
                  <a:pos x="T6" y="T7"/>
                </a:cxn>
                <a:cxn ang="0">
                  <a:pos x="T8" y="T9"/>
                </a:cxn>
              </a:cxnLst>
              <a:rect l="0" t="0" r="r" b="b"/>
              <a:pathLst>
                <a:path w="673" h="205">
                  <a:moveTo>
                    <a:pt x="673" y="205"/>
                  </a:moveTo>
                  <a:lnTo>
                    <a:pt x="0" y="205"/>
                  </a:lnTo>
                  <a:lnTo>
                    <a:pt x="0" y="142"/>
                  </a:lnTo>
                  <a:lnTo>
                    <a:pt x="673" y="0"/>
                  </a:lnTo>
                  <a:lnTo>
                    <a:pt x="673" y="205"/>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0" name="Freeform 193"/>
            <p:cNvSpPr>
              <a:spLocks/>
            </p:cNvSpPr>
            <p:nvPr/>
          </p:nvSpPr>
          <p:spPr bwMode="auto">
            <a:xfrm>
              <a:off x="7015162" y="-4897438"/>
              <a:ext cx="1995488" cy="325438"/>
            </a:xfrm>
            <a:custGeom>
              <a:avLst/>
              <a:gdLst>
                <a:gd name="T0" fmla="*/ 0 w 1257"/>
                <a:gd name="T1" fmla="*/ 139 h 205"/>
                <a:gd name="T2" fmla="*/ 66 w 1257"/>
                <a:gd name="T3" fmla="*/ 205 h 205"/>
                <a:gd name="T4" fmla="*/ 236 w 1257"/>
                <a:gd name="T5" fmla="*/ 35 h 205"/>
                <a:gd name="T6" fmla="*/ 406 w 1257"/>
                <a:gd name="T7" fmla="*/ 205 h 205"/>
                <a:gd name="T8" fmla="*/ 612 w 1257"/>
                <a:gd name="T9" fmla="*/ 0 h 205"/>
                <a:gd name="T10" fmla="*/ 817 w 1257"/>
                <a:gd name="T11" fmla="*/ 205 h 205"/>
                <a:gd name="T12" fmla="*/ 950 w 1257"/>
                <a:gd name="T13" fmla="*/ 71 h 205"/>
                <a:gd name="T14" fmla="*/ 1084 w 1257"/>
                <a:gd name="T15" fmla="*/ 205 h 205"/>
                <a:gd name="T16" fmla="*/ 1172 w 1257"/>
                <a:gd name="T17" fmla="*/ 118 h 205"/>
                <a:gd name="T18" fmla="*/ 1257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0" y="139"/>
                  </a:moveTo>
                  <a:lnTo>
                    <a:pt x="66" y="205"/>
                  </a:lnTo>
                  <a:lnTo>
                    <a:pt x="236" y="35"/>
                  </a:lnTo>
                  <a:lnTo>
                    <a:pt x="406" y="205"/>
                  </a:lnTo>
                  <a:lnTo>
                    <a:pt x="612" y="0"/>
                  </a:lnTo>
                  <a:lnTo>
                    <a:pt x="817" y="205"/>
                  </a:lnTo>
                  <a:lnTo>
                    <a:pt x="950" y="71"/>
                  </a:lnTo>
                  <a:lnTo>
                    <a:pt x="1084" y="205"/>
                  </a:lnTo>
                  <a:lnTo>
                    <a:pt x="1172" y="118"/>
                  </a:lnTo>
                  <a:lnTo>
                    <a:pt x="1257" y="205"/>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1" name="Freeform 194"/>
            <p:cNvSpPr>
              <a:spLocks/>
            </p:cNvSpPr>
            <p:nvPr/>
          </p:nvSpPr>
          <p:spPr bwMode="auto">
            <a:xfrm>
              <a:off x="7986712" y="-4897438"/>
              <a:ext cx="1068388" cy="325438"/>
            </a:xfrm>
            <a:custGeom>
              <a:avLst/>
              <a:gdLst>
                <a:gd name="T0" fmla="*/ 0 w 673"/>
                <a:gd name="T1" fmla="*/ 205 h 205"/>
                <a:gd name="T2" fmla="*/ 673 w 673"/>
                <a:gd name="T3" fmla="*/ 205 h 205"/>
                <a:gd name="T4" fmla="*/ 673 w 673"/>
                <a:gd name="T5" fmla="*/ 142 h 205"/>
                <a:gd name="T6" fmla="*/ 0 w 673"/>
                <a:gd name="T7" fmla="*/ 0 h 205"/>
                <a:gd name="T8" fmla="*/ 0 w 673"/>
                <a:gd name="T9" fmla="*/ 205 h 205"/>
              </a:gdLst>
              <a:ahLst/>
              <a:cxnLst>
                <a:cxn ang="0">
                  <a:pos x="T0" y="T1"/>
                </a:cxn>
                <a:cxn ang="0">
                  <a:pos x="T2" y="T3"/>
                </a:cxn>
                <a:cxn ang="0">
                  <a:pos x="T4" y="T5"/>
                </a:cxn>
                <a:cxn ang="0">
                  <a:pos x="T6" y="T7"/>
                </a:cxn>
                <a:cxn ang="0">
                  <a:pos x="T8" y="T9"/>
                </a:cxn>
              </a:cxnLst>
              <a:rect l="0" t="0" r="r" b="b"/>
              <a:pathLst>
                <a:path w="673" h="205">
                  <a:moveTo>
                    <a:pt x="0" y="205"/>
                  </a:moveTo>
                  <a:lnTo>
                    <a:pt x="673" y="205"/>
                  </a:lnTo>
                  <a:lnTo>
                    <a:pt x="673" y="142"/>
                  </a:lnTo>
                  <a:lnTo>
                    <a:pt x="0" y="0"/>
                  </a:lnTo>
                  <a:lnTo>
                    <a:pt x="0" y="205"/>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2" name="Freeform 195"/>
            <p:cNvSpPr>
              <a:spLocks/>
            </p:cNvSpPr>
            <p:nvPr/>
          </p:nvSpPr>
          <p:spPr bwMode="auto">
            <a:xfrm>
              <a:off x="6632575" y="-4897438"/>
              <a:ext cx="1995488" cy="325438"/>
            </a:xfrm>
            <a:custGeom>
              <a:avLst/>
              <a:gdLst>
                <a:gd name="T0" fmla="*/ 1257 w 1257"/>
                <a:gd name="T1" fmla="*/ 139 h 205"/>
                <a:gd name="T2" fmla="*/ 1191 w 1257"/>
                <a:gd name="T3" fmla="*/ 205 h 205"/>
                <a:gd name="T4" fmla="*/ 1020 w 1257"/>
                <a:gd name="T5" fmla="*/ 35 h 205"/>
                <a:gd name="T6" fmla="*/ 853 w 1257"/>
                <a:gd name="T7" fmla="*/ 205 h 205"/>
                <a:gd name="T8" fmla="*/ 647 w 1257"/>
                <a:gd name="T9" fmla="*/ 0 h 205"/>
                <a:gd name="T10" fmla="*/ 442 w 1257"/>
                <a:gd name="T11" fmla="*/ 205 h 205"/>
                <a:gd name="T12" fmla="*/ 307 w 1257"/>
                <a:gd name="T13" fmla="*/ 71 h 205"/>
                <a:gd name="T14" fmla="*/ 175 w 1257"/>
                <a:gd name="T15" fmla="*/ 205 h 205"/>
                <a:gd name="T16" fmla="*/ 87 w 1257"/>
                <a:gd name="T17" fmla="*/ 118 h 205"/>
                <a:gd name="T18" fmla="*/ 0 w 1257"/>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7" h="205">
                  <a:moveTo>
                    <a:pt x="1257" y="139"/>
                  </a:moveTo>
                  <a:lnTo>
                    <a:pt x="1191" y="205"/>
                  </a:lnTo>
                  <a:lnTo>
                    <a:pt x="1020" y="35"/>
                  </a:lnTo>
                  <a:lnTo>
                    <a:pt x="853" y="205"/>
                  </a:lnTo>
                  <a:lnTo>
                    <a:pt x="647" y="0"/>
                  </a:lnTo>
                  <a:lnTo>
                    <a:pt x="442" y="205"/>
                  </a:lnTo>
                  <a:lnTo>
                    <a:pt x="307" y="71"/>
                  </a:lnTo>
                  <a:lnTo>
                    <a:pt x="175" y="205"/>
                  </a:lnTo>
                  <a:lnTo>
                    <a:pt x="87" y="118"/>
                  </a:lnTo>
                  <a:lnTo>
                    <a:pt x="0" y="205"/>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3" name="Freeform 196"/>
            <p:cNvSpPr>
              <a:spLocks/>
            </p:cNvSpPr>
            <p:nvPr/>
          </p:nvSpPr>
          <p:spPr bwMode="auto">
            <a:xfrm>
              <a:off x="6951662" y="-5483225"/>
              <a:ext cx="742950" cy="258763"/>
            </a:xfrm>
            <a:custGeom>
              <a:avLst/>
              <a:gdLst>
                <a:gd name="T0" fmla="*/ 468 w 468"/>
                <a:gd name="T1" fmla="*/ 163 h 163"/>
                <a:gd name="T2" fmla="*/ 0 w 468"/>
                <a:gd name="T3" fmla="*/ 163 h 163"/>
                <a:gd name="T4" fmla="*/ 0 w 468"/>
                <a:gd name="T5" fmla="*/ 109 h 163"/>
                <a:gd name="T6" fmla="*/ 468 w 468"/>
                <a:gd name="T7" fmla="*/ 0 h 163"/>
                <a:gd name="T8" fmla="*/ 468 w 468"/>
                <a:gd name="T9" fmla="*/ 163 h 163"/>
              </a:gdLst>
              <a:ahLst/>
              <a:cxnLst>
                <a:cxn ang="0">
                  <a:pos x="T0" y="T1"/>
                </a:cxn>
                <a:cxn ang="0">
                  <a:pos x="T2" y="T3"/>
                </a:cxn>
                <a:cxn ang="0">
                  <a:pos x="T4" y="T5"/>
                </a:cxn>
                <a:cxn ang="0">
                  <a:pos x="T6" y="T7"/>
                </a:cxn>
                <a:cxn ang="0">
                  <a:pos x="T8" y="T9"/>
                </a:cxn>
              </a:cxnLst>
              <a:rect l="0" t="0" r="r" b="b"/>
              <a:pathLst>
                <a:path w="468" h="163">
                  <a:moveTo>
                    <a:pt x="468" y="163"/>
                  </a:moveTo>
                  <a:lnTo>
                    <a:pt x="0" y="163"/>
                  </a:lnTo>
                  <a:lnTo>
                    <a:pt x="0" y="109"/>
                  </a:lnTo>
                  <a:lnTo>
                    <a:pt x="468" y="0"/>
                  </a:lnTo>
                  <a:lnTo>
                    <a:pt x="468" y="163"/>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4" name="Freeform 197"/>
            <p:cNvSpPr>
              <a:spLocks/>
            </p:cNvSpPr>
            <p:nvPr/>
          </p:nvSpPr>
          <p:spPr bwMode="auto">
            <a:xfrm>
              <a:off x="7007225" y="-5483225"/>
              <a:ext cx="1208088" cy="258763"/>
            </a:xfrm>
            <a:custGeom>
              <a:avLst/>
              <a:gdLst>
                <a:gd name="T0" fmla="*/ 0 w 761"/>
                <a:gd name="T1" fmla="*/ 163 h 163"/>
                <a:gd name="T2" fmla="*/ 83 w 761"/>
                <a:gd name="T3" fmla="*/ 81 h 163"/>
                <a:gd name="T4" fmla="*/ 166 w 761"/>
                <a:gd name="T5" fmla="*/ 163 h 163"/>
                <a:gd name="T6" fmla="*/ 298 w 761"/>
                <a:gd name="T7" fmla="*/ 31 h 163"/>
                <a:gd name="T8" fmla="*/ 433 w 761"/>
                <a:gd name="T9" fmla="*/ 163 h 163"/>
                <a:gd name="T10" fmla="*/ 595 w 761"/>
                <a:gd name="T11" fmla="*/ 0 h 163"/>
                <a:gd name="T12" fmla="*/ 761 w 761"/>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61" h="163">
                  <a:moveTo>
                    <a:pt x="0" y="163"/>
                  </a:moveTo>
                  <a:lnTo>
                    <a:pt x="83" y="81"/>
                  </a:lnTo>
                  <a:lnTo>
                    <a:pt x="166" y="163"/>
                  </a:lnTo>
                  <a:lnTo>
                    <a:pt x="298" y="31"/>
                  </a:lnTo>
                  <a:lnTo>
                    <a:pt x="433" y="163"/>
                  </a:lnTo>
                  <a:lnTo>
                    <a:pt x="595" y="0"/>
                  </a:lnTo>
                  <a:lnTo>
                    <a:pt x="761" y="163"/>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5" name="Freeform 198"/>
            <p:cNvSpPr>
              <a:spLocks/>
            </p:cNvSpPr>
            <p:nvPr/>
          </p:nvSpPr>
          <p:spPr bwMode="auto">
            <a:xfrm>
              <a:off x="7951787" y="-5483225"/>
              <a:ext cx="742950" cy="258763"/>
            </a:xfrm>
            <a:custGeom>
              <a:avLst/>
              <a:gdLst>
                <a:gd name="T0" fmla="*/ 0 w 468"/>
                <a:gd name="T1" fmla="*/ 163 h 163"/>
                <a:gd name="T2" fmla="*/ 468 w 468"/>
                <a:gd name="T3" fmla="*/ 163 h 163"/>
                <a:gd name="T4" fmla="*/ 468 w 468"/>
                <a:gd name="T5" fmla="*/ 109 h 163"/>
                <a:gd name="T6" fmla="*/ 0 w 468"/>
                <a:gd name="T7" fmla="*/ 0 h 163"/>
                <a:gd name="T8" fmla="*/ 0 w 468"/>
                <a:gd name="T9" fmla="*/ 163 h 163"/>
              </a:gdLst>
              <a:ahLst/>
              <a:cxnLst>
                <a:cxn ang="0">
                  <a:pos x="T0" y="T1"/>
                </a:cxn>
                <a:cxn ang="0">
                  <a:pos x="T2" y="T3"/>
                </a:cxn>
                <a:cxn ang="0">
                  <a:pos x="T4" y="T5"/>
                </a:cxn>
                <a:cxn ang="0">
                  <a:pos x="T6" y="T7"/>
                </a:cxn>
                <a:cxn ang="0">
                  <a:pos x="T8" y="T9"/>
                </a:cxn>
              </a:cxnLst>
              <a:rect l="0" t="0" r="r" b="b"/>
              <a:pathLst>
                <a:path w="468" h="163">
                  <a:moveTo>
                    <a:pt x="0" y="163"/>
                  </a:moveTo>
                  <a:lnTo>
                    <a:pt x="468" y="163"/>
                  </a:lnTo>
                  <a:lnTo>
                    <a:pt x="468" y="109"/>
                  </a:lnTo>
                  <a:lnTo>
                    <a:pt x="0" y="0"/>
                  </a:lnTo>
                  <a:lnTo>
                    <a:pt x="0" y="163"/>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6" name="Freeform 199"/>
            <p:cNvSpPr>
              <a:spLocks/>
            </p:cNvSpPr>
            <p:nvPr/>
          </p:nvSpPr>
          <p:spPr bwMode="auto">
            <a:xfrm>
              <a:off x="7431087" y="-5483225"/>
              <a:ext cx="1203325" cy="258763"/>
            </a:xfrm>
            <a:custGeom>
              <a:avLst/>
              <a:gdLst>
                <a:gd name="T0" fmla="*/ 758 w 758"/>
                <a:gd name="T1" fmla="*/ 163 h 163"/>
                <a:gd name="T2" fmla="*/ 678 w 758"/>
                <a:gd name="T3" fmla="*/ 81 h 163"/>
                <a:gd name="T4" fmla="*/ 595 w 758"/>
                <a:gd name="T5" fmla="*/ 163 h 163"/>
                <a:gd name="T6" fmla="*/ 461 w 758"/>
                <a:gd name="T7" fmla="*/ 31 h 163"/>
                <a:gd name="T8" fmla="*/ 328 w 758"/>
                <a:gd name="T9" fmla="*/ 163 h 163"/>
                <a:gd name="T10" fmla="*/ 166 w 758"/>
                <a:gd name="T11" fmla="*/ 0 h 163"/>
                <a:gd name="T12" fmla="*/ 0 w 75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758" h="163">
                  <a:moveTo>
                    <a:pt x="758" y="163"/>
                  </a:moveTo>
                  <a:lnTo>
                    <a:pt x="678" y="81"/>
                  </a:lnTo>
                  <a:lnTo>
                    <a:pt x="595" y="163"/>
                  </a:lnTo>
                  <a:lnTo>
                    <a:pt x="461" y="31"/>
                  </a:lnTo>
                  <a:lnTo>
                    <a:pt x="328" y="163"/>
                  </a:lnTo>
                  <a:lnTo>
                    <a:pt x="166" y="0"/>
                  </a:lnTo>
                  <a:lnTo>
                    <a:pt x="0" y="163"/>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7" name="Freeform 200"/>
            <p:cNvSpPr>
              <a:spLocks/>
            </p:cNvSpPr>
            <p:nvPr/>
          </p:nvSpPr>
          <p:spPr bwMode="auto">
            <a:xfrm>
              <a:off x="7659687" y="-5224463"/>
              <a:ext cx="327025" cy="327025"/>
            </a:xfrm>
            <a:custGeom>
              <a:avLst/>
              <a:gdLst>
                <a:gd name="T0" fmla="*/ 0 w 206"/>
                <a:gd name="T1" fmla="*/ 206 h 206"/>
                <a:gd name="T2" fmla="*/ 22 w 206"/>
                <a:gd name="T3" fmla="*/ 0 h 206"/>
                <a:gd name="T4" fmla="*/ 184 w 206"/>
                <a:gd name="T5" fmla="*/ 0 h 206"/>
                <a:gd name="T6" fmla="*/ 206 w 206"/>
                <a:gd name="T7" fmla="*/ 206 h 206"/>
                <a:gd name="T8" fmla="*/ 0 w 206"/>
                <a:gd name="T9" fmla="*/ 206 h 206"/>
              </a:gdLst>
              <a:ahLst/>
              <a:cxnLst>
                <a:cxn ang="0">
                  <a:pos x="T0" y="T1"/>
                </a:cxn>
                <a:cxn ang="0">
                  <a:pos x="T2" y="T3"/>
                </a:cxn>
                <a:cxn ang="0">
                  <a:pos x="T4" y="T5"/>
                </a:cxn>
                <a:cxn ang="0">
                  <a:pos x="T6" y="T7"/>
                </a:cxn>
                <a:cxn ang="0">
                  <a:pos x="T8" y="T9"/>
                </a:cxn>
              </a:cxnLst>
              <a:rect l="0" t="0" r="r" b="b"/>
              <a:pathLst>
                <a:path w="206" h="206">
                  <a:moveTo>
                    <a:pt x="0" y="206"/>
                  </a:moveTo>
                  <a:lnTo>
                    <a:pt x="22" y="0"/>
                  </a:lnTo>
                  <a:lnTo>
                    <a:pt x="184" y="0"/>
                  </a:lnTo>
                  <a:lnTo>
                    <a:pt x="206" y="206"/>
                  </a:lnTo>
                  <a:lnTo>
                    <a:pt x="0" y="206"/>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2" name="Line 201"/>
            <p:cNvSpPr>
              <a:spLocks noChangeShapeType="1"/>
            </p:cNvSpPr>
            <p:nvPr/>
          </p:nvSpPr>
          <p:spPr bwMode="auto">
            <a:xfrm flipV="1">
              <a:off x="7659687" y="-5224463"/>
              <a:ext cx="292100" cy="32702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3" name="Line 202"/>
            <p:cNvSpPr>
              <a:spLocks noChangeShapeType="1"/>
            </p:cNvSpPr>
            <p:nvPr/>
          </p:nvSpPr>
          <p:spPr bwMode="auto">
            <a:xfrm flipH="1" flipV="1">
              <a:off x="7694612" y="-5224463"/>
              <a:ext cx="292100" cy="32702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4" name="Freeform 203"/>
            <p:cNvSpPr>
              <a:spLocks/>
            </p:cNvSpPr>
            <p:nvPr/>
          </p:nvSpPr>
          <p:spPr bwMode="auto">
            <a:xfrm>
              <a:off x="7694612" y="-5943600"/>
              <a:ext cx="257175" cy="460375"/>
            </a:xfrm>
            <a:custGeom>
              <a:avLst/>
              <a:gdLst>
                <a:gd name="T0" fmla="*/ 0 w 162"/>
                <a:gd name="T1" fmla="*/ 290 h 290"/>
                <a:gd name="T2" fmla="*/ 80 w 162"/>
                <a:gd name="T3" fmla="*/ 0 h 290"/>
                <a:gd name="T4" fmla="*/ 162 w 162"/>
                <a:gd name="T5" fmla="*/ 290 h 290"/>
                <a:gd name="T6" fmla="*/ 0 w 162"/>
                <a:gd name="T7" fmla="*/ 290 h 290"/>
              </a:gdLst>
              <a:ahLst/>
              <a:cxnLst>
                <a:cxn ang="0">
                  <a:pos x="T0" y="T1"/>
                </a:cxn>
                <a:cxn ang="0">
                  <a:pos x="T2" y="T3"/>
                </a:cxn>
                <a:cxn ang="0">
                  <a:pos x="T4" y="T5"/>
                </a:cxn>
                <a:cxn ang="0">
                  <a:pos x="T6" y="T7"/>
                </a:cxn>
              </a:cxnLst>
              <a:rect l="0" t="0" r="r" b="b"/>
              <a:pathLst>
                <a:path w="162" h="290">
                  <a:moveTo>
                    <a:pt x="0" y="290"/>
                  </a:moveTo>
                  <a:lnTo>
                    <a:pt x="80" y="0"/>
                  </a:lnTo>
                  <a:lnTo>
                    <a:pt x="162" y="290"/>
                  </a:lnTo>
                  <a:lnTo>
                    <a:pt x="0" y="290"/>
                  </a:lnTo>
                  <a:close/>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5" name="Line 204"/>
            <p:cNvSpPr>
              <a:spLocks noChangeShapeType="1"/>
            </p:cNvSpPr>
            <p:nvPr/>
          </p:nvSpPr>
          <p:spPr bwMode="auto">
            <a:xfrm flipH="1">
              <a:off x="7694612" y="-5689600"/>
              <a:ext cx="201613" cy="2063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6" name="Line 205"/>
            <p:cNvSpPr>
              <a:spLocks noChangeShapeType="1"/>
            </p:cNvSpPr>
            <p:nvPr/>
          </p:nvSpPr>
          <p:spPr bwMode="auto">
            <a:xfrm flipH="1" flipV="1">
              <a:off x="7750175" y="-5689600"/>
              <a:ext cx="201613" cy="206375"/>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7" name="Rectangle 206"/>
            <p:cNvSpPr>
              <a:spLocks noChangeArrowheads="1"/>
            </p:cNvSpPr>
            <p:nvPr/>
          </p:nvSpPr>
          <p:spPr bwMode="auto">
            <a:xfrm>
              <a:off x="7659687" y="-4572000"/>
              <a:ext cx="327025" cy="327025"/>
            </a:xfrm>
            <a:prstGeom prst="rect">
              <a:avLst/>
            </a:pr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8" name="Freeform 207"/>
            <p:cNvSpPr>
              <a:spLocks/>
            </p:cNvSpPr>
            <p:nvPr/>
          </p:nvSpPr>
          <p:spPr bwMode="auto">
            <a:xfrm>
              <a:off x="7400925" y="-4572000"/>
              <a:ext cx="844550" cy="2513013"/>
            </a:xfrm>
            <a:custGeom>
              <a:avLst/>
              <a:gdLst>
                <a:gd name="T0" fmla="*/ 163 w 532"/>
                <a:gd name="T1" fmla="*/ 0 h 1583"/>
                <a:gd name="T2" fmla="*/ 369 w 532"/>
                <a:gd name="T3" fmla="*/ 206 h 1583"/>
                <a:gd name="T4" fmla="*/ 135 w 532"/>
                <a:gd name="T5" fmla="*/ 437 h 1583"/>
                <a:gd name="T6" fmla="*/ 430 w 532"/>
                <a:gd name="T7" fmla="*/ 733 h 1583"/>
                <a:gd name="T8" fmla="*/ 57 w 532"/>
                <a:gd name="T9" fmla="*/ 1108 h 1583"/>
                <a:gd name="T10" fmla="*/ 532 w 532"/>
                <a:gd name="T11" fmla="*/ 1583 h 1583"/>
                <a:gd name="T12" fmla="*/ 369 w 532"/>
                <a:gd name="T13" fmla="*/ 206 h 1583"/>
                <a:gd name="T14" fmla="*/ 163 w 532"/>
                <a:gd name="T15" fmla="*/ 206 h 1583"/>
                <a:gd name="T16" fmla="*/ 0 w 532"/>
                <a:gd name="T17" fmla="*/ 1583 h 1583"/>
                <a:gd name="T18" fmla="*/ 475 w 532"/>
                <a:gd name="T19" fmla="*/ 1108 h 1583"/>
                <a:gd name="T20" fmla="*/ 99 w 532"/>
                <a:gd name="T21" fmla="*/ 733 h 1583"/>
                <a:gd name="T22" fmla="*/ 395 w 532"/>
                <a:gd name="T23" fmla="*/ 437 h 1583"/>
                <a:gd name="T24" fmla="*/ 163 w 532"/>
                <a:gd name="T25" fmla="*/ 206 h 1583"/>
                <a:gd name="T26" fmla="*/ 369 w 532"/>
                <a:gd name="T27" fmla="*/ 0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2" h="1583">
                  <a:moveTo>
                    <a:pt x="163" y="0"/>
                  </a:moveTo>
                  <a:lnTo>
                    <a:pt x="369" y="206"/>
                  </a:lnTo>
                  <a:lnTo>
                    <a:pt x="135" y="437"/>
                  </a:lnTo>
                  <a:lnTo>
                    <a:pt x="430" y="733"/>
                  </a:lnTo>
                  <a:lnTo>
                    <a:pt x="57" y="1108"/>
                  </a:lnTo>
                  <a:lnTo>
                    <a:pt x="532" y="1583"/>
                  </a:lnTo>
                  <a:lnTo>
                    <a:pt x="369" y="206"/>
                  </a:lnTo>
                  <a:lnTo>
                    <a:pt x="163" y="206"/>
                  </a:lnTo>
                  <a:lnTo>
                    <a:pt x="0" y="1583"/>
                  </a:lnTo>
                  <a:lnTo>
                    <a:pt x="475" y="1108"/>
                  </a:lnTo>
                  <a:lnTo>
                    <a:pt x="99" y="733"/>
                  </a:lnTo>
                  <a:lnTo>
                    <a:pt x="395" y="437"/>
                  </a:lnTo>
                  <a:lnTo>
                    <a:pt x="163" y="206"/>
                  </a:lnTo>
                  <a:lnTo>
                    <a:pt x="369"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79" name="Line 208"/>
            <p:cNvSpPr>
              <a:spLocks noChangeShapeType="1"/>
            </p:cNvSpPr>
            <p:nvPr/>
          </p:nvSpPr>
          <p:spPr bwMode="auto">
            <a:xfrm>
              <a:off x="7007225" y="-5224463"/>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0" name="Line 209"/>
            <p:cNvSpPr>
              <a:spLocks noChangeShapeType="1"/>
            </p:cNvSpPr>
            <p:nvPr/>
          </p:nvSpPr>
          <p:spPr bwMode="auto">
            <a:xfrm>
              <a:off x="6632575" y="-4572000"/>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1" name="Line 210"/>
            <p:cNvSpPr>
              <a:spLocks noChangeShapeType="1"/>
            </p:cNvSpPr>
            <p:nvPr/>
          </p:nvSpPr>
          <p:spPr bwMode="auto">
            <a:xfrm>
              <a:off x="6910387" y="-4572000"/>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2" name="Line 211"/>
            <p:cNvSpPr>
              <a:spLocks noChangeShapeType="1"/>
            </p:cNvSpPr>
            <p:nvPr/>
          </p:nvSpPr>
          <p:spPr bwMode="auto">
            <a:xfrm>
              <a:off x="8736012" y="-4572000"/>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3" name="Line 212"/>
            <p:cNvSpPr>
              <a:spLocks noChangeShapeType="1"/>
            </p:cNvSpPr>
            <p:nvPr/>
          </p:nvSpPr>
          <p:spPr bwMode="auto">
            <a:xfrm>
              <a:off x="9010650" y="-4572000"/>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5" name="Line 213"/>
            <p:cNvSpPr>
              <a:spLocks noChangeShapeType="1"/>
            </p:cNvSpPr>
            <p:nvPr/>
          </p:nvSpPr>
          <p:spPr bwMode="auto">
            <a:xfrm>
              <a:off x="7270750" y="-5224463"/>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6" name="Line 214"/>
            <p:cNvSpPr>
              <a:spLocks noChangeShapeType="1"/>
            </p:cNvSpPr>
            <p:nvPr/>
          </p:nvSpPr>
          <p:spPr bwMode="auto">
            <a:xfrm>
              <a:off x="8375650" y="-5224463"/>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7" name="Line 215"/>
            <p:cNvSpPr>
              <a:spLocks noChangeShapeType="1"/>
            </p:cNvSpPr>
            <p:nvPr/>
          </p:nvSpPr>
          <p:spPr bwMode="auto">
            <a:xfrm>
              <a:off x="8634412" y="-5224463"/>
              <a:ext cx="0" cy="87313"/>
            </a:xfrm>
            <a:prstGeom prst="line">
              <a:avLst/>
            </a:prstGeom>
            <a:noFill/>
            <a:ln w="6350" cap="flat">
              <a:solidFill>
                <a:schemeClr val="accent1"/>
              </a:solidFill>
              <a:prstDash val="solid"/>
              <a:bevel/>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8" name="Freeform 216"/>
            <p:cNvSpPr>
              <a:spLocks/>
            </p:cNvSpPr>
            <p:nvPr/>
          </p:nvSpPr>
          <p:spPr bwMode="auto">
            <a:xfrm>
              <a:off x="7400925" y="-2155825"/>
              <a:ext cx="11113" cy="127000"/>
            </a:xfrm>
            <a:custGeom>
              <a:avLst/>
              <a:gdLst>
                <a:gd name="T0" fmla="*/ 0 w 7"/>
                <a:gd name="T1" fmla="*/ 80 h 80"/>
                <a:gd name="T2" fmla="*/ 0 w 7"/>
                <a:gd name="T3" fmla="*/ 61 h 80"/>
                <a:gd name="T4" fmla="*/ 7 w 7"/>
                <a:gd name="T5" fmla="*/ 0 h 80"/>
              </a:gdLst>
              <a:ahLst/>
              <a:cxnLst>
                <a:cxn ang="0">
                  <a:pos x="T0" y="T1"/>
                </a:cxn>
                <a:cxn ang="0">
                  <a:pos x="T2" y="T3"/>
                </a:cxn>
                <a:cxn ang="0">
                  <a:pos x="T4" y="T5"/>
                </a:cxn>
              </a:cxnLst>
              <a:rect l="0" t="0" r="r" b="b"/>
              <a:pathLst>
                <a:path w="7" h="80">
                  <a:moveTo>
                    <a:pt x="0" y="80"/>
                  </a:moveTo>
                  <a:lnTo>
                    <a:pt x="0" y="61"/>
                  </a:lnTo>
                  <a:lnTo>
                    <a:pt x="7"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9" name="Freeform 217"/>
            <p:cNvSpPr>
              <a:spLocks/>
            </p:cNvSpPr>
            <p:nvPr/>
          </p:nvSpPr>
          <p:spPr bwMode="auto">
            <a:xfrm>
              <a:off x="8234362" y="-2155825"/>
              <a:ext cx="11113" cy="127000"/>
            </a:xfrm>
            <a:custGeom>
              <a:avLst/>
              <a:gdLst>
                <a:gd name="T0" fmla="*/ 7 w 7"/>
                <a:gd name="T1" fmla="*/ 80 h 80"/>
                <a:gd name="T2" fmla="*/ 7 w 7"/>
                <a:gd name="T3" fmla="*/ 61 h 80"/>
                <a:gd name="T4" fmla="*/ 0 w 7"/>
                <a:gd name="T5" fmla="*/ 0 h 80"/>
              </a:gdLst>
              <a:ahLst/>
              <a:cxnLst>
                <a:cxn ang="0">
                  <a:pos x="T0" y="T1"/>
                </a:cxn>
                <a:cxn ang="0">
                  <a:pos x="T2" y="T3"/>
                </a:cxn>
                <a:cxn ang="0">
                  <a:pos x="T4" y="T5"/>
                </a:cxn>
              </a:cxnLst>
              <a:rect l="0" t="0" r="r" b="b"/>
              <a:pathLst>
                <a:path w="7" h="80">
                  <a:moveTo>
                    <a:pt x="7" y="80"/>
                  </a:moveTo>
                  <a:lnTo>
                    <a:pt x="7" y="61"/>
                  </a:lnTo>
                  <a:lnTo>
                    <a:pt x="0" y="0"/>
                  </a:lnTo>
                </a:path>
              </a:pathLst>
            </a:custGeom>
            <a:noFill/>
            <a:ln w="6350" cap="flat">
              <a:solidFill>
                <a:schemeClr val="accent1"/>
              </a:solidFill>
              <a:prstDash val="solid"/>
              <a:bevel/>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2" name="Freeform 218"/>
            <p:cNvSpPr>
              <a:spLocks/>
            </p:cNvSpPr>
            <p:nvPr/>
          </p:nvSpPr>
          <p:spPr bwMode="auto">
            <a:xfrm>
              <a:off x="2282825" y="-4897438"/>
              <a:ext cx="4349750" cy="584200"/>
            </a:xfrm>
            <a:custGeom>
              <a:avLst/>
              <a:gdLst>
                <a:gd name="T0" fmla="*/ 0 w 2740"/>
                <a:gd name="T1" fmla="*/ 0 h 368"/>
                <a:gd name="T2" fmla="*/ 368 w 2740"/>
                <a:gd name="T3" fmla="*/ 368 h 368"/>
                <a:gd name="T4" fmla="*/ 2662 w 2740"/>
                <a:gd name="T5" fmla="*/ 368 h 368"/>
                <a:gd name="T6" fmla="*/ 2740 w 2740"/>
                <a:gd name="T7" fmla="*/ 288 h 368"/>
              </a:gdLst>
              <a:ahLst/>
              <a:cxnLst>
                <a:cxn ang="0">
                  <a:pos x="T0" y="T1"/>
                </a:cxn>
                <a:cxn ang="0">
                  <a:pos x="T2" y="T3"/>
                </a:cxn>
                <a:cxn ang="0">
                  <a:pos x="T4" y="T5"/>
                </a:cxn>
                <a:cxn ang="0">
                  <a:pos x="T6" y="T7"/>
                </a:cxn>
              </a:cxnLst>
              <a:rect l="0" t="0" r="r" b="b"/>
              <a:pathLst>
                <a:path w="2740" h="368">
                  <a:moveTo>
                    <a:pt x="0" y="0"/>
                  </a:moveTo>
                  <a:lnTo>
                    <a:pt x="368" y="368"/>
                  </a:lnTo>
                  <a:lnTo>
                    <a:pt x="2662" y="368"/>
                  </a:lnTo>
                  <a:lnTo>
                    <a:pt x="2740" y="288"/>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3" name="Freeform 219"/>
            <p:cNvSpPr>
              <a:spLocks/>
            </p:cNvSpPr>
            <p:nvPr/>
          </p:nvSpPr>
          <p:spPr bwMode="auto">
            <a:xfrm>
              <a:off x="2649537" y="-4897438"/>
              <a:ext cx="4260850" cy="584200"/>
            </a:xfrm>
            <a:custGeom>
              <a:avLst/>
              <a:gdLst>
                <a:gd name="T0" fmla="*/ 0 w 2684"/>
                <a:gd name="T1" fmla="*/ 0 h 368"/>
                <a:gd name="T2" fmla="*/ 369 w 2684"/>
                <a:gd name="T3" fmla="*/ 368 h 368"/>
                <a:gd name="T4" fmla="*/ 2603 w 2684"/>
                <a:gd name="T5" fmla="*/ 368 h 368"/>
                <a:gd name="T6" fmla="*/ 2684 w 2684"/>
                <a:gd name="T7" fmla="*/ 288 h 368"/>
              </a:gdLst>
              <a:ahLst/>
              <a:cxnLst>
                <a:cxn ang="0">
                  <a:pos x="T0" y="T1"/>
                </a:cxn>
                <a:cxn ang="0">
                  <a:pos x="T2" y="T3"/>
                </a:cxn>
                <a:cxn ang="0">
                  <a:pos x="T4" y="T5"/>
                </a:cxn>
                <a:cxn ang="0">
                  <a:pos x="T6" y="T7"/>
                </a:cxn>
              </a:cxnLst>
              <a:rect l="0" t="0" r="r" b="b"/>
              <a:pathLst>
                <a:path w="2684" h="368">
                  <a:moveTo>
                    <a:pt x="0" y="0"/>
                  </a:moveTo>
                  <a:lnTo>
                    <a:pt x="369" y="368"/>
                  </a:lnTo>
                  <a:lnTo>
                    <a:pt x="2603" y="368"/>
                  </a:lnTo>
                  <a:lnTo>
                    <a:pt x="2684" y="288"/>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4" name="Freeform 220"/>
            <p:cNvSpPr>
              <a:spLocks/>
            </p:cNvSpPr>
            <p:nvPr/>
          </p:nvSpPr>
          <p:spPr bwMode="auto">
            <a:xfrm>
              <a:off x="2781300" y="-5772150"/>
              <a:ext cx="4225925" cy="717550"/>
            </a:xfrm>
            <a:custGeom>
              <a:avLst/>
              <a:gdLst>
                <a:gd name="T0" fmla="*/ 0 w 2662"/>
                <a:gd name="T1" fmla="*/ 0 h 452"/>
                <a:gd name="T2" fmla="*/ 451 w 2662"/>
                <a:gd name="T3" fmla="*/ 452 h 452"/>
                <a:gd name="T4" fmla="*/ 2627 w 2662"/>
                <a:gd name="T5" fmla="*/ 452 h 452"/>
                <a:gd name="T6" fmla="*/ 2662 w 2662"/>
                <a:gd name="T7" fmla="*/ 416 h 452"/>
              </a:gdLst>
              <a:ahLst/>
              <a:cxnLst>
                <a:cxn ang="0">
                  <a:pos x="T0" y="T1"/>
                </a:cxn>
                <a:cxn ang="0">
                  <a:pos x="T2" y="T3"/>
                </a:cxn>
                <a:cxn ang="0">
                  <a:pos x="T4" y="T5"/>
                </a:cxn>
                <a:cxn ang="0">
                  <a:pos x="T6" y="T7"/>
                </a:cxn>
              </a:cxnLst>
              <a:rect l="0" t="0" r="r" b="b"/>
              <a:pathLst>
                <a:path w="2662" h="452">
                  <a:moveTo>
                    <a:pt x="0" y="0"/>
                  </a:moveTo>
                  <a:lnTo>
                    <a:pt x="451" y="452"/>
                  </a:lnTo>
                  <a:lnTo>
                    <a:pt x="2627" y="452"/>
                  </a:lnTo>
                  <a:lnTo>
                    <a:pt x="2662" y="416"/>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5" name="Freeform 221"/>
            <p:cNvSpPr>
              <a:spLocks/>
            </p:cNvSpPr>
            <p:nvPr/>
          </p:nvSpPr>
          <p:spPr bwMode="auto">
            <a:xfrm>
              <a:off x="3133725" y="-5772150"/>
              <a:ext cx="4137025" cy="717550"/>
            </a:xfrm>
            <a:custGeom>
              <a:avLst/>
              <a:gdLst>
                <a:gd name="T0" fmla="*/ 0 w 2606"/>
                <a:gd name="T1" fmla="*/ 0 h 452"/>
                <a:gd name="T2" fmla="*/ 449 w 2606"/>
                <a:gd name="T3" fmla="*/ 452 h 452"/>
                <a:gd name="T4" fmla="*/ 2570 w 2606"/>
                <a:gd name="T5" fmla="*/ 452 h 452"/>
                <a:gd name="T6" fmla="*/ 2606 w 2606"/>
                <a:gd name="T7" fmla="*/ 416 h 452"/>
              </a:gdLst>
              <a:ahLst/>
              <a:cxnLst>
                <a:cxn ang="0">
                  <a:pos x="T0" y="T1"/>
                </a:cxn>
                <a:cxn ang="0">
                  <a:pos x="T2" y="T3"/>
                </a:cxn>
                <a:cxn ang="0">
                  <a:pos x="T4" y="T5"/>
                </a:cxn>
                <a:cxn ang="0">
                  <a:pos x="T6" y="T7"/>
                </a:cxn>
              </a:cxnLst>
              <a:rect l="0" t="0" r="r" b="b"/>
              <a:pathLst>
                <a:path w="2606" h="452">
                  <a:moveTo>
                    <a:pt x="0" y="0"/>
                  </a:moveTo>
                  <a:lnTo>
                    <a:pt x="449" y="452"/>
                  </a:lnTo>
                  <a:lnTo>
                    <a:pt x="2570" y="452"/>
                  </a:lnTo>
                  <a:lnTo>
                    <a:pt x="2606" y="416"/>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6" name="Freeform 222"/>
            <p:cNvSpPr>
              <a:spLocks/>
            </p:cNvSpPr>
            <p:nvPr/>
          </p:nvSpPr>
          <p:spPr bwMode="auto">
            <a:xfrm>
              <a:off x="4603750" y="-5772150"/>
              <a:ext cx="3776663" cy="717550"/>
            </a:xfrm>
            <a:custGeom>
              <a:avLst/>
              <a:gdLst>
                <a:gd name="T0" fmla="*/ 0 w 2379"/>
                <a:gd name="T1" fmla="*/ 0 h 452"/>
                <a:gd name="T2" fmla="*/ 451 w 2379"/>
                <a:gd name="T3" fmla="*/ 452 h 452"/>
                <a:gd name="T4" fmla="*/ 2343 w 2379"/>
                <a:gd name="T5" fmla="*/ 452 h 452"/>
                <a:gd name="T6" fmla="*/ 2379 w 2379"/>
                <a:gd name="T7" fmla="*/ 416 h 452"/>
              </a:gdLst>
              <a:ahLst/>
              <a:cxnLst>
                <a:cxn ang="0">
                  <a:pos x="T0" y="T1"/>
                </a:cxn>
                <a:cxn ang="0">
                  <a:pos x="T2" y="T3"/>
                </a:cxn>
                <a:cxn ang="0">
                  <a:pos x="T4" y="T5"/>
                </a:cxn>
                <a:cxn ang="0">
                  <a:pos x="T6" y="T7"/>
                </a:cxn>
              </a:cxnLst>
              <a:rect l="0" t="0" r="r" b="b"/>
              <a:pathLst>
                <a:path w="2379" h="452">
                  <a:moveTo>
                    <a:pt x="0" y="0"/>
                  </a:moveTo>
                  <a:lnTo>
                    <a:pt x="451" y="452"/>
                  </a:lnTo>
                  <a:lnTo>
                    <a:pt x="2343" y="452"/>
                  </a:lnTo>
                  <a:lnTo>
                    <a:pt x="2379" y="416"/>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7" name="Freeform 223"/>
            <p:cNvSpPr>
              <a:spLocks/>
            </p:cNvSpPr>
            <p:nvPr/>
          </p:nvSpPr>
          <p:spPr bwMode="auto">
            <a:xfrm>
              <a:off x="4956175" y="-5772150"/>
              <a:ext cx="3686175" cy="717550"/>
            </a:xfrm>
            <a:custGeom>
              <a:avLst/>
              <a:gdLst>
                <a:gd name="T0" fmla="*/ 0 w 2322"/>
                <a:gd name="T1" fmla="*/ 0 h 452"/>
                <a:gd name="T2" fmla="*/ 449 w 2322"/>
                <a:gd name="T3" fmla="*/ 452 h 452"/>
                <a:gd name="T4" fmla="*/ 2287 w 2322"/>
                <a:gd name="T5" fmla="*/ 452 h 452"/>
                <a:gd name="T6" fmla="*/ 2322 w 2322"/>
                <a:gd name="T7" fmla="*/ 416 h 452"/>
              </a:gdLst>
              <a:ahLst/>
              <a:cxnLst>
                <a:cxn ang="0">
                  <a:pos x="T0" y="T1"/>
                </a:cxn>
                <a:cxn ang="0">
                  <a:pos x="T2" y="T3"/>
                </a:cxn>
                <a:cxn ang="0">
                  <a:pos x="T4" y="T5"/>
                </a:cxn>
                <a:cxn ang="0">
                  <a:pos x="T6" y="T7"/>
                </a:cxn>
              </a:cxnLst>
              <a:rect l="0" t="0" r="r" b="b"/>
              <a:pathLst>
                <a:path w="2322" h="452">
                  <a:moveTo>
                    <a:pt x="0" y="0"/>
                  </a:moveTo>
                  <a:lnTo>
                    <a:pt x="449" y="452"/>
                  </a:lnTo>
                  <a:lnTo>
                    <a:pt x="2287" y="452"/>
                  </a:lnTo>
                  <a:lnTo>
                    <a:pt x="2322" y="416"/>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8" name="Freeform 224"/>
            <p:cNvSpPr>
              <a:spLocks/>
            </p:cNvSpPr>
            <p:nvPr/>
          </p:nvSpPr>
          <p:spPr bwMode="auto">
            <a:xfrm>
              <a:off x="5087937" y="-4897438"/>
              <a:ext cx="3648075" cy="584200"/>
            </a:xfrm>
            <a:custGeom>
              <a:avLst/>
              <a:gdLst>
                <a:gd name="T0" fmla="*/ 0 w 2298"/>
                <a:gd name="T1" fmla="*/ 0 h 368"/>
                <a:gd name="T2" fmla="*/ 366 w 2298"/>
                <a:gd name="T3" fmla="*/ 368 h 368"/>
                <a:gd name="T4" fmla="*/ 2218 w 2298"/>
                <a:gd name="T5" fmla="*/ 368 h 368"/>
                <a:gd name="T6" fmla="*/ 2298 w 2298"/>
                <a:gd name="T7" fmla="*/ 288 h 368"/>
              </a:gdLst>
              <a:ahLst/>
              <a:cxnLst>
                <a:cxn ang="0">
                  <a:pos x="T0" y="T1"/>
                </a:cxn>
                <a:cxn ang="0">
                  <a:pos x="T2" y="T3"/>
                </a:cxn>
                <a:cxn ang="0">
                  <a:pos x="T4" y="T5"/>
                </a:cxn>
                <a:cxn ang="0">
                  <a:pos x="T6" y="T7"/>
                </a:cxn>
              </a:cxnLst>
              <a:rect l="0" t="0" r="r" b="b"/>
              <a:pathLst>
                <a:path w="2298" h="368">
                  <a:moveTo>
                    <a:pt x="0" y="0"/>
                  </a:moveTo>
                  <a:lnTo>
                    <a:pt x="366" y="368"/>
                  </a:lnTo>
                  <a:lnTo>
                    <a:pt x="2218" y="368"/>
                  </a:lnTo>
                  <a:lnTo>
                    <a:pt x="2298" y="288"/>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99" name="Freeform 225"/>
            <p:cNvSpPr>
              <a:spLocks/>
            </p:cNvSpPr>
            <p:nvPr/>
          </p:nvSpPr>
          <p:spPr bwMode="auto">
            <a:xfrm>
              <a:off x="5454650" y="-4897438"/>
              <a:ext cx="3556000" cy="584200"/>
            </a:xfrm>
            <a:custGeom>
              <a:avLst/>
              <a:gdLst>
                <a:gd name="T0" fmla="*/ 0 w 2240"/>
                <a:gd name="T1" fmla="*/ 0 h 368"/>
                <a:gd name="T2" fmla="*/ 369 w 2240"/>
                <a:gd name="T3" fmla="*/ 368 h 368"/>
                <a:gd name="T4" fmla="*/ 2162 w 2240"/>
                <a:gd name="T5" fmla="*/ 368 h 368"/>
                <a:gd name="T6" fmla="*/ 2240 w 2240"/>
                <a:gd name="T7" fmla="*/ 288 h 368"/>
              </a:gdLst>
              <a:ahLst/>
              <a:cxnLst>
                <a:cxn ang="0">
                  <a:pos x="T0" y="T1"/>
                </a:cxn>
                <a:cxn ang="0">
                  <a:pos x="T2" y="T3"/>
                </a:cxn>
                <a:cxn ang="0">
                  <a:pos x="T4" y="T5"/>
                </a:cxn>
                <a:cxn ang="0">
                  <a:pos x="T6" y="T7"/>
                </a:cxn>
              </a:cxnLst>
              <a:rect l="0" t="0" r="r" b="b"/>
              <a:pathLst>
                <a:path w="2240" h="368">
                  <a:moveTo>
                    <a:pt x="0" y="0"/>
                  </a:moveTo>
                  <a:lnTo>
                    <a:pt x="369" y="368"/>
                  </a:lnTo>
                  <a:lnTo>
                    <a:pt x="2162" y="368"/>
                  </a:lnTo>
                  <a:lnTo>
                    <a:pt x="2240" y="288"/>
                  </a:lnTo>
                </a:path>
              </a:pathLst>
            </a:custGeom>
            <a:noFill/>
            <a:ln w="3175"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48383" name="Group 48382"/>
          <p:cNvGrpSpPr/>
          <p:nvPr/>
        </p:nvGrpSpPr>
        <p:grpSpPr>
          <a:xfrm>
            <a:off x="5754029" y="5541173"/>
            <a:ext cx="410417" cy="560000"/>
            <a:chOff x="7670241" y="4216262"/>
            <a:chExt cx="736132" cy="1004427"/>
          </a:xfrm>
        </p:grpSpPr>
        <p:sp>
          <p:nvSpPr>
            <p:cNvPr id="700" name="Freeform 226"/>
            <p:cNvSpPr>
              <a:spLocks/>
            </p:cNvSpPr>
            <p:nvPr/>
          </p:nvSpPr>
          <p:spPr bwMode="auto">
            <a:xfrm>
              <a:off x="7670241" y="4295480"/>
              <a:ext cx="736132" cy="137137"/>
            </a:xfrm>
            <a:custGeom>
              <a:avLst/>
              <a:gdLst>
                <a:gd name="T0" fmla="*/ 108 w 1970"/>
                <a:gd name="T1" fmla="*/ 367 h 367"/>
                <a:gd name="T2" fmla="*/ 108 w 1970"/>
                <a:gd name="T3" fmla="*/ 161 h 367"/>
                <a:gd name="T4" fmla="*/ 47 w 1970"/>
                <a:gd name="T5" fmla="*/ 161 h 367"/>
                <a:gd name="T6" fmla="*/ 0 w 1970"/>
                <a:gd name="T7" fmla="*/ 114 h 367"/>
                <a:gd name="T8" fmla="*/ 0 w 1970"/>
                <a:gd name="T9" fmla="*/ 48 h 367"/>
                <a:gd name="T10" fmla="*/ 47 w 1970"/>
                <a:gd name="T11" fmla="*/ 0 h 367"/>
                <a:gd name="T12" fmla="*/ 1923 w 1970"/>
                <a:gd name="T13" fmla="*/ 0 h 367"/>
                <a:gd name="T14" fmla="*/ 1970 w 1970"/>
                <a:gd name="T15" fmla="*/ 48 h 367"/>
                <a:gd name="T16" fmla="*/ 1970 w 1970"/>
                <a:gd name="T17" fmla="*/ 114 h 367"/>
                <a:gd name="T18" fmla="*/ 1923 w 1970"/>
                <a:gd name="T19" fmla="*/ 161 h 367"/>
                <a:gd name="T20" fmla="*/ 1861 w 1970"/>
                <a:gd name="T21" fmla="*/ 161 h 367"/>
                <a:gd name="T22" fmla="*/ 1861 w 1970"/>
                <a:gd name="T23" fmla="*/ 367 h 367"/>
                <a:gd name="T24" fmla="*/ 108 w 1970"/>
                <a:gd name="T25"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7">
                  <a:moveTo>
                    <a:pt x="108" y="367"/>
                  </a:moveTo>
                  <a:lnTo>
                    <a:pt x="108" y="161"/>
                  </a:lnTo>
                  <a:lnTo>
                    <a:pt x="47" y="161"/>
                  </a:lnTo>
                  <a:lnTo>
                    <a:pt x="0" y="114"/>
                  </a:lnTo>
                  <a:lnTo>
                    <a:pt x="0" y="48"/>
                  </a:lnTo>
                  <a:lnTo>
                    <a:pt x="47" y="0"/>
                  </a:lnTo>
                  <a:lnTo>
                    <a:pt x="1923" y="0"/>
                  </a:lnTo>
                  <a:lnTo>
                    <a:pt x="1970" y="48"/>
                  </a:lnTo>
                  <a:lnTo>
                    <a:pt x="1970" y="114"/>
                  </a:lnTo>
                  <a:lnTo>
                    <a:pt x="1923" y="161"/>
                  </a:lnTo>
                  <a:lnTo>
                    <a:pt x="1861" y="161"/>
                  </a:lnTo>
                  <a:lnTo>
                    <a:pt x="1861" y="367"/>
                  </a:lnTo>
                  <a:lnTo>
                    <a:pt x="108" y="367"/>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703" name="Freeform 229"/>
            <p:cNvSpPr>
              <a:spLocks/>
            </p:cNvSpPr>
            <p:nvPr/>
          </p:nvSpPr>
          <p:spPr bwMode="auto">
            <a:xfrm>
              <a:off x="8159002" y="4216262"/>
              <a:ext cx="150963" cy="48577"/>
            </a:xfrm>
            <a:custGeom>
              <a:avLst/>
              <a:gdLst>
                <a:gd name="T0" fmla="*/ 0 w 404"/>
                <a:gd name="T1" fmla="*/ 82 h 130"/>
                <a:gd name="T2" fmla="*/ 81 w 404"/>
                <a:gd name="T3" fmla="*/ 0 h 130"/>
                <a:gd name="T4" fmla="*/ 324 w 404"/>
                <a:gd name="T5" fmla="*/ 0 h 130"/>
                <a:gd name="T6" fmla="*/ 404 w 404"/>
                <a:gd name="T7" fmla="*/ 82 h 130"/>
                <a:gd name="T8" fmla="*/ 404 w 404"/>
                <a:gd name="T9" fmla="*/ 130 h 130"/>
                <a:gd name="T10" fmla="*/ 0 w 404"/>
                <a:gd name="T11" fmla="*/ 130 h 130"/>
                <a:gd name="T12" fmla="*/ 0 w 404"/>
                <a:gd name="T13" fmla="*/ 82 h 130"/>
              </a:gdLst>
              <a:ahLst/>
              <a:cxnLst>
                <a:cxn ang="0">
                  <a:pos x="T0" y="T1"/>
                </a:cxn>
                <a:cxn ang="0">
                  <a:pos x="T2" y="T3"/>
                </a:cxn>
                <a:cxn ang="0">
                  <a:pos x="T4" y="T5"/>
                </a:cxn>
                <a:cxn ang="0">
                  <a:pos x="T6" y="T7"/>
                </a:cxn>
                <a:cxn ang="0">
                  <a:pos x="T8" y="T9"/>
                </a:cxn>
                <a:cxn ang="0">
                  <a:pos x="T10" y="T11"/>
                </a:cxn>
                <a:cxn ang="0">
                  <a:pos x="T12" y="T13"/>
                </a:cxn>
              </a:cxnLst>
              <a:rect l="0" t="0" r="r" b="b"/>
              <a:pathLst>
                <a:path w="404" h="130">
                  <a:moveTo>
                    <a:pt x="0" y="82"/>
                  </a:moveTo>
                  <a:lnTo>
                    <a:pt x="81" y="0"/>
                  </a:lnTo>
                  <a:lnTo>
                    <a:pt x="324" y="0"/>
                  </a:lnTo>
                  <a:lnTo>
                    <a:pt x="404" y="82"/>
                  </a:lnTo>
                  <a:lnTo>
                    <a:pt x="404" y="130"/>
                  </a:lnTo>
                  <a:lnTo>
                    <a:pt x="0" y="130"/>
                  </a:lnTo>
                  <a:lnTo>
                    <a:pt x="0" y="82"/>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4" name="Freeform 232"/>
            <p:cNvSpPr>
              <a:spLocks/>
            </p:cNvSpPr>
            <p:nvPr/>
          </p:nvSpPr>
          <p:spPr bwMode="auto">
            <a:xfrm>
              <a:off x="7670241" y="4463258"/>
              <a:ext cx="736132" cy="498851"/>
            </a:xfrm>
            <a:custGeom>
              <a:avLst/>
              <a:gdLst>
                <a:gd name="T0" fmla="*/ 108 w 1970"/>
                <a:gd name="T1" fmla="*/ 1335 h 1335"/>
                <a:gd name="T2" fmla="*/ 108 w 1970"/>
                <a:gd name="T3" fmla="*/ 161 h 1335"/>
                <a:gd name="T4" fmla="*/ 47 w 1970"/>
                <a:gd name="T5" fmla="*/ 161 h 1335"/>
                <a:gd name="T6" fmla="*/ 0 w 1970"/>
                <a:gd name="T7" fmla="*/ 114 h 1335"/>
                <a:gd name="T8" fmla="*/ 0 w 1970"/>
                <a:gd name="T9" fmla="*/ 48 h 1335"/>
                <a:gd name="T10" fmla="*/ 47 w 1970"/>
                <a:gd name="T11" fmla="*/ 0 h 1335"/>
                <a:gd name="T12" fmla="*/ 1923 w 1970"/>
                <a:gd name="T13" fmla="*/ 0 h 1335"/>
                <a:gd name="T14" fmla="*/ 1970 w 1970"/>
                <a:gd name="T15" fmla="*/ 48 h 1335"/>
                <a:gd name="T16" fmla="*/ 1970 w 1970"/>
                <a:gd name="T17" fmla="*/ 114 h 1335"/>
                <a:gd name="T18" fmla="*/ 1923 w 1970"/>
                <a:gd name="T19" fmla="*/ 161 h 1335"/>
                <a:gd name="T20" fmla="*/ 1861 w 1970"/>
                <a:gd name="T21" fmla="*/ 161 h 1335"/>
                <a:gd name="T22" fmla="*/ 1861 w 1970"/>
                <a:gd name="T23" fmla="*/ 1335 h 1335"/>
                <a:gd name="T24" fmla="*/ 108 w 1970"/>
                <a:gd name="T25" fmla="*/ 1335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1335">
                  <a:moveTo>
                    <a:pt x="108" y="1335"/>
                  </a:moveTo>
                  <a:lnTo>
                    <a:pt x="108" y="161"/>
                  </a:lnTo>
                  <a:lnTo>
                    <a:pt x="47" y="161"/>
                  </a:lnTo>
                  <a:lnTo>
                    <a:pt x="0" y="114"/>
                  </a:lnTo>
                  <a:lnTo>
                    <a:pt x="0" y="48"/>
                  </a:lnTo>
                  <a:lnTo>
                    <a:pt x="47" y="0"/>
                  </a:lnTo>
                  <a:lnTo>
                    <a:pt x="1923" y="0"/>
                  </a:lnTo>
                  <a:lnTo>
                    <a:pt x="1970" y="48"/>
                  </a:lnTo>
                  <a:lnTo>
                    <a:pt x="1970" y="114"/>
                  </a:lnTo>
                  <a:lnTo>
                    <a:pt x="1923" y="161"/>
                  </a:lnTo>
                  <a:lnTo>
                    <a:pt x="1861" y="161"/>
                  </a:lnTo>
                  <a:lnTo>
                    <a:pt x="1861" y="1335"/>
                  </a:lnTo>
                  <a:lnTo>
                    <a:pt x="108" y="1335"/>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57" name="Freeform 235"/>
            <p:cNvSpPr>
              <a:spLocks/>
            </p:cNvSpPr>
            <p:nvPr/>
          </p:nvSpPr>
          <p:spPr bwMode="auto">
            <a:xfrm>
              <a:off x="7670241" y="4993124"/>
              <a:ext cx="736132" cy="136764"/>
            </a:xfrm>
            <a:custGeom>
              <a:avLst/>
              <a:gdLst>
                <a:gd name="T0" fmla="*/ 108 w 1970"/>
                <a:gd name="T1" fmla="*/ 366 h 366"/>
                <a:gd name="T2" fmla="*/ 108 w 1970"/>
                <a:gd name="T3" fmla="*/ 160 h 366"/>
                <a:gd name="T4" fmla="*/ 47 w 1970"/>
                <a:gd name="T5" fmla="*/ 160 h 366"/>
                <a:gd name="T6" fmla="*/ 0 w 1970"/>
                <a:gd name="T7" fmla="*/ 113 h 366"/>
                <a:gd name="T8" fmla="*/ 0 w 1970"/>
                <a:gd name="T9" fmla="*/ 47 h 366"/>
                <a:gd name="T10" fmla="*/ 47 w 1970"/>
                <a:gd name="T11" fmla="*/ 0 h 366"/>
                <a:gd name="T12" fmla="*/ 1923 w 1970"/>
                <a:gd name="T13" fmla="*/ 0 h 366"/>
                <a:gd name="T14" fmla="*/ 1970 w 1970"/>
                <a:gd name="T15" fmla="*/ 47 h 366"/>
                <a:gd name="T16" fmla="*/ 1970 w 1970"/>
                <a:gd name="T17" fmla="*/ 113 h 366"/>
                <a:gd name="T18" fmla="*/ 1923 w 1970"/>
                <a:gd name="T19" fmla="*/ 160 h 366"/>
                <a:gd name="T20" fmla="*/ 1861 w 1970"/>
                <a:gd name="T21" fmla="*/ 160 h 366"/>
                <a:gd name="T22" fmla="*/ 1861 w 1970"/>
                <a:gd name="T23" fmla="*/ 366 h 366"/>
                <a:gd name="T24" fmla="*/ 108 w 1970"/>
                <a:gd name="T2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0" h="366">
                  <a:moveTo>
                    <a:pt x="108" y="366"/>
                  </a:moveTo>
                  <a:lnTo>
                    <a:pt x="108" y="160"/>
                  </a:lnTo>
                  <a:lnTo>
                    <a:pt x="47" y="160"/>
                  </a:lnTo>
                  <a:lnTo>
                    <a:pt x="0" y="113"/>
                  </a:lnTo>
                  <a:lnTo>
                    <a:pt x="0" y="47"/>
                  </a:lnTo>
                  <a:lnTo>
                    <a:pt x="47" y="0"/>
                  </a:lnTo>
                  <a:lnTo>
                    <a:pt x="1923" y="0"/>
                  </a:lnTo>
                  <a:lnTo>
                    <a:pt x="1970" y="47"/>
                  </a:lnTo>
                  <a:lnTo>
                    <a:pt x="1970" y="113"/>
                  </a:lnTo>
                  <a:lnTo>
                    <a:pt x="1923" y="160"/>
                  </a:lnTo>
                  <a:lnTo>
                    <a:pt x="1861" y="160"/>
                  </a:lnTo>
                  <a:lnTo>
                    <a:pt x="1861" y="366"/>
                  </a:lnTo>
                  <a:lnTo>
                    <a:pt x="108" y="366"/>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60" name="Freeform 238"/>
            <p:cNvSpPr>
              <a:spLocks/>
            </p:cNvSpPr>
            <p:nvPr/>
          </p:nvSpPr>
          <p:spPr bwMode="auto">
            <a:xfrm>
              <a:off x="7670241" y="5160902"/>
              <a:ext cx="736132" cy="59787"/>
            </a:xfrm>
            <a:custGeom>
              <a:avLst/>
              <a:gdLst>
                <a:gd name="T0" fmla="*/ 47 w 1970"/>
                <a:gd name="T1" fmla="*/ 160 h 160"/>
                <a:gd name="T2" fmla="*/ 0 w 1970"/>
                <a:gd name="T3" fmla="*/ 113 h 160"/>
                <a:gd name="T4" fmla="*/ 0 w 1970"/>
                <a:gd name="T5" fmla="*/ 47 h 160"/>
                <a:gd name="T6" fmla="*/ 47 w 1970"/>
                <a:gd name="T7" fmla="*/ 0 h 160"/>
                <a:gd name="T8" fmla="*/ 1923 w 1970"/>
                <a:gd name="T9" fmla="*/ 0 h 160"/>
                <a:gd name="T10" fmla="*/ 1970 w 1970"/>
                <a:gd name="T11" fmla="*/ 47 h 160"/>
                <a:gd name="T12" fmla="*/ 1970 w 1970"/>
                <a:gd name="T13" fmla="*/ 113 h 160"/>
                <a:gd name="T14" fmla="*/ 1923 w 1970"/>
                <a:gd name="T15" fmla="*/ 160 h 160"/>
                <a:gd name="T16" fmla="*/ 47 w 197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0" h="160">
                  <a:moveTo>
                    <a:pt x="47" y="160"/>
                  </a:moveTo>
                  <a:lnTo>
                    <a:pt x="0" y="113"/>
                  </a:lnTo>
                  <a:lnTo>
                    <a:pt x="0" y="47"/>
                  </a:lnTo>
                  <a:lnTo>
                    <a:pt x="47" y="0"/>
                  </a:lnTo>
                  <a:lnTo>
                    <a:pt x="1923" y="0"/>
                  </a:lnTo>
                  <a:lnTo>
                    <a:pt x="1970" y="47"/>
                  </a:lnTo>
                  <a:lnTo>
                    <a:pt x="1970" y="113"/>
                  </a:lnTo>
                  <a:lnTo>
                    <a:pt x="1923" y="160"/>
                  </a:lnTo>
                  <a:lnTo>
                    <a:pt x="47" y="160"/>
                  </a:lnTo>
                  <a:close/>
                </a:path>
              </a:pathLst>
            </a:cu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379" name="Group 48378"/>
          <p:cNvGrpSpPr/>
          <p:nvPr/>
        </p:nvGrpSpPr>
        <p:grpSpPr>
          <a:xfrm>
            <a:off x="4252920" y="5345779"/>
            <a:ext cx="1082776" cy="767681"/>
            <a:chOff x="8999537" y="-6097588"/>
            <a:chExt cx="5013326" cy="3554413"/>
          </a:xfrm>
          <a:solidFill>
            <a:schemeClr val="bg1"/>
          </a:solidFill>
        </p:grpSpPr>
        <p:sp>
          <p:nvSpPr>
            <p:cNvPr id="48363" name="Freeform 241"/>
            <p:cNvSpPr>
              <a:spLocks/>
            </p:cNvSpPr>
            <p:nvPr/>
          </p:nvSpPr>
          <p:spPr bwMode="auto">
            <a:xfrm>
              <a:off x="8999537" y="-4219575"/>
              <a:ext cx="3584575" cy="1676400"/>
            </a:xfrm>
            <a:custGeom>
              <a:avLst/>
              <a:gdLst>
                <a:gd name="T0" fmla="*/ 2258 w 2258"/>
                <a:gd name="T1" fmla="*/ 0 h 1056"/>
                <a:gd name="T2" fmla="*/ 2163 w 2258"/>
                <a:gd name="T3" fmla="*/ 0 h 1056"/>
                <a:gd name="T4" fmla="*/ 1880 w 2258"/>
                <a:gd name="T5" fmla="*/ 286 h 1056"/>
                <a:gd name="T6" fmla="*/ 1807 w 2258"/>
                <a:gd name="T7" fmla="*/ 286 h 1056"/>
                <a:gd name="T8" fmla="*/ 1807 w 2258"/>
                <a:gd name="T9" fmla="*/ 0 h 1056"/>
                <a:gd name="T10" fmla="*/ 1712 w 2258"/>
                <a:gd name="T11" fmla="*/ 0 h 1056"/>
                <a:gd name="T12" fmla="*/ 1429 w 2258"/>
                <a:gd name="T13" fmla="*/ 286 h 1056"/>
                <a:gd name="T14" fmla="*/ 1355 w 2258"/>
                <a:gd name="T15" fmla="*/ 286 h 1056"/>
                <a:gd name="T16" fmla="*/ 1355 w 2258"/>
                <a:gd name="T17" fmla="*/ 0 h 1056"/>
                <a:gd name="T18" fmla="*/ 1261 w 2258"/>
                <a:gd name="T19" fmla="*/ 0 h 1056"/>
                <a:gd name="T20" fmla="*/ 975 w 2258"/>
                <a:gd name="T21" fmla="*/ 286 h 1056"/>
                <a:gd name="T22" fmla="*/ 904 w 2258"/>
                <a:gd name="T23" fmla="*/ 286 h 1056"/>
                <a:gd name="T24" fmla="*/ 904 w 2258"/>
                <a:gd name="T25" fmla="*/ 0 h 1056"/>
                <a:gd name="T26" fmla="*/ 807 w 2258"/>
                <a:gd name="T27" fmla="*/ 0 h 1056"/>
                <a:gd name="T28" fmla="*/ 524 w 2258"/>
                <a:gd name="T29" fmla="*/ 286 h 1056"/>
                <a:gd name="T30" fmla="*/ 451 w 2258"/>
                <a:gd name="T31" fmla="*/ 286 h 1056"/>
                <a:gd name="T32" fmla="*/ 451 w 2258"/>
                <a:gd name="T33" fmla="*/ 0 h 1056"/>
                <a:gd name="T34" fmla="*/ 356 w 2258"/>
                <a:gd name="T35" fmla="*/ 0 h 1056"/>
                <a:gd name="T36" fmla="*/ 73 w 2258"/>
                <a:gd name="T37" fmla="*/ 286 h 1056"/>
                <a:gd name="T38" fmla="*/ 0 w 2258"/>
                <a:gd name="T39" fmla="*/ 286 h 1056"/>
                <a:gd name="T40" fmla="*/ 0 w 2258"/>
                <a:gd name="T41" fmla="*/ 1056 h 1056"/>
                <a:gd name="T42" fmla="*/ 2258 w 2258"/>
                <a:gd name="T43" fmla="*/ 1056 h 1056"/>
                <a:gd name="T44" fmla="*/ 2258 w 2258"/>
                <a:gd name="T45"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8" h="1056">
                  <a:moveTo>
                    <a:pt x="2258" y="0"/>
                  </a:moveTo>
                  <a:lnTo>
                    <a:pt x="2163" y="0"/>
                  </a:lnTo>
                  <a:lnTo>
                    <a:pt x="1880" y="286"/>
                  </a:lnTo>
                  <a:lnTo>
                    <a:pt x="1807" y="286"/>
                  </a:lnTo>
                  <a:lnTo>
                    <a:pt x="1807" y="0"/>
                  </a:lnTo>
                  <a:lnTo>
                    <a:pt x="1712" y="0"/>
                  </a:lnTo>
                  <a:lnTo>
                    <a:pt x="1429" y="286"/>
                  </a:lnTo>
                  <a:lnTo>
                    <a:pt x="1355" y="286"/>
                  </a:lnTo>
                  <a:lnTo>
                    <a:pt x="1355" y="0"/>
                  </a:lnTo>
                  <a:lnTo>
                    <a:pt x="1261" y="0"/>
                  </a:lnTo>
                  <a:lnTo>
                    <a:pt x="975" y="286"/>
                  </a:lnTo>
                  <a:lnTo>
                    <a:pt x="904" y="286"/>
                  </a:lnTo>
                  <a:lnTo>
                    <a:pt x="904" y="0"/>
                  </a:lnTo>
                  <a:lnTo>
                    <a:pt x="807" y="0"/>
                  </a:lnTo>
                  <a:lnTo>
                    <a:pt x="524" y="286"/>
                  </a:lnTo>
                  <a:lnTo>
                    <a:pt x="451" y="286"/>
                  </a:lnTo>
                  <a:lnTo>
                    <a:pt x="451" y="0"/>
                  </a:lnTo>
                  <a:lnTo>
                    <a:pt x="356" y="0"/>
                  </a:lnTo>
                  <a:lnTo>
                    <a:pt x="73" y="286"/>
                  </a:lnTo>
                  <a:lnTo>
                    <a:pt x="0" y="286"/>
                  </a:lnTo>
                  <a:lnTo>
                    <a:pt x="0" y="1056"/>
                  </a:lnTo>
                  <a:lnTo>
                    <a:pt x="2258" y="1056"/>
                  </a:lnTo>
                  <a:lnTo>
                    <a:pt x="2258" y="0"/>
                  </a:ln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4" name="Rectangle 242"/>
            <p:cNvSpPr>
              <a:spLocks noChangeArrowheads="1"/>
            </p:cNvSpPr>
            <p:nvPr/>
          </p:nvSpPr>
          <p:spPr bwMode="auto">
            <a:xfrm>
              <a:off x="9347200" y="-3506788"/>
              <a:ext cx="457200"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5" name="Rectangle 243"/>
            <p:cNvSpPr>
              <a:spLocks noChangeArrowheads="1"/>
            </p:cNvSpPr>
            <p:nvPr/>
          </p:nvSpPr>
          <p:spPr bwMode="auto">
            <a:xfrm>
              <a:off x="9804400"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6" name="Rectangle 244"/>
            <p:cNvSpPr>
              <a:spLocks noChangeArrowheads="1"/>
            </p:cNvSpPr>
            <p:nvPr/>
          </p:nvSpPr>
          <p:spPr bwMode="auto">
            <a:xfrm>
              <a:off x="10263187" y="-3506788"/>
              <a:ext cx="45243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7" name="Rectangle 245"/>
            <p:cNvSpPr>
              <a:spLocks noChangeArrowheads="1"/>
            </p:cNvSpPr>
            <p:nvPr/>
          </p:nvSpPr>
          <p:spPr bwMode="auto">
            <a:xfrm>
              <a:off x="10715625" y="-3506788"/>
              <a:ext cx="458788" cy="311150"/>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8" name="Rectangle 246"/>
            <p:cNvSpPr>
              <a:spLocks noChangeArrowheads="1"/>
            </p:cNvSpPr>
            <p:nvPr/>
          </p:nvSpPr>
          <p:spPr bwMode="auto">
            <a:xfrm>
              <a:off x="9347200" y="-3195638"/>
              <a:ext cx="457200"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69" name="Rectangle 247"/>
            <p:cNvSpPr>
              <a:spLocks noChangeArrowheads="1"/>
            </p:cNvSpPr>
            <p:nvPr/>
          </p:nvSpPr>
          <p:spPr bwMode="auto">
            <a:xfrm>
              <a:off x="9804400"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0" name="Rectangle 248"/>
            <p:cNvSpPr>
              <a:spLocks noChangeArrowheads="1"/>
            </p:cNvSpPr>
            <p:nvPr/>
          </p:nvSpPr>
          <p:spPr bwMode="auto">
            <a:xfrm>
              <a:off x="10263187" y="-3195638"/>
              <a:ext cx="45243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1" name="Rectangle 249"/>
            <p:cNvSpPr>
              <a:spLocks noChangeArrowheads="1"/>
            </p:cNvSpPr>
            <p:nvPr/>
          </p:nvSpPr>
          <p:spPr bwMode="auto">
            <a:xfrm>
              <a:off x="10715625" y="-3195638"/>
              <a:ext cx="458788" cy="307975"/>
            </a:xfrm>
            <a:prstGeom prst="rect">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372" name="Freeform 250"/>
            <p:cNvSpPr>
              <a:spLocks/>
            </p:cNvSpPr>
            <p:nvPr/>
          </p:nvSpPr>
          <p:spPr bwMode="auto">
            <a:xfrm>
              <a:off x="11868150" y="-6097588"/>
              <a:ext cx="2144713" cy="3554413"/>
            </a:xfrm>
            <a:custGeom>
              <a:avLst/>
              <a:gdLst>
                <a:gd name="T0" fmla="*/ 1228 w 1351"/>
                <a:gd name="T1" fmla="*/ 1599 h 2239"/>
                <a:gd name="T2" fmla="*/ 907 w 1351"/>
                <a:gd name="T3" fmla="*/ 1599 h 2239"/>
                <a:gd name="T4" fmla="*/ 867 w 1351"/>
                <a:gd name="T5" fmla="*/ 0 h 2239"/>
                <a:gd name="T6" fmla="*/ 668 w 1351"/>
                <a:gd name="T7" fmla="*/ 0 h 2239"/>
                <a:gd name="T8" fmla="*/ 628 w 1351"/>
                <a:gd name="T9" fmla="*/ 1599 h 2239"/>
                <a:gd name="T10" fmla="*/ 0 w 1351"/>
                <a:gd name="T11" fmla="*/ 1599 h 2239"/>
                <a:gd name="T12" fmla="*/ 0 w 1351"/>
                <a:gd name="T13" fmla="*/ 2239 h 2239"/>
                <a:gd name="T14" fmla="*/ 1351 w 1351"/>
                <a:gd name="T15" fmla="*/ 2239 h 2239"/>
                <a:gd name="T16" fmla="*/ 1351 w 1351"/>
                <a:gd name="T17" fmla="*/ 1722 h 2239"/>
                <a:gd name="T18" fmla="*/ 1228 w 1351"/>
                <a:gd name="T19" fmla="*/ 159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1" h="2239">
                  <a:moveTo>
                    <a:pt x="1228" y="1599"/>
                  </a:moveTo>
                  <a:lnTo>
                    <a:pt x="907" y="1599"/>
                  </a:lnTo>
                  <a:lnTo>
                    <a:pt x="867" y="0"/>
                  </a:lnTo>
                  <a:lnTo>
                    <a:pt x="668" y="0"/>
                  </a:lnTo>
                  <a:lnTo>
                    <a:pt x="628" y="1599"/>
                  </a:lnTo>
                  <a:lnTo>
                    <a:pt x="0" y="1599"/>
                  </a:lnTo>
                  <a:lnTo>
                    <a:pt x="0" y="2239"/>
                  </a:lnTo>
                  <a:lnTo>
                    <a:pt x="1351" y="2239"/>
                  </a:lnTo>
                  <a:lnTo>
                    <a:pt x="1351" y="1722"/>
                  </a:lnTo>
                  <a:lnTo>
                    <a:pt x="1228" y="1599"/>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4" name="Freeform 252"/>
            <p:cNvSpPr>
              <a:spLocks/>
            </p:cNvSpPr>
            <p:nvPr/>
          </p:nvSpPr>
          <p:spPr bwMode="auto">
            <a:xfrm>
              <a:off x="12914312" y="-5937250"/>
              <a:ext cx="341313" cy="255588"/>
            </a:xfrm>
            <a:custGeom>
              <a:avLst/>
              <a:gdLst>
                <a:gd name="T0" fmla="*/ 0 w 215"/>
                <a:gd name="T1" fmla="*/ 161 h 161"/>
                <a:gd name="T2" fmla="*/ 215 w 215"/>
                <a:gd name="T3" fmla="*/ 161 h 161"/>
                <a:gd name="T4" fmla="*/ 212 w 215"/>
                <a:gd name="T5" fmla="*/ 0 h 161"/>
                <a:gd name="T6" fmla="*/ 4 w 215"/>
                <a:gd name="T7" fmla="*/ 0 h 161"/>
                <a:gd name="T8" fmla="*/ 0 w 215"/>
                <a:gd name="T9" fmla="*/ 161 h 161"/>
              </a:gdLst>
              <a:ahLst/>
              <a:cxnLst>
                <a:cxn ang="0">
                  <a:pos x="T0" y="T1"/>
                </a:cxn>
                <a:cxn ang="0">
                  <a:pos x="T2" y="T3"/>
                </a:cxn>
                <a:cxn ang="0">
                  <a:pos x="T4" y="T5"/>
                </a:cxn>
                <a:cxn ang="0">
                  <a:pos x="T6" y="T7"/>
                </a:cxn>
                <a:cxn ang="0">
                  <a:pos x="T8" y="T9"/>
                </a:cxn>
              </a:cxnLst>
              <a:rect l="0" t="0" r="r" b="b"/>
              <a:pathLst>
                <a:path w="215" h="161">
                  <a:moveTo>
                    <a:pt x="0" y="161"/>
                  </a:moveTo>
                  <a:lnTo>
                    <a:pt x="215" y="161"/>
                  </a:lnTo>
                  <a:lnTo>
                    <a:pt x="212" y="0"/>
                  </a:lnTo>
                  <a:lnTo>
                    <a:pt x="4" y="0"/>
                  </a:lnTo>
                  <a:lnTo>
                    <a:pt x="0" y="1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5" name="Freeform 253"/>
            <p:cNvSpPr>
              <a:spLocks/>
            </p:cNvSpPr>
            <p:nvPr/>
          </p:nvSpPr>
          <p:spPr bwMode="auto">
            <a:xfrm>
              <a:off x="11736387" y="-3559175"/>
              <a:ext cx="131763" cy="0"/>
            </a:xfrm>
            <a:custGeom>
              <a:avLst/>
              <a:gdLst>
                <a:gd name="T0" fmla="*/ 83 w 83"/>
                <a:gd name="T1" fmla="*/ 0 w 83"/>
                <a:gd name="T2" fmla="*/ 83 w 83"/>
              </a:gdLst>
              <a:ahLst/>
              <a:cxnLst>
                <a:cxn ang="0">
                  <a:pos x="T0" y="0"/>
                </a:cxn>
                <a:cxn ang="0">
                  <a:pos x="T1" y="0"/>
                </a:cxn>
                <a:cxn ang="0">
                  <a:pos x="T2" y="0"/>
                </a:cxn>
              </a:cxnLst>
              <a:rect l="0" t="0" r="r" b="b"/>
              <a:pathLst>
                <a:path w="83">
                  <a:moveTo>
                    <a:pt x="83" y="0"/>
                  </a:moveTo>
                  <a:lnTo>
                    <a:pt x="0" y="0"/>
                  </a:lnTo>
                  <a:lnTo>
                    <a:pt x="83" y="0"/>
                  </a:ln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8376" name="Line 254"/>
            <p:cNvSpPr>
              <a:spLocks noChangeShapeType="1"/>
            </p:cNvSpPr>
            <p:nvPr/>
          </p:nvSpPr>
          <p:spPr bwMode="auto">
            <a:xfrm flipH="1">
              <a:off x="11736387" y="-3559175"/>
              <a:ext cx="131763" cy="0"/>
            </a:xfrm>
            <a:prstGeom prst="line">
              <a:avLst/>
            </a:pr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377" name="Rectangle 255"/>
            <p:cNvSpPr>
              <a:spLocks noChangeArrowheads="1"/>
            </p:cNvSpPr>
            <p:nvPr/>
          </p:nvSpPr>
          <p:spPr bwMode="auto">
            <a:xfrm>
              <a:off x="12104687" y="-3195638"/>
              <a:ext cx="479425" cy="652463"/>
            </a:xfrm>
            <a:prstGeom prst="rect">
              <a:avLst/>
            </a:prstGeom>
            <a:solidFill>
              <a:schemeClr val="accent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486" name="Group 485"/>
          <p:cNvGrpSpPr/>
          <p:nvPr/>
        </p:nvGrpSpPr>
        <p:grpSpPr>
          <a:xfrm>
            <a:off x="3358365" y="1796169"/>
            <a:ext cx="252997" cy="505835"/>
            <a:chOff x="10271126" y="250825"/>
            <a:chExt cx="2524125" cy="5046662"/>
          </a:xfrm>
          <a:solidFill>
            <a:schemeClr val="bg1"/>
          </a:solidFill>
        </p:grpSpPr>
        <p:sp>
          <p:nvSpPr>
            <p:cNvPr id="487" name="Freeform 68"/>
            <p:cNvSpPr>
              <a:spLocks/>
            </p:cNvSpPr>
            <p:nvPr/>
          </p:nvSpPr>
          <p:spPr bwMode="auto">
            <a:xfrm>
              <a:off x="10271126" y="250825"/>
              <a:ext cx="2524125" cy="5046662"/>
            </a:xfrm>
            <a:custGeom>
              <a:avLst/>
              <a:gdLst>
                <a:gd name="T0" fmla="*/ 1590 w 1590"/>
                <a:gd name="T1" fmla="*/ 252 h 3179"/>
                <a:gd name="T2" fmla="*/ 1434 w 1590"/>
                <a:gd name="T3" fmla="*/ 96 h 3179"/>
                <a:gd name="T4" fmla="*/ 1203 w 1590"/>
                <a:gd name="T5" fmla="*/ 0 h 3179"/>
                <a:gd name="T6" fmla="*/ 983 w 1590"/>
                <a:gd name="T7" fmla="*/ 0 h 3179"/>
                <a:gd name="T8" fmla="*/ 0 w 1590"/>
                <a:gd name="T9" fmla="*/ 2369 h 3179"/>
                <a:gd name="T10" fmla="*/ 0 w 1590"/>
                <a:gd name="T11" fmla="*/ 3158 h 3179"/>
                <a:gd name="T12" fmla="*/ 50 w 1590"/>
                <a:gd name="T13" fmla="*/ 3179 h 3179"/>
                <a:gd name="T14" fmla="*/ 610 w 1590"/>
                <a:gd name="T15" fmla="*/ 2619 h 3179"/>
                <a:gd name="T16" fmla="*/ 1590 w 1590"/>
                <a:gd name="T17" fmla="*/ 252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0" h="3179">
                  <a:moveTo>
                    <a:pt x="1590" y="252"/>
                  </a:moveTo>
                  <a:lnTo>
                    <a:pt x="1434" y="96"/>
                  </a:lnTo>
                  <a:lnTo>
                    <a:pt x="1203" y="0"/>
                  </a:lnTo>
                  <a:lnTo>
                    <a:pt x="983" y="0"/>
                  </a:lnTo>
                  <a:lnTo>
                    <a:pt x="0" y="2369"/>
                  </a:lnTo>
                  <a:lnTo>
                    <a:pt x="0" y="3158"/>
                  </a:lnTo>
                  <a:lnTo>
                    <a:pt x="50" y="3179"/>
                  </a:lnTo>
                  <a:lnTo>
                    <a:pt x="610" y="2619"/>
                  </a:lnTo>
                  <a:lnTo>
                    <a:pt x="1590" y="252"/>
                  </a:ln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8" name="Freeform 71"/>
            <p:cNvSpPr>
              <a:spLocks/>
            </p:cNvSpPr>
            <p:nvPr/>
          </p:nvSpPr>
          <p:spPr bwMode="auto">
            <a:xfrm>
              <a:off x="10271126" y="4011615"/>
              <a:ext cx="968378" cy="396871"/>
            </a:xfrm>
            <a:custGeom>
              <a:avLst/>
              <a:gdLst>
                <a:gd name="T0" fmla="*/ 0 w 610"/>
                <a:gd name="T1" fmla="*/ 0 h 250"/>
                <a:gd name="T2" fmla="*/ 222 w 610"/>
                <a:gd name="T3" fmla="*/ 0 h 250"/>
                <a:gd name="T4" fmla="*/ 454 w 610"/>
                <a:gd name="T5" fmla="*/ 94 h 250"/>
                <a:gd name="T6" fmla="*/ 610 w 610"/>
                <a:gd name="T7" fmla="*/ 250 h 250"/>
              </a:gdLst>
              <a:ahLst/>
              <a:cxnLst>
                <a:cxn ang="0">
                  <a:pos x="T0" y="T1"/>
                </a:cxn>
                <a:cxn ang="0">
                  <a:pos x="T2" y="T3"/>
                </a:cxn>
                <a:cxn ang="0">
                  <a:pos x="T4" y="T5"/>
                </a:cxn>
                <a:cxn ang="0">
                  <a:pos x="T6" y="T7"/>
                </a:cxn>
              </a:cxnLst>
              <a:rect l="0" t="0" r="r" b="b"/>
              <a:pathLst>
                <a:path w="610" h="250">
                  <a:moveTo>
                    <a:pt x="0" y="0"/>
                  </a:moveTo>
                  <a:lnTo>
                    <a:pt x="222" y="0"/>
                  </a:lnTo>
                  <a:lnTo>
                    <a:pt x="454" y="94"/>
                  </a:lnTo>
                  <a:lnTo>
                    <a:pt x="610" y="250"/>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89" name="Freeform 72"/>
            <p:cNvSpPr>
              <a:spLocks/>
            </p:cNvSpPr>
            <p:nvPr/>
          </p:nvSpPr>
          <p:spPr bwMode="auto">
            <a:xfrm>
              <a:off x="10271126" y="4922838"/>
              <a:ext cx="322263" cy="134937"/>
            </a:xfrm>
            <a:custGeom>
              <a:avLst/>
              <a:gdLst>
                <a:gd name="T0" fmla="*/ 0 w 203"/>
                <a:gd name="T1" fmla="*/ 0 h 85"/>
                <a:gd name="T2" fmla="*/ 73 w 203"/>
                <a:gd name="T3" fmla="*/ 0 h 85"/>
                <a:gd name="T4" fmla="*/ 151 w 203"/>
                <a:gd name="T5" fmla="*/ 33 h 85"/>
                <a:gd name="T6" fmla="*/ 203 w 203"/>
                <a:gd name="T7" fmla="*/ 85 h 85"/>
              </a:gdLst>
              <a:ahLst/>
              <a:cxnLst>
                <a:cxn ang="0">
                  <a:pos x="T0" y="T1"/>
                </a:cxn>
                <a:cxn ang="0">
                  <a:pos x="T2" y="T3"/>
                </a:cxn>
                <a:cxn ang="0">
                  <a:pos x="T4" y="T5"/>
                </a:cxn>
                <a:cxn ang="0">
                  <a:pos x="T6" y="T7"/>
                </a:cxn>
              </a:cxnLst>
              <a:rect l="0" t="0" r="r" b="b"/>
              <a:pathLst>
                <a:path w="203" h="85">
                  <a:moveTo>
                    <a:pt x="0" y="0"/>
                  </a:moveTo>
                  <a:lnTo>
                    <a:pt x="73" y="0"/>
                  </a:lnTo>
                  <a:lnTo>
                    <a:pt x="151" y="33"/>
                  </a:lnTo>
                  <a:lnTo>
                    <a:pt x="203" y="85"/>
                  </a:lnTo>
                </a:path>
              </a:pathLst>
            </a:cu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0" name="Line 73"/>
            <p:cNvSpPr>
              <a:spLocks noChangeShapeType="1"/>
            </p:cNvSpPr>
            <p:nvPr/>
          </p:nvSpPr>
          <p:spPr bwMode="auto">
            <a:xfrm flipV="1">
              <a:off x="10623551" y="250825"/>
              <a:ext cx="1557338" cy="3760787"/>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sp>
          <p:nvSpPr>
            <p:cNvPr id="491" name="Line 74"/>
            <p:cNvSpPr>
              <a:spLocks noChangeShapeType="1"/>
            </p:cNvSpPr>
            <p:nvPr/>
          </p:nvSpPr>
          <p:spPr bwMode="auto">
            <a:xfrm flipV="1">
              <a:off x="10991851" y="403225"/>
              <a:ext cx="1555750" cy="3757612"/>
            </a:xfrm>
            <a:prstGeom prst="line">
              <a:avLst/>
            </a:prstGeom>
            <a:grpFill/>
            <a:ln w="63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a:p>
          </p:txBody>
        </p:sp>
      </p:grpSp>
      <p:grpSp>
        <p:nvGrpSpPr>
          <p:cNvPr id="48273" name="Group 48272"/>
          <p:cNvGrpSpPr/>
          <p:nvPr/>
        </p:nvGrpSpPr>
        <p:grpSpPr>
          <a:xfrm>
            <a:off x="2783778" y="4581128"/>
            <a:ext cx="400844" cy="400844"/>
            <a:chOff x="2811033" y="4591366"/>
            <a:chExt cx="400844" cy="400844"/>
          </a:xfrm>
        </p:grpSpPr>
        <p:sp>
          <p:nvSpPr>
            <p:cNvPr id="9" name="Arc 8"/>
            <p:cNvSpPr>
              <a:spLocks noChangeAspect="1"/>
            </p:cNvSpPr>
            <p:nvPr/>
          </p:nvSpPr>
          <p:spPr bwMode="gray">
            <a:xfrm rot="12420000">
              <a:off x="2811033" y="4591366"/>
              <a:ext cx="400844" cy="400844"/>
            </a:xfrm>
            <a:prstGeom prst="arc">
              <a:avLst>
                <a:gd name="adj1" fmla="val 16200000"/>
                <a:gd name="adj2" fmla="val 14759080"/>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04" name="Group 503"/>
            <p:cNvGrpSpPr/>
            <p:nvPr/>
          </p:nvGrpSpPr>
          <p:grpSpPr>
            <a:xfrm>
              <a:off x="2905921" y="4712944"/>
              <a:ext cx="183983" cy="255399"/>
              <a:chOff x="5028274" y="3917874"/>
              <a:chExt cx="183983" cy="255399"/>
            </a:xfrm>
          </p:grpSpPr>
          <p:sp>
            <p:nvSpPr>
              <p:cNvPr id="524" name="Freeform 81"/>
              <p:cNvSpPr>
                <a:spLocks/>
              </p:cNvSpPr>
              <p:nvPr/>
            </p:nvSpPr>
            <p:spPr bwMode="auto">
              <a:xfrm>
                <a:off x="5028274" y="3917874"/>
                <a:ext cx="183983" cy="255399"/>
              </a:xfrm>
              <a:custGeom>
                <a:avLst/>
                <a:gdLst>
                  <a:gd name="T0" fmla="*/ 326 w 693"/>
                  <a:gd name="T1" fmla="*/ 215 h 962"/>
                  <a:gd name="T2" fmla="*/ 421 w 693"/>
                  <a:gd name="T3" fmla="*/ 50 h 962"/>
                  <a:gd name="T4" fmla="*/ 411 w 693"/>
                  <a:gd name="T5" fmla="*/ 12 h 962"/>
                  <a:gd name="T6" fmla="*/ 393 w 693"/>
                  <a:gd name="T7" fmla="*/ 0 h 962"/>
                  <a:gd name="T8" fmla="*/ 355 w 693"/>
                  <a:gd name="T9" fmla="*/ 12 h 962"/>
                  <a:gd name="T10" fmla="*/ 258 w 693"/>
                  <a:gd name="T11" fmla="*/ 177 h 962"/>
                  <a:gd name="T12" fmla="*/ 149 w 693"/>
                  <a:gd name="T13" fmla="*/ 114 h 962"/>
                  <a:gd name="T14" fmla="*/ 38 w 693"/>
                  <a:gd name="T15" fmla="*/ 307 h 962"/>
                  <a:gd name="T16" fmla="*/ 95 w 693"/>
                  <a:gd name="T17" fmla="*/ 525 h 962"/>
                  <a:gd name="T18" fmla="*/ 60 w 693"/>
                  <a:gd name="T19" fmla="*/ 589 h 962"/>
                  <a:gd name="T20" fmla="*/ 93 w 693"/>
                  <a:gd name="T21" fmla="*/ 707 h 962"/>
                  <a:gd name="T22" fmla="*/ 116 w 693"/>
                  <a:gd name="T23" fmla="*/ 721 h 962"/>
                  <a:gd name="T24" fmla="*/ 0 w 693"/>
                  <a:gd name="T25" fmla="*/ 924 h 962"/>
                  <a:gd name="T26" fmla="*/ 67 w 693"/>
                  <a:gd name="T27" fmla="*/ 962 h 962"/>
                  <a:gd name="T28" fmla="*/ 185 w 693"/>
                  <a:gd name="T29" fmla="*/ 761 h 962"/>
                  <a:gd name="T30" fmla="*/ 208 w 693"/>
                  <a:gd name="T31" fmla="*/ 775 h 962"/>
                  <a:gd name="T32" fmla="*/ 326 w 693"/>
                  <a:gd name="T33" fmla="*/ 742 h 962"/>
                  <a:gd name="T34" fmla="*/ 364 w 693"/>
                  <a:gd name="T35" fmla="*/ 681 h 962"/>
                  <a:gd name="T36" fmla="*/ 582 w 693"/>
                  <a:gd name="T37" fmla="*/ 622 h 962"/>
                  <a:gd name="T38" fmla="*/ 693 w 693"/>
                  <a:gd name="T39" fmla="*/ 428 h 962"/>
                  <a:gd name="T40" fmla="*/ 326 w 693"/>
                  <a:gd name="T41" fmla="*/ 21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3" h="962">
                    <a:moveTo>
                      <a:pt x="326" y="215"/>
                    </a:moveTo>
                    <a:lnTo>
                      <a:pt x="421" y="50"/>
                    </a:lnTo>
                    <a:lnTo>
                      <a:pt x="411" y="12"/>
                    </a:lnTo>
                    <a:lnTo>
                      <a:pt x="393" y="0"/>
                    </a:lnTo>
                    <a:lnTo>
                      <a:pt x="355" y="12"/>
                    </a:lnTo>
                    <a:lnTo>
                      <a:pt x="258" y="177"/>
                    </a:lnTo>
                    <a:lnTo>
                      <a:pt x="149" y="114"/>
                    </a:lnTo>
                    <a:lnTo>
                      <a:pt x="38" y="307"/>
                    </a:lnTo>
                    <a:lnTo>
                      <a:pt x="95" y="525"/>
                    </a:lnTo>
                    <a:lnTo>
                      <a:pt x="60" y="589"/>
                    </a:lnTo>
                    <a:lnTo>
                      <a:pt x="93" y="707"/>
                    </a:lnTo>
                    <a:lnTo>
                      <a:pt x="116" y="721"/>
                    </a:lnTo>
                    <a:lnTo>
                      <a:pt x="0" y="924"/>
                    </a:lnTo>
                    <a:lnTo>
                      <a:pt x="67" y="962"/>
                    </a:lnTo>
                    <a:lnTo>
                      <a:pt x="185" y="761"/>
                    </a:lnTo>
                    <a:lnTo>
                      <a:pt x="208" y="775"/>
                    </a:lnTo>
                    <a:lnTo>
                      <a:pt x="326" y="742"/>
                    </a:lnTo>
                    <a:lnTo>
                      <a:pt x="364" y="681"/>
                    </a:lnTo>
                    <a:lnTo>
                      <a:pt x="582" y="622"/>
                    </a:lnTo>
                    <a:lnTo>
                      <a:pt x="693" y="428"/>
                    </a:lnTo>
                    <a:lnTo>
                      <a:pt x="326"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525" name="Freeform 82"/>
              <p:cNvSpPr>
                <a:spLocks/>
              </p:cNvSpPr>
              <p:nvPr/>
            </p:nvSpPr>
            <p:spPr bwMode="auto">
              <a:xfrm>
                <a:off x="5172699" y="3957432"/>
                <a:ext cx="36372" cy="44602"/>
              </a:xfrm>
              <a:custGeom>
                <a:avLst/>
                <a:gdLst>
                  <a:gd name="T0" fmla="*/ 137 w 137"/>
                  <a:gd name="T1" fmla="*/ 50 h 168"/>
                  <a:gd name="T2" fmla="*/ 125 w 137"/>
                  <a:gd name="T3" fmla="*/ 12 h 168"/>
                  <a:gd name="T4" fmla="*/ 106 w 137"/>
                  <a:gd name="T5" fmla="*/ 0 h 168"/>
                  <a:gd name="T6" fmla="*/ 68 w 137"/>
                  <a:gd name="T7" fmla="*/ 12 h 168"/>
                  <a:gd name="T8" fmla="*/ 0 w 137"/>
                  <a:gd name="T9" fmla="*/ 130 h 168"/>
                  <a:gd name="T10" fmla="*/ 68 w 137"/>
                  <a:gd name="T11" fmla="*/ 168 h 168"/>
                  <a:gd name="T12" fmla="*/ 137 w 137"/>
                  <a:gd name="T13" fmla="*/ 50 h 168"/>
                </a:gdLst>
                <a:ahLst/>
                <a:cxnLst>
                  <a:cxn ang="0">
                    <a:pos x="T0" y="T1"/>
                  </a:cxn>
                  <a:cxn ang="0">
                    <a:pos x="T2" y="T3"/>
                  </a:cxn>
                  <a:cxn ang="0">
                    <a:pos x="T4" y="T5"/>
                  </a:cxn>
                  <a:cxn ang="0">
                    <a:pos x="T6" y="T7"/>
                  </a:cxn>
                  <a:cxn ang="0">
                    <a:pos x="T8" y="T9"/>
                  </a:cxn>
                  <a:cxn ang="0">
                    <a:pos x="T10" y="T11"/>
                  </a:cxn>
                  <a:cxn ang="0">
                    <a:pos x="T12" y="T13"/>
                  </a:cxn>
                </a:cxnLst>
                <a:rect l="0" t="0" r="r" b="b"/>
                <a:pathLst>
                  <a:path w="137" h="168">
                    <a:moveTo>
                      <a:pt x="137" y="50"/>
                    </a:moveTo>
                    <a:lnTo>
                      <a:pt x="125" y="12"/>
                    </a:lnTo>
                    <a:lnTo>
                      <a:pt x="106" y="0"/>
                    </a:lnTo>
                    <a:lnTo>
                      <a:pt x="68" y="12"/>
                    </a:lnTo>
                    <a:lnTo>
                      <a:pt x="0" y="130"/>
                    </a:lnTo>
                    <a:lnTo>
                      <a:pt x="68" y="168"/>
                    </a:lnTo>
                    <a:lnTo>
                      <a:pt x="137"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469012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a:solidFill>
                  <a:schemeClr val="accent1"/>
                </a:solidFill>
              </a:rPr>
              <a:t>Lines and Boxes for </a:t>
            </a:r>
            <a:r>
              <a:rPr lang="en-US" dirty="0" smtClean="0">
                <a:solidFill>
                  <a:schemeClr val="accent1"/>
                </a:solidFill>
              </a:rPr>
              <a:t>drawings</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cxnSp>
        <p:nvCxnSpPr>
          <p:cNvPr id="4" name="Straight Connector 3"/>
          <p:cNvCxnSpPr/>
          <p:nvPr/>
        </p:nvCxnSpPr>
        <p:spPr bwMode="gray">
          <a:xfrm>
            <a:off x="1482688" y="1985437"/>
            <a:ext cx="194394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bwMode="gray">
          <a:xfrm>
            <a:off x="1482688" y="2417485"/>
            <a:ext cx="1943943"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gray">
          <a:xfrm>
            <a:off x="3465984" y="3338599"/>
            <a:ext cx="719509"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49" name="Rectangle 148"/>
          <p:cNvSpPr/>
          <p:nvPr/>
        </p:nvSpPr>
        <p:spPr bwMode="gray">
          <a:xfrm>
            <a:off x="4457632" y="3338599"/>
            <a:ext cx="1224136" cy="71950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51" name="Arc 150"/>
          <p:cNvSpPr/>
          <p:nvPr/>
        </p:nvSpPr>
        <p:spPr bwMode="gray">
          <a:xfrm>
            <a:off x="1482688" y="2712392"/>
            <a:ext cx="432048" cy="432048"/>
          </a:xfrm>
          <a:prstGeom prst="arc">
            <a:avLst>
              <a:gd name="adj1" fmla="val 16200000"/>
              <a:gd name="adj2" fmla="val 12355145"/>
            </a:avLst>
          </a:prstGeom>
          <a:noFill/>
          <a:ln w="127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Decagon 4"/>
          <p:cNvSpPr>
            <a:spLocks noChangeAspect="1"/>
          </p:cNvSpPr>
          <p:nvPr/>
        </p:nvSpPr>
        <p:spPr bwMode="gray">
          <a:xfrm>
            <a:off x="1482688" y="3338599"/>
            <a:ext cx="719509" cy="719509"/>
          </a:xfrm>
          <a:prstGeom prst="dec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nvGrpSpPr>
          <p:cNvPr id="14" name="Group 13"/>
          <p:cNvGrpSpPr/>
          <p:nvPr/>
        </p:nvGrpSpPr>
        <p:grpSpPr>
          <a:xfrm>
            <a:off x="1482688" y="5304739"/>
            <a:ext cx="6035749" cy="808695"/>
            <a:chOff x="-3186832" y="4617132"/>
            <a:chExt cx="9431338" cy="1263650"/>
          </a:xfrm>
        </p:grpSpPr>
        <p:sp>
          <p:nvSpPr>
            <p:cNvPr id="9" name="Freeform 6"/>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 name="Freeform 7"/>
            <p:cNvSpPr>
              <a:spLocks/>
            </p:cNvSpPr>
            <p:nvPr/>
          </p:nvSpPr>
          <p:spPr bwMode="auto">
            <a:xfrm>
              <a:off x="-3186832" y="4617132"/>
              <a:ext cx="9431338" cy="1263650"/>
            </a:xfrm>
            <a:custGeom>
              <a:avLst/>
              <a:gdLst>
                <a:gd name="T0" fmla="*/ 2403 w 2515"/>
                <a:gd name="T1" fmla="*/ 66 h 337"/>
                <a:gd name="T2" fmla="*/ 2432 w 2515"/>
                <a:gd name="T3" fmla="*/ 15 h 337"/>
                <a:gd name="T4" fmla="*/ 2429 w 2515"/>
                <a:gd name="T5" fmla="*/ 3 h 337"/>
                <a:gd name="T6" fmla="*/ 2424 w 2515"/>
                <a:gd name="T7" fmla="*/ 0 h 337"/>
                <a:gd name="T8" fmla="*/ 2412 w 2515"/>
                <a:gd name="T9" fmla="*/ 3 h 337"/>
                <a:gd name="T10" fmla="*/ 2382 w 2515"/>
                <a:gd name="T11" fmla="*/ 54 h 337"/>
                <a:gd name="T12" fmla="*/ 2349 w 2515"/>
                <a:gd name="T13" fmla="*/ 35 h 337"/>
                <a:gd name="T14" fmla="*/ 2315 w 2515"/>
                <a:gd name="T15" fmla="*/ 93 h 337"/>
                <a:gd name="T16" fmla="*/ 2333 w 2515"/>
                <a:gd name="T17" fmla="*/ 160 h 337"/>
                <a:gd name="T18" fmla="*/ 2322 w 2515"/>
                <a:gd name="T19" fmla="*/ 179 h 337"/>
                <a:gd name="T20" fmla="*/ 2332 w 2515"/>
                <a:gd name="T21" fmla="*/ 215 h 337"/>
                <a:gd name="T22" fmla="*/ 2339 w 2515"/>
                <a:gd name="T23" fmla="*/ 220 h 337"/>
                <a:gd name="T24" fmla="*/ 2304 w 2515"/>
                <a:gd name="T25" fmla="*/ 281 h 337"/>
                <a:gd name="T26" fmla="*/ 2304 w 2515"/>
                <a:gd name="T27" fmla="*/ 281 h 337"/>
                <a:gd name="T28" fmla="*/ 2247 w 2515"/>
                <a:gd name="T29" fmla="*/ 314 h 337"/>
                <a:gd name="T30" fmla="*/ 0 w 2515"/>
                <a:gd name="T31" fmla="*/ 314 h 337"/>
                <a:gd name="T32" fmla="*/ 0 w 2515"/>
                <a:gd name="T33" fmla="*/ 337 h 337"/>
                <a:gd name="T34" fmla="*/ 2247 w 2515"/>
                <a:gd name="T35" fmla="*/ 337 h 337"/>
                <a:gd name="T36" fmla="*/ 2324 w 2515"/>
                <a:gd name="T37" fmla="*/ 293 h 337"/>
                <a:gd name="T38" fmla="*/ 2324 w 2515"/>
                <a:gd name="T39" fmla="*/ 293 h 337"/>
                <a:gd name="T40" fmla="*/ 2360 w 2515"/>
                <a:gd name="T41" fmla="*/ 231 h 337"/>
                <a:gd name="T42" fmla="*/ 2367 w 2515"/>
                <a:gd name="T43" fmla="*/ 236 h 337"/>
                <a:gd name="T44" fmla="*/ 2404 w 2515"/>
                <a:gd name="T45" fmla="*/ 226 h 337"/>
                <a:gd name="T46" fmla="*/ 2415 w 2515"/>
                <a:gd name="T47" fmla="*/ 207 h 337"/>
                <a:gd name="T48" fmla="*/ 2481 w 2515"/>
                <a:gd name="T49" fmla="*/ 189 h 337"/>
                <a:gd name="T50" fmla="*/ 2515 w 2515"/>
                <a:gd name="T51" fmla="*/ 130 h 337"/>
                <a:gd name="T52" fmla="*/ 2403 w 2515"/>
                <a:gd name="T53" fmla="*/ 6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15" h="337">
                  <a:moveTo>
                    <a:pt x="2403" y="66"/>
                  </a:moveTo>
                  <a:cubicBezTo>
                    <a:pt x="2432" y="15"/>
                    <a:pt x="2432" y="15"/>
                    <a:pt x="2432" y="15"/>
                  </a:cubicBezTo>
                  <a:cubicBezTo>
                    <a:pt x="2429" y="3"/>
                    <a:pt x="2429" y="3"/>
                    <a:pt x="2429" y="3"/>
                  </a:cubicBezTo>
                  <a:cubicBezTo>
                    <a:pt x="2424" y="0"/>
                    <a:pt x="2424" y="0"/>
                    <a:pt x="2424" y="0"/>
                  </a:cubicBezTo>
                  <a:cubicBezTo>
                    <a:pt x="2412" y="3"/>
                    <a:pt x="2412" y="3"/>
                    <a:pt x="2412" y="3"/>
                  </a:cubicBezTo>
                  <a:cubicBezTo>
                    <a:pt x="2382" y="54"/>
                    <a:pt x="2382" y="54"/>
                    <a:pt x="2382" y="54"/>
                  </a:cubicBezTo>
                  <a:cubicBezTo>
                    <a:pt x="2349" y="35"/>
                    <a:pt x="2349" y="35"/>
                    <a:pt x="2349" y="35"/>
                  </a:cubicBezTo>
                  <a:cubicBezTo>
                    <a:pt x="2315" y="93"/>
                    <a:pt x="2315" y="93"/>
                    <a:pt x="2315" y="93"/>
                  </a:cubicBezTo>
                  <a:cubicBezTo>
                    <a:pt x="2333" y="160"/>
                    <a:pt x="2333" y="160"/>
                    <a:pt x="2333" y="160"/>
                  </a:cubicBezTo>
                  <a:cubicBezTo>
                    <a:pt x="2322" y="179"/>
                    <a:pt x="2322" y="179"/>
                    <a:pt x="2322" y="179"/>
                  </a:cubicBezTo>
                  <a:cubicBezTo>
                    <a:pt x="2332" y="215"/>
                    <a:pt x="2332" y="215"/>
                    <a:pt x="2332" y="215"/>
                  </a:cubicBezTo>
                  <a:cubicBezTo>
                    <a:pt x="2339" y="220"/>
                    <a:pt x="2339" y="220"/>
                    <a:pt x="2339" y="220"/>
                  </a:cubicBezTo>
                  <a:cubicBezTo>
                    <a:pt x="2304" y="281"/>
                    <a:pt x="2304" y="281"/>
                    <a:pt x="2304" y="281"/>
                  </a:cubicBezTo>
                  <a:cubicBezTo>
                    <a:pt x="2304" y="281"/>
                    <a:pt x="2304" y="281"/>
                    <a:pt x="2304" y="281"/>
                  </a:cubicBezTo>
                  <a:cubicBezTo>
                    <a:pt x="2292" y="301"/>
                    <a:pt x="2271" y="314"/>
                    <a:pt x="2247" y="314"/>
                  </a:cubicBezTo>
                  <a:cubicBezTo>
                    <a:pt x="0" y="314"/>
                    <a:pt x="0" y="314"/>
                    <a:pt x="0" y="314"/>
                  </a:cubicBezTo>
                  <a:cubicBezTo>
                    <a:pt x="0" y="337"/>
                    <a:pt x="0" y="337"/>
                    <a:pt x="0" y="337"/>
                  </a:cubicBezTo>
                  <a:cubicBezTo>
                    <a:pt x="2247" y="337"/>
                    <a:pt x="2247" y="337"/>
                    <a:pt x="2247" y="337"/>
                  </a:cubicBezTo>
                  <a:cubicBezTo>
                    <a:pt x="2279" y="337"/>
                    <a:pt x="2308" y="320"/>
                    <a:pt x="2324" y="293"/>
                  </a:cubicBezTo>
                  <a:cubicBezTo>
                    <a:pt x="2324" y="293"/>
                    <a:pt x="2324" y="293"/>
                    <a:pt x="2324" y="293"/>
                  </a:cubicBezTo>
                  <a:cubicBezTo>
                    <a:pt x="2360" y="231"/>
                    <a:pt x="2360" y="231"/>
                    <a:pt x="2360" y="231"/>
                  </a:cubicBezTo>
                  <a:cubicBezTo>
                    <a:pt x="2367" y="236"/>
                    <a:pt x="2367" y="236"/>
                    <a:pt x="2367" y="236"/>
                  </a:cubicBezTo>
                  <a:cubicBezTo>
                    <a:pt x="2404" y="226"/>
                    <a:pt x="2404" y="226"/>
                    <a:pt x="2404" y="226"/>
                  </a:cubicBezTo>
                  <a:cubicBezTo>
                    <a:pt x="2415" y="207"/>
                    <a:pt x="2415" y="207"/>
                    <a:pt x="2415" y="207"/>
                  </a:cubicBezTo>
                  <a:cubicBezTo>
                    <a:pt x="2481" y="189"/>
                    <a:pt x="2481" y="189"/>
                    <a:pt x="2481" y="189"/>
                  </a:cubicBezTo>
                  <a:cubicBezTo>
                    <a:pt x="2515" y="130"/>
                    <a:pt x="2515" y="130"/>
                    <a:pt x="2515" y="130"/>
                  </a:cubicBezTo>
                  <a:lnTo>
                    <a:pt x="2403" y="6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8"/>
            <p:cNvSpPr>
              <a:spLocks/>
            </p:cNvSpPr>
            <p:nvPr/>
          </p:nvSpPr>
          <p:spPr bwMode="auto">
            <a:xfrm>
              <a:off x="6076230" y="4785407"/>
              <a:ext cx="153988" cy="195263"/>
            </a:xfrm>
            <a:custGeom>
              <a:avLst/>
              <a:gdLst>
                <a:gd name="T0" fmla="*/ 97 w 97"/>
                <a:gd name="T1" fmla="*/ 36 h 123"/>
                <a:gd name="T2" fmla="*/ 89 w 97"/>
                <a:gd name="T3" fmla="*/ 10 h 123"/>
                <a:gd name="T4" fmla="*/ 75 w 97"/>
                <a:gd name="T5" fmla="*/ 0 h 123"/>
                <a:gd name="T6" fmla="*/ 47 w 97"/>
                <a:gd name="T7" fmla="*/ 10 h 123"/>
                <a:gd name="T8" fmla="*/ 0 w 97"/>
                <a:gd name="T9" fmla="*/ 95 h 123"/>
                <a:gd name="T10" fmla="*/ 47 w 97"/>
                <a:gd name="T11" fmla="*/ 123 h 123"/>
                <a:gd name="T12" fmla="*/ 97 w 97"/>
                <a:gd name="T13" fmla="*/ 36 h 123"/>
              </a:gdLst>
              <a:ahLst/>
              <a:cxnLst>
                <a:cxn ang="0">
                  <a:pos x="T0" y="T1"/>
                </a:cxn>
                <a:cxn ang="0">
                  <a:pos x="T2" y="T3"/>
                </a:cxn>
                <a:cxn ang="0">
                  <a:pos x="T4" y="T5"/>
                </a:cxn>
                <a:cxn ang="0">
                  <a:pos x="T6" y="T7"/>
                </a:cxn>
                <a:cxn ang="0">
                  <a:pos x="T8" y="T9"/>
                </a:cxn>
                <a:cxn ang="0">
                  <a:pos x="T10" y="T11"/>
                </a:cxn>
                <a:cxn ang="0">
                  <a:pos x="T12" y="T13"/>
                </a:cxn>
              </a:cxnLst>
              <a:rect l="0" t="0" r="r" b="b"/>
              <a:pathLst>
                <a:path w="97" h="123">
                  <a:moveTo>
                    <a:pt x="97" y="36"/>
                  </a:moveTo>
                  <a:lnTo>
                    <a:pt x="89" y="10"/>
                  </a:lnTo>
                  <a:lnTo>
                    <a:pt x="75" y="0"/>
                  </a:lnTo>
                  <a:lnTo>
                    <a:pt x="47" y="10"/>
                  </a:lnTo>
                  <a:lnTo>
                    <a:pt x="0" y="95"/>
                  </a:lnTo>
                  <a:lnTo>
                    <a:pt x="47" y="123"/>
                  </a:lnTo>
                  <a:lnTo>
                    <a:pt x="97" y="36"/>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9"/>
            <p:cNvSpPr>
              <a:spLocks/>
            </p:cNvSpPr>
            <p:nvPr/>
          </p:nvSpPr>
          <p:spPr bwMode="auto">
            <a:xfrm>
              <a:off x="5495205" y="4617132"/>
              <a:ext cx="749300" cy="885825"/>
            </a:xfrm>
            <a:custGeom>
              <a:avLst/>
              <a:gdLst>
                <a:gd name="T0" fmla="*/ 122 w 472"/>
                <a:gd name="T1" fmla="*/ 558 h 558"/>
                <a:gd name="T2" fmla="*/ 210 w 472"/>
                <a:gd name="T3" fmla="*/ 534 h 558"/>
                <a:gd name="T4" fmla="*/ 236 w 472"/>
                <a:gd name="T5" fmla="*/ 489 h 558"/>
                <a:gd name="T6" fmla="*/ 392 w 472"/>
                <a:gd name="T7" fmla="*/ 447 h 558"/>
                <a:gd name="T8" fmla="*/ 472 w 472"/>
                <a:gd name="T9" fmla="*/ 307 h 558"/>
                <a:gd name="T10" fmla="*/ 207 w 472"/>
                <a:gd name="T11" fmla="*/ 156 h 558"/>
                <a:gd name="T12" fmla="*/ 276 w 472"/>
                <a:gd name="T13" fmla="*/ 35 h 558"/>
                <a:gd name="T14" fmla="*/ 269 w 472"/>
                <a:gd name="T15" fmla="*/ 7 h 558"/>
                <a:gd name="T16" fmla="*/ 257 w 472"/>
                <a:gd name="T17" fmla="*/ 0 h 558"/>
                <a:gd name="T18" fmla="*/ 229 w 472"/>
                <a:gd name="T19" fmla="*/ 7 h 558"/>
                <a:gd name="T20" fmla="*/ 158 w 472"/>
                <a:gd name="T21" fmla="*/ 128 h 558"/>
                <a:gd name="T22" fmla="*/ 80 w 472"/>
                <a:gd name="T23" fmla="*/ 83 h 558"/>
                <a:gd name="T24" fmla="*/ 0 w 472"/>
                <a:gd name="T25" fmla="*/ 220 h 558"/>
                <a:gd name="T26" fmla="*/ 42 w 472"/>
                <a:gd name="T27" fmla="*/ 378 h 558"/>
                <a:gd name="T28" fmla="*/ 16 w 472"/>
                <a:gd name="T29" fmla="*/ 423 h 558"/>
                <a:gd name="T30" fmla="*/ 40 w 472"/>
                <a:gd name="T31" fmla="*/ 508 h 558"/>
                <a:gd name="T32" fmla="*/ 122 w 472"/>
                <a:gd name="T3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558">
                  <a:moveTo>
                    <a:pt x="122" y="558"/>
                  </a:moveTo>
                  <a:lnTo>
                    <a:pt x="210" y="534"/>
                  </a:lnTo>
                  <a:lnTo>
                    <a:pt x="236" y="489"/>
                  </a:lnTo>
                  <a:lnTo>
                    <a:pt x="392" y="447"/>
                  </a:lnTo>
                  <a:lnTo>
                    <a:pt x="472" y="307"/>
                  </a:lnTo>
                  <a:lnTo>
                    <a:pt x="207" y="156"/>
                  </a:lnTo>
                  <a:lnTo>
                    <a:pt x="276" y="35"/>
                  </a:lnTo>
                  <a:lnTo>
                    <a:pt x="269" y="7"/>
                  </a:lnTo>
                  <a:lnTo>
                    <a:pt x="257" y="0"/>
                  </a:lnTo>
                  <a:lnTo>
                    <a:pt x="229" y="7"/>
                  </a:lnTo>
                  <a:lnTo>
                    <a:pt x="158" y="128"/>
                  </a:lnTo>
                  <a:lnTo>
                    <a:pt x="80" y="83"/>
                  </a:lnTo>
                  <a:lnTo>
                    <a:pt x="0" y="220"/>
                  </a:lnTo>
                  <a:lnTo>
                    <a:pt x="42" y="378"/>
                  </a:lnTo>
                  <a:lnTo>
                    <a:pt x="16" y="423"/>
                  </a:lnTo>
                  <a:lnTo>
                    <a:pt x="40" y="508"/>
                  </a:lnTo>
                  <a:lnTo>
                    <a:pt x="122" y="558"/>
                  </a:lnTo>
                  <a:close/>
                </a:path>
              </a:pathLst>
            </a:custGeom>
            <a:solidFill>
              <a:schemeClr val="bg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7" name="Group 26"/>
          <p:cNvGrpSpPr/>
          <p:nvPr/>
        </p:nvGrpSpPr>
        <p:grpSpPr>
          <a:xfrm>
            <a:off x="1498893" y="5412430"/>
            <a:ext cx="1828847" cy="654782"/>
            <a:chOff x="-6102350" y="-661988"/>
            <a:chExt cx="3835400" cy="1373188"/>
          </a:xfrm>
        </p:grpSpPr>
        <p:sp>
          <p:nvSpPr>
            <p:cNvPr id="17" name="Freeform 14"/>
            <p:cNvSpPr>
              <a:spLocks noEditPoints="1"/>
            </p:cNvSpPr>
            <p:nvPr/>
          </p:nvSpPr>
          <p:spPr bwMode="auto">
            <a:xfrm>
              <a:off x="-6102350" y="-661988"/>
              <a:ext cx="3835400" cy="1117600"/>
            </a:xfrm>
            <a:custGeom>
              <a:avLst/>
              <a:gdLst>
                <a:gd name="T0" fmla="*/ 1007 w 1023"/>
                <a:gd name="T1" fmla="*/ 169 h 298"/>
                <a:gd name="T2" fmla="*/ 964 w 1023"/>
                <a:gd name="T3" fmla="*/ 148 h 298"/>
                <a:gd name="T4" fmla="*/ 785 w 1023"/>
                <a:gd name="T5" fmla="*/ 116 h 298"/>
                <a:gd name="T6" fmla="*/ 734 w 1023"/>
                <a:gd name="T7" fmla="*/ 97 h 298"/>
                <a:gd name="T8" fmla="*/ 583 w 1023"/>
                <a:gd name="T9" fmla="*/ 13 h 298"/>
                <a:gd name="T10" fmla="*/ 532 w 1023"/>
                <a:gd name="T11" fmla="*/ 0 h 298"/>
                <a:gd name="T12" fmla="*/ 341 w 1023"/>
                <a:gd name="T13" fmla="*/ 0 h 298"/>
                <a:gd name="T14" fmla="*/ 289 w 1023"/>
                <a:gd name="T15" fmla="*/ 12 h 298"/>
                <a:gd name="T16" fmla="*/ 151 w 1023"/>
                <a:gd name="T17" fmla="*/ 81 h 298"/>
                <a:gd name="T18" fmla="*/ 99 w 1023"/>
                <a:gd name="T19" fmla="*/ 93 h 298"/>
                <a:gd name="T20" fmla="*/ 43 w 1023"/>
                <a:gd name="T21" fmla="*/ 93 h 298"/>
                <a:gd name="T22" fmla="*/ 18 w 1023"/>
                <a:gd name="T23" fmla="*/ 118 h 298"/>
                <a:gd name="T24" fmla="*/ 18 w 1023"/>
                <a:gd name="T25" fmla="*/ 189 h 298"/>
                <a:gd name="T26" fmla="*/ 0 w 1023"/>
                <a:gd name="T27" fmla="*/ 207 h 298"/>
                <a:gd name="T28" fmla="*/ 0 w 1023"/>
                <a:gd name="T29" fmla="*/ 255 h 298"/>
                <a:gd name="T30" fmla="*/ 44 w 1023"/>
                <a:gd name="T31" fmla="*/ 298 h 298"/>
                <a:gd name="T32" fmla="*/ 107 w 1023"/>
                <a:gd name="T33" fmla="*/ 298 h 298"/>
                <a:gd name="T34" fmla="*/ 104 w 1023"/>
                <a:gd name="T35" fmla="*/ 273 h 298"/>
                <a:gd name="T36" fmla="*/ 207 w 1023"/>
                <a:gd name="T37" fmla="*/ 170 h 298"/>
                <a:gd name="T38" fmla="*/ 310 w 1023"/>
                <a:gd name="T39" fmla="*/ 273 h 298"/>
                <a:gd name="T40" fmla="*/ 307 w 1023"/>
                <a:gd name="T41" fmla="*/ 298 h 298"/>
                <a:gd name="T42" fmla="*/ 729 w 1023"/>
                <a:gd name="T43" fmla="*/ 298 h 298"/>
                <a:gd name="T44" fmla="*/ 726 w 1023"/>
                <a:gd name="T45" fmla="*/ 273 h 298"/>
                <a:gd name="T46" fmla="*/ 829 w 1023"/>
                <a:gd name="T47" fmla="*/ 170 h 298"/>
                <a:gd name="T48" fmla="*/ 932 w 1023"/>
                <a:gd name="T49" fmla="*/ 273 h 298"/>
                <a:gd name="T50" fmla="*/ 928 w 1023"/>
                <a:gd name="T51" fmla="*/ 298 h 298"/>
                <a:gd name="T52" fmla="*/ 991 w 1023"/>
                <a:gd name="T53" fmla="*/ 298 h 298"/>
                <a:gd name="T54" fmla="*/ 1007 w 1023"/>
                <a:gd name="T55" fmla="*/ 283 h 298"/>
                <a:gd name="T56" fmla="*/ 1023 w 1023"/>
                <a:gd name="T57" fmla="*/ 239 h 298"/>
                <a:gd name="T58" fmla="*/ 1023 w 1023"/>
                <a:gd name="T59" fmla="*/ 213 h 298"/>
                <a:gd name="T60" fmla="*/ 1007 w 1023"/>
                <a:gd name="T61" fmla="*/ 169 h 298"/>
                <a:gd name="T62" fmla="*/ 432 w 1023"/>
                <a:gd name="T63" fmla="*/ 103 h 298"/>
                <a:gd name="T64" fmla="*/ 425 w 1023"/>
                <a:gd name="T65" fmla="*/ 110 h 298"/>
                <a:gd name="T66" fmla="*/ 247 w 1023"/>
                <a:gd name="T67" fmla="*/ 110 h 298"/>
                <a:gd name="T68" fmla="*/ 241 w 1023"/>
                <a:gd name="T69" fmla="*/ 103 h 298"/>
                <a:gd name="T70" fmla="*/ 241 w 1023"/>
                <a:gd name="T71" fmla="*/ 87 h 298"/>
                <a:gd name="T72" fmla="*/ 246 w 1023"/>
                <a:gd name="T73" fmla="*/ 77 h 298"/>
                <a:gd name="T74" fmla="*/ 339 w 1023"/>
                <a:gd name="T75" fmla="*/ 19 h 298"/>
                <a:gd name="T76" fmla="*/ 352 w 1023"/>
                <a:gd name="T77" fmla="*/ 16 h 298"/>
                <a:gd name="T78" fmla="*/ 425 w 1023"/>
                <a:gd name="T79" fmla="*/ 16 h 298"/>
                <a:gd name="T80" fmla="*/ 432 w 1023"/>
                <a:gd name="T81" fmla="*/ 23 h 298"/>
                <a:gd name="T82" fmla="*/ 432 w 1023"/>
                <a:gd name="T83" fmla="*/ 103 h 298"/>
                <a:gd name="T84" fmla="*/ 677 w 1023"/>
                <a:gd name="T85" fmla="*/ 90 h 298"/>
                <a:gd name="T86" fmla="*/ 659 w 1023"/>
                <a:gd name="T87" fmla="*/ 90 h 298"/>
                <a:gd name="T88" fmla="*/ 652 w 1023"/>
                <a:gd name="T89" fmla="*/ 97 h 298"/>
                <a:gd name="T90" fmla="*/ 652 w 1023"/>
                <a:gd name="T91" fmla="*/ 110 h 298"/>
                <a:gd name="T92" fmla="*/ 472 w 1023"/>
                <a:gd name="T93" fmla="*/ 110 h 298"/>
                <a:gd name="T94" fmla="*/ 465 w 1023"/>
                <a:gd name="T95" fmla="*/ 103 h 298"/>
                <a:gd name="T96" fmla="*/ 465 w 1023"/>
                <a:gd name="T97" fmla="*/ 23 h 298"/>
                <a:gd name="T98" fmla="*/ 472 w 1023"/>
                <a:gd name="T99" fmla="*/ 16 h 298"/>
                <a:gd name="T100" fmla="*/ 541 w 1023"/>
                <a:gd name="T101" fmla="*/ 16 h 298"/>
                <a:gd name="T102" fmla="*/ 554 w 1023"/>
                <a:gd name="T103" fmla="*/ 19 h 298"/>
                <a:gd name="T104" fmla="*/ 677 w 1023"/>
                <a:gd name="T105" fmla="*/ 87 h 298"/>
                <a:gd name="T106" fmla="*/ 677 w 1023"/>
                <a:gd name="T107" fmla="*/ 9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3" h="298">
                  <a:moveTo>
                    <a:pt x="1007" y="169"/>
                  </a:moveTo>
                  <a:cubicBezTo>
                    <a:pt x="998" y="160"/>
                    <a:pt x="978" y="151"/>
                    <a:pt x="964" y="148"/>
                  </a:cubicBezTo>
                  <a:cubicBezTo>
                    <a:pt x="785" y="116"/>
                    <a:pt x="785" y="116"/>
                    <a:pt x="785" y="116"/>
                  </a:cubicBezTo>
                  <a:cubicBezTo>
                    <a:pt x="770" y="113"/>
                    <a:pt x="747" y="105"/>
                    <a:pt x="734" y="97"/>
                  </a:cubicBezTo>
                  <a:cubicBezTo>
                    <a:pt x="583" y="13"/>
                    <a:pt x="583" y="13"/>
                    <a:pt x="583" y="13"/>
                  </a:cubicBezTo>
                  <a:cubicBezTo>
                    <a:pt x="570" y="6"/>
                    <a:pt x="547" y="0"/>
                    <a:pt x="532" y="0"/>
                  </a:cubicBezTo>
                  <a:cubicBezTo>
                    <a:pt x="341" y="0"/>
                    <a:pt x="341" y="0"/>
                    <a:pt x="341" y="0"/>
                  </a:cubicBezTo>
                  <a:cubicBezTo>
                    <a:pt x="325" y="0"/>
                    <a:pt x="302" y="6"/>
                    <a:pt x="289" y="12"/>
                  </a:cubicBezTo>
                  <a:cubicBezTo>
                    <a:pt x="151" y="81"/>
                    <a:pt x="151" y="81"/>
                    <a:pt x="151" y="81"/>
                  </a:cubicBezTo>
                  <a:cubicBezTo>
                    <a:pt x="137" y="88"/>
                    <a:pt x="114" y="93"/>
                    <a:pt x="99" y="93"/>
                  </a:cubicBezTo>
                  <a:cubicBezTo>
                    <a:pt x="43" y="93"/>
                    <a:pt x="43" y="93"/>
                    <a:pt x="43" y="93"/>
                  </a:cubicBezTo>
                  <a:cubicBezTo>
                    <a:pt x="18" y="118"/>
                    <a:pt x="18" y="118"/>
                    <a:pt x="18" y="118"/>
                  </a:cubicBezTo>
                  <a:cubicBezTo>
                    <a:pt x="18" y="189"/>
                    <a:pt x="18" y="189"/>
                    <a:pt x="18" y="189"/>
                  </a:cubicBezTo>
                  <a:cubicBezTo>
                    <a:pt x="0" y="207"/>
                    <a:pt x="0" y="207"/>
                    <a:pt x="0" y="207"/>
                  </a:cubicBezTo>
                  <a:cubicBezTo>
                    <a:pt x="0" y="255"/>
                    <a:pt x="0" y="255"/>
                    <a:pt x="0" y="255"/>
                  </a:cubicBezTo>
                  <a:cubicBezTo>
                    <a:pt x="44" y="298"/>
                    <a:pt x="44" y="298"/>
                    <a:pt x="44" y="298"/>
                  </a:cubicBezTo>
                  <a:cubicBezTo>
                    <a:pt x="107" y="298"/>
                    <a:pt x="107" y="298"/>
                    <a:pt x="107" y="298"/>
                  </a:cubicBezTo>
                  <a:cubicBezTo>
                    <a:pt x="105" y="290"/>
                    <a:pt x="104" y="282"/>
                    <a:pt x="104" y="273"/>
                  </a:cubicBezTo>
                  <a:cubicBezTo>
                    <a:pt x="104" y="216"/>
                    <a:pt x="150" y="170"/>
                    <a:pt x="207" y="170"/>
                  </a:cubicBezTo>
                  <a:cubicBezTo>
                    <a:pt x="264" y="170"/>
                    <a:pt x="310" y="216"/>
                    <a:pt x="310" y="273"/>
                  </a:cubicBezTo>
                  <a:cubicBezTo>
                    <a:pt x="310" y="282"/>
                    <a:pt x="309" y="290"/>
                    <a:pt x="307" y="298"/>
                  </a:cubicBezTo>
                  <a:cubicBezTo>
                    <a:pt x="729" y="298"/>
                    <a:pt x="729" y="298"/>
                    <a:pt x="729" y="298"/>
                  </a:cubicBezTo>
                  <a:cubicBezTo>
                    <a:pt x="727" y="290"/>
                    <a:pt x="726" y="282"/>
                    <a:pt x="726" y="273"/>
                  </a:cubicBezTo>
                  <a:cubicBezTo>
                    <a:pt x="726" y="216"/>
                    <a:pt x="772" y="170"/>
                    <a:pt x="829" y="170"/>
                  </a:cubicBezTo>
                  <a:cubicBezTo>
                    <a:pt x="885" y="170"/>
                    <a:pt x="932" y="216"/>
                    <a:pt x="932" y="273"/>
                  </a:cubicBezTo>
                  <a:cubicBezTo>
                    <a:pt x="932" y="282"/>
                    <a:pt x="930" y="290"/>
                    <a:pt x="928" y="298"/>
                  </a:cubicBezTo>
                  <a:cubicBezTo>
                    <a:pt x="991" y="298"/>
                    <a:pt x="991" y="298"/>
                    <a:pt x="991" y="298"/>
                  </a:cubicBezTo>
                  <a:cubicBezTo>
                    <a:pt x="991" y="298"/>
                    <a:pt x="998" y="291"/>
                    <a:pt x="1007" y="283"/>
                  </a:cubicBezTo>
                  <a:cubicBezTo>
                    <a:pt x="1016" y="274"/>
                    <a:pt x="1023" y="254"/>
                    <a:pt x="1023" y="239"/>
                  </a:cubicBezTo>
                  <a:cubicBezTo>
                    <a:pt x="1023" y="213"/>
                    <a:pt x="1023" y="213"/>
                    <a:pt x="1023" y="213"/>
                  </a:cubicBezTo>
                  <a:cubicBezTo>
                    <a:pt x="1023" y="198"/>
                    <a:pt x="1016" y="178"/>
                    <a:pt x="1007" y="169"/>
                  </a:cubicBezTo>
                  <a:close/>
                  <a:moveTo>
                    <a:pt x="432" y="103"/>
                  </a:moveTo>
                  <a:cubicBezTo>
                    <a:pt x="432" y="107"/>
                    <a:pt x="429" y="110"/>
                    <a:pt x="425" y="110"/>
                  </a:cubicBezTo>
                  <a:cubicBezTo>
                    <a:pt x="247" y="110"/>
                    <a:pt x="247" y="110"/>
                    <a:pt x="247" y="110"/>
                  </a:cubicBezTo>
                  <a:cubicBezTo>
                    <a:pt x="244" y="110"/>
                    <a:pt x="241" y="107"/>
                    <a:pt x="241" y="103"/>
                  </a:cubicBezTo>
                  <a:cubicBezTo>
                    <a:pt x="241" y="87"/>
                    <a:pt x="241" y="87"/>
                    <a:pt x="241" y="87"/>
                  </a:cubicBezTo>
                  <a:cubicBezTo>
                    <a:pt x="241" y="83"/>
                    <a:pt x="243" y="79"/>
                    <a:pt x="246" y="77"/>
                  </a:cubicBezTo>
                  <a:cubicBezTo>
                    <a:pt x="339" y="19"/>
                    <a:pt x="339" y="19"/>
                    <a:pt x="339" y="19"/>
                  </a:cubicBezTo>
                  <a:cubicBezTo>
                    <a:pt x="342" y="17"/>
                    <a:pt x="348" y="16"/>
                    <a:pt x="352" y="16"/>
                  </a:cubicBezTo>
                  <a:cubicBezTo>
                    <a:pt x="425" y="16"/>
                    <a:pt x="425" y="16"/>
                    <a:pt x="425" y="16"/>
                  </a:cubicBezTo>
                  <a:cubicBezTo>
                    <a:pt x="429" y="16"/>
                    <a:pt x="432" y="19"/>
                    <a:pt x="432" y="23"/>
                  </a:cubicBezTo>
                  <a:lnTo>
                    <a:pt x="432" y="103"/>
                  </a:lnTo>
                  <a:close/>
                  <a:moveTo>
                    <a:pt x="677" y="90"/>
                  </a:moveTo>
                  <a:cubicBezTo>
                    <a:pt x="659" y="90"/>
                    <a:pt x="659" y="90"/>
                    <a:pt x="659" y="90"/>
                  </a:cubicBezTo>
                  <a:cubicBezTo>
                    <a:pt x="655" y="90"/>
                    <a:pt x="652" y="93"/>
                    <a:pt x="652" y="97"/>
                  </a:cubicBezTo>
                  <a:cubicBezTo>
                    <a:pt x="652" y="110"/>
                    <a:pt x="652" y="110"/>
                    <a:pt x="652" y="110"/>
                  </a:cubicBezTo>
                  <a:cubicBezTo>
                    <a:pt x="472" y="110"/>
                    <a:pt x="472" y="110"/>
                    <a:pt x="472" y="110"/>
                  </a:cubicBezTo>
                  <a:cubicBezTo>
                    <a:pt x="468" y="110"/>
                    <a:pt x="465" y="107"/>
                    <a:pt x="465" y="103"/>
                  </a:cubicBezTo>
                  <a:cubicBezTo>
                    <a:pt x="465" y="23"/>
                    <a:pt x="465" y="23"/>
                    <a:pt x="465" y="23"/>
                  </a:cubicBezTo>
                  <a:cubicBezTo>
                    <a:pt x="465" y="19"/>
                    <a:pt x="468" y="16"/>
                    <a:pt x="472" y="16"/>
                  </a:cubicBezTo>
                  <a:cubicBezTo>
                    <a:pt x="541" y="16"/>
                    <a:pt x="541" y="16"/>
                    <a:pt x="541" y="16"/>
                  </a:cubicBezTo>
                  <a:cubicBezTo>
                    <a:pt x="545" y="16"/>
                    <a:pt x="550" y="17"/>
                    <a:pt x="554" y="19"/>
                  </a:cubicBezTo>
                  <a:cubicBezTo>
                    <a:pt x="677" y="87"/>
                    <a:pt x="677" y="87"/>
                    <a:pt x="677" y="87"/>
                  </a:cubicBezTo>
                  <a:cubicBezTo>
                    <a:pt x="681" y="89"/>
                    <a:pt x="680" y="90"/>
                    <a:pt x="677" y="90"/>
                  </a:cubicBezTo>
                  <a:close/>
                </a:path>
              </a:pathLst>
            </a:custGeom>
            <a:solidFill>
              <a:srgbClr val="FFFFFF"/>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solidFill>
              <a:srgbClr val="FFFFFF"/>
            </a:solidFill>
            <a:ln w="12700" cap="flat">
              <a:solidFill>
                <a:srgbClr val="5959A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p:nvSpPr>
          <p:spPr bwMode="auto">
            <a:xfrm>
              <a:off x="-3657600" y="-279400"/>
              <a:ext cx="120650" cy="71438"/>
            </a:xfrm>
            <a:custGeom>
              <a:avLst/>
              <a:gdLst>
                <a:gd name="T0" fmla="*/ 0 w 32"/>
                <a:gd name="T1" fmla="*/ 0 h 19"/>
                <a:gd name="T2" fmla="*/ 0 w 32"/>
                <a:gd name="T3" fmla="*/ 13 h 19"/>
                <a:gd name="T4" fmla="*/ 6 w 32"/>
                <a:gd name="T5" fmla="*/ 19 h 19"/>
                <a:gd name="T6" fmla="*/ 32 w 32"/>
                <a:gd name="T7" fmla="*/ 17 h 19"/>
              </a:gdLst>
              <a:ahLst/>
              <a:cxnLst>
                <a:cxn ang="0">
                  <a:pos x="T0" y="T1"/>
                </a:cxn>
                <a:cxn ang="0">
                  <a:pos x="T2" y="T3"/>
                </a:cxn>
                <a:cxn ang="0">
                  <a:pos x="T4" y="T5"/>
                </a:cxn>
                <a:cxn ang="0">
                  <a:pos x="T6" y="T7"/>
                </a:cxn>
              </a:cxnLst>
              <a:rect l="0" t="0" r="r" b="b"/>
              <a:pathLst>
                <a:path w="32" h="19">
                  <a:moveTo>
                    <a:pt x="0" y="0"/>
                  </a:moveTo>
                  <a:cubicBezTo>
                    <a:pt x="0" y="0"/>
                    <a:pt x="0" y="10"/>
                    <a:pt x="0" y="13"/>
                  </a:cubicBezTo>
                  <a:cubicBezTo>
                    <a:pt x="0" y="17"/>
                    <a:pt x="2" y="19"/>
                    <a:pt x="6" y="19"/>
                  </a:cubicBezTo>
                  <a:cubicBezTo>
                    <a:pt x="13" y="19"/>
                    <a:pt x="17" y="17"/>
                    <a:pt x="32" y="17"/>
                  </a:cubicBezTo>
                </a:path>
              </a:pathLst>
            </a:custGeom>
            <a:noFill/>
            <a:ln w="12700" cap="flat">
              <a:solidFill>
                <a:srgbClr val="5959A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p:nvSpPr>
          <p:spPr bwMode="auto">
            <a:xfrm>
              <a:off x="-5675313" y="12700"/>
              <a:ext cx="696912" cy="698500"/>
            </a:xfrm>
            <a:custGeom>
              <a:avLst/>
              <a:gdLst>
                <a:gd name="T0" fmla="*/ 186 w 186"/>
                <a:gd name="T1" fmla="*/ 93 h 186"/>
                <a:gd name="T2" fmla="*/ 93 w 186"/>
                <a:gd name="T3" fmla="*/ 186 h 186"/>
                <a:gd name="T4" fmla="*/ 93 w 186"/>
                <a:gd name="T5" fmla="*/ 186 h 186"/>
                <a:gd name="T6" fmla="*/ 0 w 186"/>
                <a:gd name="T7" fmla="*/ 93 h 186"/>
                <a:gd name="T8" fmla="*/ 0 w 186"/>
                <a:gd name="T9" fmla="*/ 93 h 186"/>
                <a:gd name="T10" fmla="*/ 93 w 186"/>
                <a:gd name="T11" fmla="*/ 0 h 186"/>
                <a:gd name="T12" fmla="*/ 93 w 186"/>
                <a:gd name="T13" fmla="*/ 0 h 186"/>
                <a:gd name="T14" fmla="*/ 186 w 186"/>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86">
                  <a:moveTo>
                    <a:pt x="186" y="93"/>
                  </a:moveTo>
                  <a:cubicBezTo>
                    <a:pt x="186" y="145"/>
                    <a:pt x="145" y="186"/>
                    <a:pt x="93" y="186"/>
                  </a:cubicBezTo>
                  <a:cubicBezTo>
                    <a:pt x="93" y="186"/>
                    <a:pt x="93" y="186"/>
                    <a:pt x="93" y="186"/>
                  </a:cubicBezTo>
                  <a:cubicBezTo>
                    <a:pt x="42" y="186"/>
                    <a:pt x="0" y="145"/>
                    <a:pt x="0" y="93"/>
                  </a:cubicBezTo>
                  <a:cubicBezTo>
                    <a:pt x="0" y="93"/>
                    <a:pt x="0" y="93"/>
                    <a:pt x="0" y="93"/>
                  </a:cubicBezTo>
                  <a:cubicBezTo>
                    <a:pt x="0" y="42"/>
                    <a:pt x="42" y="0"/>
                    <a:pt x="93" y="0"/>
                  </a:cubicBezTo>
                  <a:cubicBezTo>
                    <a:pt x="93" y="0"/>
                    <a:pt x="93" y="0"/>
                    <a:pt x="93" y="0"/>
                  </a:cubicBezTo>
                  <a:cubicBezTo>
                    <a:pt x="145" y="0"/>
                    <a:pt x="186" y="42"/>
                    <a:pt x="186"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1" name="Freeform 18"/>
            <p:cNvSpPr>
              <a:spLocks/>
            </p:cNvSpPr>
            <p:nvPr/>
          </p:nvSpPr>
          <p:spPr bwMode="auto">
            <a:xfrm>
              <a:off x="-5529263" y="163512"/>
              <a:ext cx="404812" cy="401638"/>
            </a:xfrm>
            <a:custGeom>
              <a:avLst/>
              <a:gdLst>
                <a:gd name="T0" fmla="*/ 108 w 108"/>
                <a:gd name="T1" fmla="*/ 53 h 107"/>
                <a:gd name="T2" fmla="*/ 54 w 108"/>
                <a:gd name="T3" fmla="*/ 107 h 107"/>
                <a:gd name="T4" fmla="*/ 54 w 108"/>
                <a:gd name="T5" fmla="*/ 107 h 107"/>
                <a:gd name="T6" fmla="*/ 0 w 108"/>
                <a:gd name="T7" fmla="*/ 53 h 107"/>
                <a:gd name="T8" fmla="*/ 0 w 108"/>
                <a:gd name="T9" fmla="*/ 53 h 107"/>
                <a:gd name="T10" fmla="*/ 54 w 108"/>
                <a:gd name="T11" fmla="*/ 0 h 107"/>
                <a:gd name="T12" fmla="*/ 54 w 108"/>
                <a:gd name="T13" fmla="*/ 0 h 107"/>
                <a:gd name="T14" fmla="*/ 108 w 108"/>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07">
                  <a:moveTo>
                    <a:pt x="108" y="53"/>
                  </a:moveTo>
                  <a:cubicBezTo>
                    <a:pt x="108" y="83"/>
                    <a:pt x="84"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4" y="0"/>
                    <a:pt x="108" y="24"/>
                    <a:pt x="108"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9"/>
            <p:cNvSpPr>
              <a:spLocks/>
            </p:cNvSpPr>
            <p:nvPr/>
          </p:nvSpPr>
          <p:spPr bwMode="auto">
            <a:xfrm>
              <a:off x="-3346450" y="12700"/>
              <a:ext cx="701675" cy="698500"/>
            </a:xfrm>
            <a:custGeom>
              <a:avLst/>
              <a:gdLst>
                <a:gd name="T0" fmla="*/ 187 w 187"/>
                <a:gd name="T1" fmla="*/ 93 h 186"/>
                <a:gd name="T2" fmla="*/ 94 w 187"/>
                <a:gd name="T3" fmla="*/ 186 h 186"/>
                <a:gd name="T4" fmla="*/ 94 w 187"/>
                <a:gd name="T5" fmla="*/ 186 h 186"/>
                <a:gd name="T6" fmla="*/ 0 w 187"/>
                <a:gd name="T7" fmla="*/ 93 h 186"/>
                <a:gd name="T8" fmla="*/ 0 w 187"/>
                <a:gd name="T9" fmla="*/ 93 h 186"/>
                <a:gd name="T10" fmla="*/ 94 w 187"/>
                <a:gd name="T11" fmla="*/ 0 h 186"/>
                <a:gd name="T12" fmla="*/ 94 w 187"/>
                <a:gd name="T13" fmla="*/ 0 h 186"/>
                <a:gd name="T14" fmla="*/ 187 w 187"/>
                <a:gd name="T15" fmla="*/ 9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6">
                  <a:moveTo>
                    <a:pt x="187" y="93"/>
                  </a:moveTo>
                  <a:cubicBezTo>
                    <a:pt x="187" y="145"/>
                    <a:pt x="145" y="186"/>
                    <a:pt x="94" y="186"/>
                  </a:cubicBezTo>
                  <a:cubicBezTo>
                    <a:pt x="94" y="186"/>
                    <a:pt x="94" y="186"/>
                    <a:pt x="94" y="186"/>
                  </a:cubicBezTo>
                  <a:cubicBezTo>
                    <a:pt x="42" y="186"/>
                    <a:pt x="0" y="145"/>
                    <a:pt x="0" y="93"/>
                  </a:cubicBezTo>
                  <a:cubicBezTo>
                    <a:pt x="0" y="93"/>
                    <a:pt x="0" y="93"/>
                    <a:pt x="0" y="93"/>
                  </a:cubicBezTo>
                  <a:cubicBezTo>
                    <a:pt x="0" y="42"/>
                    <a:pt x="42" y="0"/>
                    <a:pt x="94" y="0"/>
                  </a:cubicBezTo>
                  <a:cubicBezTo>
                    <a:pt x="94" y="0"/>
                    <a:pt x="94" y="0"/>
                    <a:pt x="94" y="0"/>
                  </a:cubicBezTo>
                  <a:cubicBezTo>
                    <a:pt x="145" y="0"/>
                    <a:pt x="187" y="42"/>
                    <a:pt x="187" y="93"/>
                  </a:cubicBezTo>
                  <a:close/>
                </a:path>
              </a:pathLst>
            </a:custGeom>
            <a:solidFill>
              <a:schemeClr val="accent1"/>
            </a:solidFill>
            <a:ln w="12700">
              <a:noFill/>
            </a:ln>
          </p:spPr>
          <p:txBody>
            <a:bodyPr vert="horz" wrap="square" lIns="91440" tIns="45720" rIns="91440" bIns="45720" numCol="1" anchor="t" anchorCtr="0" compatLnSpc="1">
              <a:prstTxWarp prst="textNoShape">
                <a:avLst/>
              </a:prstTxWarp>
            </a:bodyPr>
            <a:lstStyle/>
            <a:p>
              <a:endParaRPr lang="de-DE"/>
            </a:p>
          </p:txBody>
        </p:sp>
        <p:sp>
          <p:nvSpPr>
            <p:cNvPr id="23" name="Freeform 20"/>
            <p:cNvSpPr>
              <a:spLocks/>
            </p:cNvSpPr>
            <p:nvPr/>
          </p:nvSpPr>
          <p:spPr bwMode="auto">
            <a:xfrm>
              <a:off x="-3195638" y="163512"/>
              <a:ext cx="400050" cy="401638"/>
            </a:xfrm>
            <a:custGeom>
              <a:avLst/>
              <a:gdLst>
                <a:gd name="T0" fmla="*/ 107 w 107"/>
                <a:gd name="T1" fmla="*/ 53 h 107"/>
                <a:gd name="T2" fmla="*/ 54 w 107"/>
                <a:gd name="T3" fmla="*/ 107 h 107"/>
                <a:gd name="T4" fmla="*/ 54 w 107"/>
                <a:gd name="T5" fmla="*/ 107 h 107"/>
                <a:gd name="T6" fmla="*/ 0 w 107"/>
                <a:gd name="T7" fmla="*/ 53 h 107"/>
                <a:gd name="T8" fmla="*/ 0 w 107"/>
                <a:gd name="T9" fmla="*/ 53 h 107"/>
                <a:gd name="T10" fmla="*/ 54 w 107"/>
                <a:gd name="T11" fmla="*/ 0 h 107"/>
                <a:gd name="T12" fmla="*/ 54 w 107"/>
                <a:gd name="T13" fmla="*/ 0 h 107"/>
                <a:gd name="T14" fmla="*/ 107 w 107"/>
                <a:gd name="T15" fmla="*/ 5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7">
                  <a:moveTo>
                    <a:pt x="107" y="53"/>
                  </a:moveTo>
                  <a:cubicBezTo>
                    <a:pt x="107" y="83"/>
                    <a:pt x="83" y="107"/>
                    <a:pt x="54" y="107"/>
                  </a:cubicBezTo>
                  <a:cubicBezTo>
                    <a:pt x="54" y="107"/>
                    <a:pt x="54" y="107"/>
                    <a:pt x="54" y="107"/>
                  </a:cubicBezTo>
                  <a:cubicBezTo>
                    <a:pt x="24" y="107"/>
                    <a:pt x="0" y="83"/>
                    <a:pt x="0" y="53"/>
                  </a:cubicBezTo>
                  <a:cubicBezTo>
                    <a:pt x="0" y="53"/>
                    <a:pt x="0" y="53"/>
                    <a:pt x="0" y="53"/>
                  </a:cubicBezTo>
                  <a:cubicBezTo>
                    <a:pt x="0" y="24"/>
                    <a:pt x="24" y="0"/>
                    <a:pt x="54" y="0"/>
                  </a:cubicBezTo>
                  <a:cubicBezTo>
                    <a:pt x="54" y="0"/>
                    <a:pt x="54" y="0"/>
                    <a:pt x="54" y="0"/>
                  </a:cubicBezTo>
                  <a:cubicBezTo>
                    <a:pt x="83" y="0"/>
                    <a:pt x="107" y="24"/>
                    <a:pt x="107" y="5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35" name="Circular Arrow 34"/>
          <p:cNvSpPr/>
          <p:nvPr/>
        </p:nvSpPr>
        <p:spPr bwMode="gray">
          <a:xfrm>
            <a:off x="2158324" y="2645601"/>
            <a:ext cx="589814" cy="589814"/>
          </a:xfrm>
          <a:prstGeom prst="circularArrow">
            <a:avLst>
              <a:gd name="adj1" fmla="val 3758"/>
              <a:gd name="adj2" fmla="val 718827"/>
              <a:gd name="adj3" fmla="val 20367113"/>
              <a:gd name="adj4" fmla="val 1737958"/>
              <a:gd name="adj5" fmla="val 9138"/>
            </a:avLst>
          </a:prstGeom>
          <a:solidFill>
            <a:schemeClr val="bg1"/>
          </a:solidFill>
          <a:ln w="635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Rechteck 43"/>
          <p:cNvSpPr>
            <a:spLocks noChangeAspect="1"/>
          </p:cNvSpPr>
          <p:nvPr/>
        </p:nvSpPr>
        <p:spPr bwMode="auto">
          <a:xfrm>
            <a:off x="148268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1</a:t>
            </a:r>
          </a:p>
        </p:txBody>
      </p:sp>
      <p:sp>
        <p:nvSpPr>
          <p:cNvPr id="52" name="Rechteck 44"/>
          <p:cNvSpPr>
            <a:spLocks noChangeAspect="1"/>
          </p:cNvSpPr>
          <p:nvPr/>
        </p:nvSpPr>
        <p:spPr bwMode="auto">
          <a:xfrm>
            <a:off x="185740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2</a:t>
            </a:r>
          </a:p>
        </p:txBody>
      </p:sp>
      <p:sp>
        <p:nvSpPr>
          <p:cNvPr id="53" name="Rechteck 45"/>
          <p:cNvSpPr>
            <a:spLocks noChangeAspect="1"/>
          </p:cNvSpPr>
          <p:nvPr/>
        </p:nvSpPr>
        <p:spPr bwMode="auto">
          <a:xfrm>
            <a:off x="223212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3</a:t>
            </a:r>
          </a:p>
        </p:txBody>
      </p:sp>
      <p:sp>
        <p:nvSpPr>
          <p:cNvPr id="54" name="Rechteck 46"/>
          <p:cNvSpPr>
            <a:spLocks noChangeAspect="1"/>
          </p:cNvSpPr>
          <p:nvPr/>
        </p:nvSpPr>
        <p:spPr bwMode="auto">
          <a:xfrm>
            <a:off x="260684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4</a:t>
            </a:r>
          </a:p>
        </p:txBody>
      </p:sp>
      <p:sp>
        <p:nvSpPr>
          <p:cNvPr id="55" name="Rechteck 47"/>
          <p:cNvSpPr>
            <a:spLocks noChangeAspect="1"/>
          </p:cNvSpPr>
          <p:nvPr/>
        </p:nvSpPr>
        <p:spPr bwMode="auto">
          <a:xfrm>
            <a:off x="298156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5</a:t>
            </a:r>
          </a:p>
        </p:txBody>
      </p:sp>
      <p:sp>
        <p:nvSpPr>
          <p:cNvPr id="56" name="Rechteck 48"/>
          <p:cNvSpPr>
            <a:spLocks noChangeAspect="1"/>
          </p:cNvSpPr>
          <p:nvPr/>
        </p:nvSpPr>
        <p:spPr bwMode="auto">
          <a:xfrm>
            <a:off x="3356278"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6</a:t>
            </a:r>
          </a:p>
        </p:txBody>
      </p:sp>
      <p:sp>
        <p:nvSpPr>
          <p:cNvPr id="57" name="Rechteck 49"/>
          <p:cNvSpPr>
            <a:spLocks noChangeAspect="1"/>
          </p:cNvSpPr>
          <p:nvPr/>
        </p:nvSpPr>
        <p:spPr bwMode="auto">
          <a:xfrm>
            <a:off x="3730996"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7</a:t>
            </a:r>
          </a:p>
        </p:txBody>
      </p:sp>
      <p:sp>
        <p:nvSpPr>
          <p:cNvPr id="58" name="Rechteck 50"/>
          <p:cNvSpPr>
            <a:spLocks noChangeAspect="1"/>
          </p:cNvSpPr>
          <p:nvPr/>
        </p:nvSpPr>
        <p:spPr bwMode="auto">
          <a:xfrm>
            <a:off x="4105714"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8</a:t>
            </a:r>
          </a:p>
        </p:txBody>
      </p:sp>
      <p:sp>
        <p:nvSpPr>
          <p:cNvPr id="59" name="Rechteck 51"/>
          <p:cNvSpPr>
            <a:spLocks noChangeAspect="1"/>
          </p:cNvSpPr>
          <p:nvPr/>
        </p:nvSpPr>
        <p:spPr bwMode="auto">
          <a:xfrm>
            <a:off x="4480432"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9</a:t>
            </a:r>
          </a:p>
        </p:txBody>
      </p:sp>
      <p:sp>
        <p:nvSpPr>
          <p:cNvPr id="60" name="Rechteck 52"/>
          <p:cNvSpPr>
            <a:spLocks noChangeAspect="1"/>
          </p:cNvSpPr>
          <p:nvPr/>
        </p:nvSpPr>
        <p:spPr bwMode="auto">
          <a:xfrm>
            <a:off x="4855150" y="4928598"/>
            <a:ext cx="288000" cy="288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en-US" sz="1200" b="1" i="0" u="none" strike="noStrike" kern="0" cap="none" spc="0" normalizeH="0" baseline="0" noProof="0" dirty="0">
                <a:ln>
                  <a:noFill/>
                </a:ln>
                <a:solidFill>
                  <a:schemeClr val="bg1"/>
                </a:solidFill>
                <a:effectLst/>
                <a:uLnTx/>
                <a:uFillTx/>
                <a:latin typeface="Arial" pitchFamily="34" charset="0"/>
                <a:ea typeface="ＭＳ Ｐゴシック" charset="-128"/>
              </a:rPr>
              <a:t>0</a:t>
            </a:r>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84" name="Rechteck 37"/>
          <p:cNvSpPr/>
          <p:nvPr/>
        </p:nvSpPr>
        <p:spPr>
          <a:xfrm>
            <a:off x="5229868" y="4932198"/>
            <a:ext cx="284400" cy="284400"/>
          </a:xfrm>
          <a:prstGeom prst="rect">
            <a:avLst/>
          </a:prstGeom>
          <a:solidFill>
            <a:schemeClr val="accent4"/>
          </a:solidFill>
          <a:ln w="12700">
            <a:solidFill>
              <a:schemeClr val="accent4"/>
            </a:solidFill>
          </a:ln>
        </p:spPr>
        <p:txBody>
          <a:bodyPr wrap="none" bIns="720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6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endParaRPr kumimoji="0" lang="en-US" sz="1400" b="1" i="0" u="none" strike="noStrike" kern="0" cap="none" spc="0" normalizeH="0" baseline="0" noProof="0" dirty="0">
              <a:ln>
                <a:noFill/>
              </a:ln>
              <a:solidFill>
                <a:schemeClr val="bg1"/>
              </a:solidFill>
              <a:effectLst/>
              <a:uLnTx/>
              <a:uFillTx/>
              <a:latin typeface="Arial" pitchFamily="34" charset="0"/>
              <a:ea typeface="ＭＳ Ｐゴシック" charset="-128"/>
            </a:endParaRPr>
          </a:p>
        </p:txBody>
      </p:sp>
      <p:sp>
        <p:nvSpPr>
          <p:cNvPr id="185" name="Rechteck 40"/>
          <p:cNvSpPr/>
          <p:nvPr/>
        </p:nvSpPr>
        <p:spPr>
          <a:xfrm>
            <a:off x="5600986" y="4932198"/>
            <a:ext cx="284400" cy="284400"/>
          </a:xfrm>
          <a:prstGeom prst="rect">
            <a:avLst/>
          </a:prstGeom>
          <a:solidFill>
            <a:schemeClr val="accent1"/>
          </a:solidFill>
          <a:ln w="12700">
            <a:solidFill>
              <a:schemeClr val="accent1"/>
            </a:solidFill>
          </a:ln>
        </p:spPr>
        <p:txBody>
          <a:bodyPr wrap="none" bIns="46800" rtlCol="0" anchor="ctr">
            <a:noAutofit/>
          </a:bodyPr>
          <a:lstStyle/>
          <a:p>
            <a:pPr marL="180000" marR="0" lvl="0" indent="-180000" algn="ctr" defTabSz="914400" eaLnBrk="1" fontAlgn="auto" latinLnBrk="0" hangingPunct="1">
              <a:lnSpc>
                <a:spcPct val="100000"/>
              </a:lnSpc>
              <a:spcBef>
                <a:spcPts val="400"/>
              </a:spcBef>
              <a:spcAft>
                <a:spcPts val="0"/>
              </a:spcAft>
              <a:buClr>
                <a:srgbClr val="55A0B9">
                  <a:lumMod val="75000"/>
                </a:srgbClr>
              </a:buClr>
              <a:buSzPct val="100000"/>
              <a:buFontTx/>
              <a:buNone/>
              <a:tabLst/>
              <a:defRPr/>
            </a:pPr>
            <a:r>
              <a:rPr kumimoji="0" lang="en-US" sz="1800" b="1" i="0" u="none" strike="noStrike" kern="0" cap="none" spc="0" normalizeH="0" baseline="0" noProof="0" dirty="0">
                <a:ln>
                  <a:noFill/>
                </a:ln>
                <a:solidFill>
                  <a:schemeClr val="bg1"/>
                </a:solidFill>
                <a:effectLst/>
                <a:uLnTx/>
                <a:uFillTx/>
                <a:latin typeface="Arial" pitchFamily="34" charset="0"/>
                <a:ea typeface="ＭＳ Ｐゴシック" charset="-128"/>
                <a:sym typeface="Wingdings"/>
              </a:rPr>
              <a:t>+</a:t>
            </a:r>
          </a:p>
        </p:txBody>
      </p:sp>
      <p:sp>
        <p:nvSpPr>
          <p:cNvPr id="192" name="Rechteck 65"/>
          <p:cNvSpPr>
            <a:spLocks noChangeAspect="1"/>
          </p:cNvSpPr>
          <p:nvPr/>
        </p:nvSpPr>
        <p:spPr bwMode="gray">
          <a:xfrm>
            <a:off x="6714340"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193" name="Rechteck 66"/>
          <p:cNvSpPr>
            <a:spLocks noChangeAspect="1"/>
          </p:cNvSpPr>
          <p:nvPr/>
        </p:nvSpPr>
        <p:spPr bwMode="gray">
          <a:xfrm>
            <a:off x="7233065" y="4784598"/>
            <a:ext cx="432000" cy="432000"/>
          </a:xfrm>
          <a:prstGeom prst="rect">
            <a:avLst/>
          </a:prstGeom>
          <a:solidFill>
            <a:schemeClr val="accent1"/>
          </a:solidFill>
          <a:ln w="12700">
            <a:solidFill>
              <a:schemeClr val="accent1"/>
            </a:solidFill>
          </a:ln>
          <a:effectLst/>
          <a:ex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smtClean="0">
                <a:ln>
                  <a:noFill/>
                </a:ln>
                <a:solidFill>
                  <a:srgbClr val="FFFFFF"/>
                </a:solidFill>
                <a:effectLst/>
                <a:uLnTx/>
                <a:uFillTx/>
                <a:latin typeface="Arial"/>
                <a:ea typeface="ＭＳ Ｐゴシック" charset="-128"/>
              </a:rPr>
              <a:t>?</a:t>
            </a:r>
            <a:endParaRPr kumimoji="0" lang="en-US" sz="2800" b="1" i="0" u="none" strike="noStrike" kern="0" cap="none" spc="0" normalizeH="0" baseline="0" noProof="0" dirty="0">
              <a:ln>
                <a:noFill/>
              </a:ln>
              <a:solidFill>
                <a:srgbClr val="FFFFFF"/>
              </a:solidFill>
              <a:effectLst/>
              <a:uLnTx/>
              <a:uFillTx/>
              <a:latin typeface="Arial"/>
              <a:ea typeface="ＭＳ Ｐゴシック" charset="-128"/>
            </a:endParaRPr>
          </a:p>
        </p:txBody>
      </p:sp>
      <p:sp>
        <p:nvSpPr>
          <p:cNvPr id="7" name="Right Arrow Callout 6"/>
          <p:cNvSpPr/>
          <p:nvPr/>
        </p:nvSpPr>
        <p:spPr bwMode="gray">
          <a:xfrm>
            <a:off x="5275019" y="1780652"/>
            <a:ext cx="577503" cy="648000"/>
          </a:xfrm>
          <a:prstGeom prst="rightArrowCallou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cxnSp>
        <p:nvCxnSpPr>
          <p:cNvPr id="196" name="Straight Connector 195"/>
          <p:cNvCxnSpPr/>
          <p:nvPr/>
        </p:nvCxnSpPr>
        <p:spPr bwMode="gray">
          <a:xfrm>
            <a:off x="1482688" y="2204512"/>
            <a:ext cx="1943943" cy="0"/>
          </a:xfrm>
          <a:prstGeom prst="line">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bwMode="gray">
          <a:xfrm>
            <a:off x="1482688" y="1788667"/>
            <a:ext cx="1943943" cy="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199" name="Snip Diagonal Corner Rectangle 198"/>
          <p:cNvSpPr/>
          <p:nvPr/>
        </p:nvSpPr>
        <p:spPr bwMode="gray">
          <a:xfrm>
            <a:off x="5953907" y="3338599"/>
            <a:ext cx="719509" cy="719509"/>
          </a:xfrm>
          <a:prstGeom prst="snip2DiagRect">
            <a:avLst>
              <a:gd name="adj1" fmla="val 17651"/>
              <a:gd name="adj2" fmla="val 16667"/>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0" name="Pentagon 199"/>
          <p:cNvSpPr/>
          <p:nvPr/>
        </p:nvSpPr>
        <p:spPr bwMode="gray">
          <a:xfrm>
            <a:off x="5885386" y="1780652"/>
            <a:ext cx="910943" cy="648000"/>
          </a:xfrm>
          <a:prstGeom prst="homePlate">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1" name="Snip Single Corner Rectangle 200"/>
          <p:cNvSpPr/>
          <p:nvPr/>
        </p:nvSpPr>
        <p:spPr bwMode="gray">
          <a:xfrm>
            <a:off x="6945556" y="3338599"/>
            <a:ext cx="719509" cy="719509"/>
          </a:xfrm>
          <a:prstGeom prst="snip1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203" name="Chevron 202"/>
          <p:cNvSpPr/>
          <p:nvPr/>
        </p:nvSpPr>
        <p:spPr bwMode="gray">
          <a:xfrm>
            <a:off x="6754122" y="1780652"/>
            <a:ext cx="910943" cy="648000"/>
          </a:xfrm>
          <a:prstGeom prst="chevron">
            <a:avLst>
              <a:gd name="adj" fmla="val 30449"/>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100"/>
              </a:spcBef>
              <a:buClr>
                <a:schemeClr val="tx2"/>
              </a:buClr>
              <a:buSzPct val="70000"/>
              <a:buFont typeface="Wingdings" pitchFamily="2" charset="2"/>
              <a:buNone/>
            </a:pPr>
            <a:endParaRPr lang="en-US" sz="1200" b="1" dirty="0" smtClean="0">
              <a:solidFill>
                <a:schemeClr val="bg1"/>
              </a:solidFill>
              <a:latin typeface="Arial" pitchFamily="34" charset="0"/>
              <a:cs typeface="Arial" pitchFamily="34" charset="0"/>
            </a:endParaRPr>
          </a:p>
        </p:txBody>
      </p:sp>
      <p:sp>
        <p:nvSpPr>
          <p:cNvPr id="204" name="Right Arrow 203"/>
          <p:cNvSpPr/>
          <p:nvPr/>
        </p:nvSpPr>
        <p:spPr bwMode="gray">
          <a:xfrm flipV="1">
            <a:off x="3556538" y="1710459"/>
            <a:ext cx="437434" cy="376237"/>
          </a:xfrm>
          <a:prstGeom prst="rightArrow">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5" name="Right Arrow 204"/>
          <p:cNvSpPr/>
          <p:nvPr/>
        </p:nvSpPr>
        <p:spPr bwMode="gray">
          <a:xfrm flipV="1">
            <a:off x="3556538" y="2148420"/>
            <a:ext cx="437434" cy="376237"/>
          </a:xfrm>
          <a:prstGeom prst="rightArrow">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206" name="Heptagon 205"/>
          <p:cNvSpPr>
            <a:spLocks noChangeAspect="1"/>
          </p:cNvSpPr>
          <p:nvPr/>
        </p:nvSpPr>
        <p:spPr bwMode="gray">
          <a:xfrm>
            <a:off x="2474336" y="3338599"/>
            <a:ext cx="719509" cy="719509"/>
          </a:xfrm>
          <a:prstGeom prst="heptagon">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 name="Action Button: End 9">
            <a:hlinkClick r:id="" action="ppaction://hlinkshowjump?jump=lastslide" highlightClick="1"/>
          </p:cNvPr>
          <p:cNvSpPr/>
          <p:nvPr/>
        </p:nvSpPr>
        <p:spPr bwMode="gray">
          <a:xfrm>
            <a:off x="4365034" y="5468811"/>
            <a:ext cx="360000" cy="360000"/>
          </a:xfrm>
          <a:prstGeom prst="actionButtonEnd">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5" name="Action Button: Beginning 14">
            <a:hlinkClick r:id="" action="ppaction://hlinkshowjump?jump=firstslide" highlightClick="1"/>
          </p:cNvPr>
          <p:cNvSpPr/>
          <p:nvPr/>
        </p:nvSpPr>
        <p:spPr bwMode="gray">
          <a:xfrm>
            <a:off x="3730838" y="5468811"/>
            <a:ext cx="360000" cy="360000"/>
          </a:xfrm>
          <a:prstGeom prst="actionButtonBeginning">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16" name="Action Button: Forward or Next 15">
            <a:hlinkClick r:id="" action="ppaction://hlinkshowjump?jump=nextslide" highlightClick="1"/>
          </p:cNvPr>
          <p:cNvSpPr/>
          <p:nvPr/>
        </p:nvSpPr>
        <p:spPr bwMode="gray">
          <a:xfrm>
            <a:off x="4999230" y="5468811"/>
            <a:ext cx="360000" cy="360000"/>
          </a:xfrm>
          <a:prstGeom prst="actionButtonForwardNex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4" name="Action Button: Back or Previous 23">
            <a:hlinkClick r:id="" action="ppaction://hlinkshowjump?jump=previousslide" highlightClick="1"/>
          </p:cNvPr>
          <p:cNvSpPr/>
          <p:nvPr/>
        </p:nvSpPr>
        <p:spPr bwMode="gray">
          <a:xfrm>
            <a:off x="5633426" y="5468811"/>
            <a:ext cx="360000" cy="360000"/>
          </a:xfrm>
          <a:prstGeom prst="actionButtonBackPrevious">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sp>
        <p:nvSpPr>
          <p:cNvPr id="25" name="Action Button: Home 24">
            <a:hlinkClick r:id="" action="ppaction://hlinkshowjump?jump=firstslide" highlightClick="1"/>
          </p:cNvPr>
          <p:cNvSpPr/>
          <p:nvPr/>
        </p:nvSpPr>
        <p:spPr bwMode="gray">
          <a:xfrm>
            <a:off x="6267622" y="5468811"/>
            <a:ext cx="360000" cy="360000"/>
          </a:xfrm>
          <a:prstGeom prst="actionButtonHom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ru-RU" sz="1600" dirty="0" err="1" smtClean="0">
              <a:solidFill>
                <a:schemeClr val="bg1"/>
              </a:solidFill>
              <a:latin typeface="Arial" pitchFamily="34" charset="0"/>
              <a:cs typeface="Arial" pitchFamily="34" charset="0"/>
            </a:endParaRPr>
          </a:p>
        </p:txBody>
      </p:sp>
      <p:grpSp>
        <p:nvGrpSpPr>
          <p:cNvPr id="71" name="Gruppieren 143"/>
          <p:cNvGrpSpPr/>
          <p:nvPr/>
        </p:nvGrpSpPr>
        <p:grpSpPr bwMode="gray">
          <a:xfrm>
            <a:off x="4693225" y="1978652"/>
            <a:ext cx="323850" cy="252000"/>
            <a:chOff x="971550" y="3107267"/>
            <a:chExt cx="323850" cy="252000"/>
          </a:xfrm>
          <a:solidFill>
            <a:schemeClr val="accent1"/>
          </a:solidFill>
        </p:grpSpPr>
        <p:sp>
          <p:nvSpPr>
            <p:cNvPr id="72"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3"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74" name="Gruppieren 146"/>
          <p:cNvGrpSpPr/>
          <p:nvPr/>
        </p:nvGrpSpPr>
        <p:grpSpPr bwMode="gray">
          <a:xfrm rot="16200000">
            <a:off x="4257308" y="1978652"/>
            <a:ext cx="323850" cy="252000"/>
            <a:chOff x="971550" y="3107267"/>
            <a:chExt cx="323850" cy="252000"/>
          </a:xfrm>
          <a:solidFill>
            <a:schemeClr val="accent1"/>
          </a:solidFill>
        </p:grpSpPr>
        <p:sp>
          <p:nvSpPr>
            <p:cNvPr id="75" name="AutoShape 26"/>
            <p:cNvSpPr>
              <a:spLocks noChangeArrowheads="1"/>
            </p:cNvSpPr>
            <p:nvPr/>
          </p:nvSpPr>
          <p:spPr bwMode="gray">
            <a:xfrm>
              <a:off x="115140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sp>
          <p:nvSpPr>
            <p:cNvPr id="76" name="AutoShape 26"/>
            <p:cNvSpPr>
              <a:spLocks noChangeArrowheads="1"/>
            </p:cNvSpPr>
            <p:nvPr/>
          </p:nvSpPr>
          <p:spPr bwMode="gray">
            <a:xfrm flipH="1">
              <a:off x="971550" y="3107267"/>
              <a:ext cx="144000" cy="252000"/>
            </a:xfrm>
            <a:prstGeom prst="rightArrow">
              <a:avLst>
                <a:gd name="adj1" fmla="val 60339"/>
                <a:gd name="adj2" fmla="val 54593"/>
              </a:avLst>
            </a:prstGeom>
            <a:grpFill/>
            <a:ln>
              <a:solidFill>
                <a:schemeClr val="accent1"/>
              </a:solidFill>
            </a:ln>
            <a:effectLst/>
          </p:spPr>
          <p:txBody>
            <a:bodyPr wrap="square" lIns="0" tIns="0" rIns="0" bIns="0" numCol="1" spcCol="72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pitchFamily="34" charset="0"/>
                <a:ea typeface="ＭＳ Ｐゴシック" charset="-128"/>
              </a:endParaRPr>
            </a:p>
          </p:txBody>
        </p:sp>
      </p:grpSp>
      <p:grpSp>
        <p:nvGrpSpPr>
          <p:cNvPr id="117" name="Group 2"/>
          <p:cNvGrpSpPr>
            <a:grpSpLocks noChangeAspect="1"/>
          </p:cNvGrpSpPr>
          <p:nvPr/>
        </p:nvGrpSpPr>
        <p:grpSpPr bwMode="auto">
          <a:xfrm>
            <a:off x="2528402" y="4333874"/>
            <a:ext cx="360000" cy="360000"/>
            <a:chOff x="2496" y="4363"/>
            <a:chExt cx="134" cy="134"/>
          </a:xfrm>
        </p:grpSpPr>
        <p:sp>
          <p:nvSpPr>
            <p:cNvPr id="118" name="Oval 3"/>
            <p:cNvSpPr>
              <a:spLocks noChangeAspect="1" noChangeArrowheads="1"/>
            </p:cNvSpPr>
            <p:nvPr/>
          </p:nvSpPr>
          <p:spPr bwMode="auto">
            <a:xfrm>
              <a:off x="249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19" name="Arc 4"/>
            <p:cNvSpPr>
              <a:spLocks noChangeAspect="1"/>
            </p:cNvSpPr>
            <p:nvPr/>
          </p:nvSpPr>
          <p:spPr bwMode="auto">
            <a:xfrm>
              <a:off x="2563" y="4363"/>
              <a:ext cx="67" cy="6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sp>
        <p:nvSpPr>
          <p:cNvPr id="120" name="Oval 5"/>
          <p:cNvSpPr>
            <a:spLocks noChangeAspect="1" noChangeArrowheads="1"/>
          </p:cNvSpPr>
          <p:nvPr>
            <p:custDataLst>
              <p:tags r:id="rId3"/>
            </p:custDataLst>
          </p:nvPr>
        </p:nvSpPr>
        <p:spPr bwMode="auto">
          <a:xfrm>
            <a:off x="1482688" y="4333874"/>
            <a:ext cx="360000" cy="360002"/>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1" name="Oval 6"/>
          <p:cNvSpPr>
            <a:spLocks noChangeAspect="1" noChangeArrowheads="1"/>
          </p:cNvSpPr>
          <p:nvPr>
            <p:custDataLst>
              <p:tags r:id="rId4"/>
            </p:custDataLst>
          </p:nvPr>
        </p:nvSpPr>
        <p:spPr bwMode="auto">
          <a:xfrm>
            <a:off x="5665546" y="4333874"/>
            <a:ext cx="360000" cy="360002"/>
          </a:xfrm>
          <a:prstGeom prst="ellipse">
            <a:avLst/>
          </a:prstGeom>
          <a:solidFill>
            <a:schemeClr val="accent1"/>
          </a:solidFill>
          <a:ln w="12700" algn="ctr">
            <a:solidFill>
              <a:schemeClr val="accent1"/>
            </a:solidFill>
            <a:round/>
            <a:headEnd/>
            <a:tailEnd/>
          </a:ln>
          <a:effectLst/>
          <a:extLst/>
        </p:spPr>
        <p:txBody>
          <a:bodyPr lIns="0" tIns="0" rIns="0" bIns="0" anchor="ctr">
            <a:noAutofit/>
          </a:bodyPr>
          <a:lstStyle/>
          <a:p>
            <a:pPr algn="ctr"/>
            <a:endParaRPr lang="en-US"/>
          </a:p>
        </p:txBody>
      </p:sp>
      <p:grpSp>
        <p:nvGrpSpPr>
          <p:cNvPr id="122" name="Group 7"/>
          <p:cNvGrpSpPr>
            <a:grpSpLocks noChangeAspect="1"/>
          </p:cNvGrpSpPr>
          <p:nvPr/>
        </p:nvGrpSpPr>
        <p:grpSpPr bwMode="auto">
          <a:xfrm>
            <a:off x="4619830" y="4333874"/>
            <a:ext cx="360000" cy="360002"/>
            <a:chOff x="3217" y="4363"/>
            <a:chExt cx="134" cy="133"/>
          </a:xfrm>
        </p:grpSpPr>
        <p:sp>
          <p:nvSpPr>
            <p:cNvPr id="123" name="Oval 8"/>
            <p:cNvSpPr>
              <a:spLocks noChangeAspect="1" noChangeArrowheads="1"/>
            </p:cNvSpPr>
            <p:nvPr/>
          </p:nvSpPr>
          <p:spPr bwMode="auto">
            <a:xfrm>
              <a:off x="321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4" name="Arc 9"/>
            <p:cNvSpPr>
              <a:spLocks noChangeAspect="1"/>
            </p:cNvSpPr>
            <p:nvPr/>
          </p:nvSpPr>
          <p:spPr bwMode="auto">
            <a:xfrm>
              <a:off x="3217" y="4363"/>
              <a:ext cx="134" cy="133"/>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5" name="Group 10"/>
          <p:cNvGrpSpPr>
            <a:grpSpLocks noChangeAspect="1"/>
          </p:cNvGrpSpPr>
          <p:nvPr/>
        </p:nvGrpSpPr>
        <p:grpSpPr bwMode="auto">
          <a:xfrm>
            <a:off x="5142687" y="4333874"/>
            <a:ext cx="360000" cy="360000"/>
            <a:chOff x="3397" y="4363"/>
            <a:chExt cx="134" cy="133"/>
          </a:xfrm>
        </p:grpSpPr>
        <p:sp>
          <p:nvSpPr>
            <p:cNvPr id="126" name="Oval 11"/>
            <p:cNvSpPr>
              <a:spLocks noChangeAspect="1" noChangeArrowheads="1"/>
            </p:cNvSpPr>
            <p:nvPr/>
          </p:nvSpPr>
          <p:spPr bwMode="auto">
            <a:xfrm>
              <a:off x="339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27" name="Arc 12"/>
            <p:cNvSpPr>
              <a:spLocks noChangeAspect="1"/>
            </p:cNvSpPr>
            <p:nvPr/>
          </p:nvSpPr>
          <p:spPr bwMode="auto">
            <a:xfrm>
              <a:off x="3397" y="4363"/>
              <a:ext cx="134" cy="133"/>
            </a:xfrm>
            <a:custGeom>
              <a:avLst/>
              <a:gdLst>
                <a:gd name="G0" fmla="+- 21600 0 0"/>
                <a:gd name="G1" fmla="+- 21600 0 0"/>
                <a:gd name="G2" fmla="+- 21600 0 0"/>
                <a:gd name="T0" fmla="*/ 21600 w 43200"/>
                <a:gd name="T1" fmla="*/ 0 h 43200"/>
                <a:gd name="T2" fmla="*/ 4775 w 43200"/>
                <a:gd name="T3" fmla="*/ 8055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6672"/>
                    <a:pt x="1684" y="11893"/>
                    <a:pt x="4774" y="8054"/>
                  </a:cubicBezTo>
                  <a:lnTo>
                    <a:pt x="2160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28" name="Group 13"/>
          <p:cNvGrpSpPr>
            <a:grpSpLocks noChangeAspect="1"/>
          </p:cNvGrpSpPr>
          <p:nvPr/>
        </p:nvGrpSpPr>
        <p:grpSpPr bwMode="auto">
          <a:xfrm>
            <a:off x="4096973" y="4333874"/>
            <a:ext cx="360000" cy="359998"/>
            <a:chOff x="3037" y="4363"/>
            <a:chExt cx="134" cy="134"/>
          </a:xfrm>
        </p:grpSpPr>
        <p:sp>
          <p:nvSpPr>
            <p:cNvPr id="129" name="Oval 14"/>
            <p:cNvSpPr>
              <a:spLocks noChangeAspect="1" noChangeArrowheads="1"/>
            </p:cNvSpPr>
            <p:nvPr/>
          </p:nvSpPr>
          <p:spPr bwMode="auto">
            <a:xfrm>
              <a:off x="303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0" name="Arc 15"/>
            <p:cNvSpPr>
              <a:spLocks noChangeAspect="1"/>
            </p:cNvSpPr>
            <p:nvPr/>
          </p:nvSpPr>
          <p:spPr bwMode="auto">
            <a:xfrm>
              <a:off x="3056" y="4364"/>
              <a:ext cx="115" cy="133"/>
            </a:xfrm>
            <a:custGeom>
              <a:avLst/>
              <a:gdLst>
                <a:gd name="G0" fmla="+- 15583 0 0"/>
                <a:gd name="G1" fmla="+- 21600 0 0"/>
                <a:gd name="G2" fmla="+- 21600 0 0"/>
                <a:gd name="T0" fmla="*/ 15583 w 37183"/>
                <a:gd name="T1" fmla="*/ 0 h 43200"/>
                <a:gd name="T2" fmla="*/ 0 w 37183"/>
                <a:gd name="T3" fmla="*/ 36558 h 43200"/>
                <a:gd name="T4" fmla="*/ 15583 w 37183"/>
                <a:gd name="T5" fmla="*/ 21600 h 43200"/>
              </a:gdLst>
              <a:ahLst/>
              <a:cxnLst>
                <a:cxn ang="0">
                  <a:pos x="T0" y="T1"/>
                </a:cxn>
                <a:cxn ang="0">
                  <a:pos x="T2" y="T3"/>
                </a:cxn>
                <a:cxn ang="0">
                  <a:pos x="T4" y="T5"/>
                </a:cxn>
              </a:cxnLst>
              <a:rect l="0" t="0" r="r" b="b"/>
              <a:pathLst>
                <a:path w="37183" h="43200" fill="none" extrusionOk="0">
                  <a:moveTo>
                    <a:pt x="15582" y="0"/>
                  </a:moveTo>
                  <a:cubicBezTo>
                    <a:pt x="27512" y="0"/>
                    <a:pt x="37183" y="9670"/>
                    <a:pt x="37183" y="21600"/>
                  </a:cubicBezTo>
                  <a:cubicBezTo>
                    <a:pt x="37183" y="33529"/>
                    <a:pt x="27512" y="43200"/>
                    <a:pt x="15583" y="43200"/>
                  </a:cubicBezTo>
                  <a:cubicBezTo>
                    <a:pt x="9701" y="43200"/>
                    <a:pt x="4073" y="40801"/>
                    <a:pt x="0" y="36557"/>
                  </a:cubicBezTo>
                </a:path>
                <a:path w="37183" h="43200" stroke="0" extrusionOk="0">
                  <a:moveTo>
                    <a:pt x="15582" y="0"/>
                  </a:moveTo>
                  <a:cubicBezTo>
                    <a:pt x="27512" y="0"/>
                    <a:pt x="37183" y="9670"/>
                    <a:pt x="37183" y="21600"/>
                  </a:cubicBezTo>
                  <a:cubicBezTo>
                    <a:pt x="37183" y="33529"/>
                    <a:pt x="27512" y="43200"/>
                    <a:pt x="15583" y="43200"/>
                  </a:cubicBezTo>
                  <a:cubicBezTo>
                    <a:pt x="9701" y="43200"/>
                    <a:pt x="4073" y="40801"/>
                    <a:pt x="0" y="36557"/>
                  </a:cubicBezTo>
                  <a:lnTo>
                    <a:pt x="15583"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1" name="Group 16"/>
          <p:cNvGrpSpPr>
            <a:grpSpLocks noChangeAspect="1"/>
          </p:cNvGrpSpPr>
          <p:nvPr/>
        </p:nvGrpSpPr>
        <p:grpSpPr bwMode="auto">
          <a:xfrm>
            <a:off x="3574116" y="4333874"/>
            <a:ext cx="360000" cy="360000"/>
            <a:chOff x="2857" y="4363"/>
            <a:chExt cx="134" cy="134"/>
          </a:xfrm>
        </p:grpSpPr>
        <p:sp>
          <p:nvSpPr>
            <p:cNvPr id="132" name="Oval 17"/>
            <p:cNvSpPr>
              <a:spLocks noChangeAspect="1" noChangeArrowheads="1"/>
            </p:cNvSpPr>
            <p:nvPr/>
          </p:nvSpPr>
          <p:spPr bwMode="auto">
            <a:xfrm>
              <a:off x="2857"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3" name="Arc 18"/>
            <p:cNvSpPr>
              <a:spLocks noChangeAspect="1"/>
            </p:cNvSpPr>
            <p:nvPr/>
          </p:nvSpPr>
          <p:spPr bwMode="auto">
            <a:xfrm>
              <a:off x="2924" y="4364"/>
              <a:ext cx="67" cy="133"/>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4" name="Group 19"/>
          <p:cNvGrpSpPr>
            <a:grpSpLocks noChangeAspect="1"/>
          </p:cNvGrpSpPr>
          <p:nvPr/>
        </p:nvGrpSpPr>
        <p:grpSpPr bwMode="auto">
          <a:xfrm>
            <a:off x="3051259" y="4333874"/>
            <a:ext cx="360000" cy="359998"/>
            <a:chOff x="2676" y="4363"/>
            <a:chExt cx="134" cy="133"/>
          </a:xfrm>
        </p:grpSpPr>
        <p:sp>
          <p:nvSpPr>
            <p:cNvPr id="135" name="Oval 20"/>
            <p:cNvSpPr>
              <a:spLocks noChangeAspect="1" noChangeArrowheads="1"/>
            </p:cNvSpPr>
            <p:nvPr/>
          </p:nvSpPr>
          <p:spPr bwMode="auto">
            <a:xfrm>
              <a:off x="2676" y="4363"/>
              <a:ext cx="134" cy="133"/>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6" name="Arc 21"/>
            <p:cNvSpPr>
              <a:spLocks noChangeAspect="1"/>
            </p:cNvSpPr>
            <p:nvPr/>
          </p:nvSpPr>
          <p:spPr bwMode="auto">
            <a:xfrm>
              <a:off x="2743" y="4365"/>
              <a:ext cx="67" cy="117"/>
            </a:xfrm>
            <a:custGeom>
              <a:avLst/>
              <a:gdLst>
                <a:gd name="G0" fmla="+- 0 0 0"/>
                <a:gd name="G1" fmla="+- 21600 0 0"/>
                <a:gd name="G2" fmla="+- 21600 0 0"/>
                <a:gd name="T0" fmla="*/ 0 w 21600"/>
                <a:gd name="T1" fmla="*/ 0 h 38062"/>
                <a:gd name="T2" fmla="*/ 13985 w 21600"/>
                <a:gd name="T3" fmla="*/ 38062 h 38062"/>
                <a:gd name="T4" fmla="*/ 0 w 21600"/>
                <a:gd name="T5" fmla="*/ 21600 h 38062"/>
              </a:gdLst>
              <a:ahLst/>
              <a:cxnLst>
                <a:cxn ang="0">
                  <a:pos x="T0" y="T1"/>
                </a:cxn>
                <a:cxn ang="0">
                  <a:pos x="T2" y="T3"/>
                </a:cxn>
                <a:cxn ang="0">
                  <a:pos x="T4" y="T5"/>
                </a:cxn>
              </a:cxnLst>
              <a:rect l="0" t="0" r="r" b="b"/>
              <a:pathLst>
                <a:path w="21600" h="38062" fill="none" extrusionOk="0">
                  <a:moveTo>
                    <a:pt x="-1" y="0"/>
                  </a:moveTo>
                  <a:cubicBezTo>
                    <a:pt x="11929" y="0"/>
                    <a:pt x="21600" y="9670"/>
                    <a:pt x="21600" y="21600"/>
                  </a:cubicBezTo>
                  <a:cubicBezTo>
                    <a:pt x="21600" y="27938"/>
                    <a:pt x="18815" y="33957"/>
                    <a:pt x="13984" y="38061"/>
                  </a:cubicBezTo>
                </a:path>
                <a:path w="21600" h="38062" stroke="0" extrusionOk="0">
                  <a:moveTo>
                    <a:pt x="-1" y="0"/>
                  </a:moveTo>
                  <a:cubicBezTo>
                    <a:pt x="11929" y="0"/>
                    <a:pt x="21600" y="9670"/>
                    <a:pt x="21600" y="21600"/>
                  </a:cubicBezTo>
                  <a:cubicBezTo>
                    <a:pt x="21600" y="27938"/>
                    <a:pt x="18815" y="33957"/>
                    <a:pt x="13984" y="38061"/>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137" name="Group 22"/>
          <p:cNvGrpSpPr>
            <a:grpSpLocks noChangeAspect="1"/>
          </p:cNvGrpSpPr>
          <p:nvPr/>
        </p:nvGrpSpPr>
        <p:grpSpPr bwMode="auto">
          <a:xfrm>
            <a:off x="2005545" y="4333874"/>
            <a:ext cx="360000" cy="360000"/>
            <a:chOff x="2316" y="4363"/>
            <a:chExt cx="134" cy="134"/>
          </a:xfrm>
        </p:grpSpPr>
        <p:sp>
          <p:nvSpPr>
            <p:cNvPr id="138" name="Oval 23"/>
            <p:cNvSpPr>
              <a:spLocks noChangeAspect="1" noChangeArrowheads="1"/>
            </p:cNvSpPr>
            <p:nvPr/>
          </p:nvSpPr>
          <p:spPr bwMode="auto">
            <a:xfrm>
              <a:off x="2316" y="4363"/>
              <a:ext cx="134" cy="134"/>
            </a:xfrm>
            <a:prstGeom prst="ellipse">
              <a:avLst/>
            </a:prstGeom>
            <a:solidFill>
              <a:srgbClr val="FFFFFF"/>
            </a:solidFill>
            <a:ln w="12700" algn="ctr">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sp>
          <p:nvSpPr>
            <p:cNvPr id="139" name="Arc 24"/>
            <p:cNvSpPr>
              <a:spLocks noChangeAspect="1"/>
            </p:cNvSpPr>
            <p:nvPr/>
          </p:nvSpPr>
          <p:spPr bwMode="auto">
            <a:xfrm>
              <a:off x="2383" y="4363"/>
              <a:ext cx="47" cy="67"/>
            </a:xfrm>
            <a:custGeom>
              <a:avLst/>
              <a:gdLst>
                <a:gd name="G0" fmla="+- 0 0 0"/>
                <a:gd name="G1" fmla="+- 21600 0 0"/>
                <a:gd name="G2" fmla="+- 21600 0 0"/>
                <a:gd name="T0" fmla="*/ 0 w 15274"/>
                <a:gd name="T1" fmla="*/ 0 h 21600"/>
                <a:gd name="T2" fmla="*/ 15274 w 15274"/>
                <a:gd name="T3" fmla="*/ 6326 h 21600"/>
                <a:gd name="T4" fmla="*/ 0 w 15274"/>
                <a:gd name="T5" fmla="*/ 21600 h 21600"/>
              </a:gdLst>
              <a:ahLst/>
              <a:cxnLst>
                <a:cxn ang="0">
                  <a:pos x="T0" y="T1"/>
                </a:cxn>
                <a:cxn ang="0">
                  <a:pos x="T2" y="T3"/>
                </a:cxn>
                <a:cxn ang="0">
                  <a:pos x="T4" y="T5"/>
                </a:cxn>
              </a:cxnLst>
              <a:rect l="0" t="0" r="r" b="b"/>
              <a:pathLst>
                <a:path w="15274" h="21600" fill="none" extrusionOk="0">
                  <a:moveTo>
                    <a:pt x="-1" y="0"/>
                  </a:moveTo>
                  <a:cubicBezTo>
                    <a:pt x="5728" y="0"/>
                    <a:pt x="11222" y="2275"/>
                    <a:pt x="15273" y="6326"/>
                  </a:cubicBezTo>
                </a:path>
                <a:path w="15274" h="21600" stroke="0" extrusionOk="0">
                  <a:moveTo>
                    <a:pt x="-1" y="0"/>
                  </a:moveTo>
                  <a:cubicBezTo>
                    <a:pt x="5728" y="0"/>
                    <a:pt x="11222" y="2275"/>
                    <a:pt x="15273" y="6326"/>
                  </a:cubicBezTo>
                  <a:lnTo>
                    <a:pt x="0" y="21600"/>
                  </a:lnTo>
                  <a:close/>
                </a:path>
              </a:pathLst>
            </a:custGeom>
            <a:solidFill>
              <a:schemeClr val="accent1"/>
            </a:solidFill>
            <a:ln w="12700">
              <a:solidFill>
                <a:schemeClr val="accent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endParaRPr lang="en-US"/>
            </a:p>
          </p:txBody>
        </p:sp>
      </p:grpSp>
      <p:grpSp>
        <p:nvGrpSpPr>
          <p:cNvPr id="90" name="Gruppieren 4"/>
          <p:cNvGrpSpPr/>
          <p:nvPr>
            <p:custDataLst>
              <p:tags r:id="rId5"/>
            </p:custDataLst>
          </p:nvPr>
        </p:nvGrpSpPr>
        <p:grpSpPr bwMode="gray">
          <a:xfrm>
            <a:off x="5279538" y="2708920"/>
            <a:ext cx="2255605" cy="377419"/>
            <a:chOff x="1166813" y="220663"/>
            <a:chExt cx="790575" cy="193675"/>
          </a:xfrm>
        </p:grpSpPr>
        <p:sp>
          <p:nvSpPr>
            <p:cNvPr id="91" name="AutoShape 11"/>
            <p:cNvSpPr>
              <a:spLocks noChangeArrowheads="1"/>
            </p:cNvSpPr>
            <p:nvPr/>
          </p:nvSpPr>
          <p:spPr bwMode="gray">
            <a:xfrm>
              <a:off x="1166813" y="220663"/>
              <a:ext cx="265112"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sp>
          <p:nvSpPr>
            <p:cNvPr id="92" name="AutoShape 12"/>
            <p:cNvSpPr>
              <a:spLocks noChangeArrowheads="1"/>
            </p:cNvSpPr>
            <p:nvPr/>
          </p:nvSpPr>
          <p:spPr bwMode="gray">
            <a:xfrm>
              <a:off x="1428750" y="220663"/>
              <a:ext cx="265113" cy="193675"/>
            </a:xfrm>
            <a:prstGeom prst="chevron">
              <a:avLst>
                <a:gd name="adj" fmla="val 14842"/>
              </a:avLst>
            </a:prstGeom>
            <a:solidFill>
              <a:schemeClr val="accent1"/>
            </a:solidFill>
            <a:ln w="6350">
              <a:solidFill>
                <a:schemeClr val="accent1"/>
              </a:solidFill>
              <a:miter lim="800000"/>
              <a:headEnd/>
              <a:tailEnd/>
            </a:ln>
          </p:spPr>
          <p:txBody>
            <a:bodyPr/>
            <a:lstStyle/>
            <a:p>
              <a:pPr algn="l">
                <a:lnSpc>
                  <a:spcPct val="100000"/>
                </a:lnSpc>
                <a:buFont typeface="Wingdings" pitchFamily="2" charset="2"/>
                <a:buNone/>
              </a:pPr>
              <a:endParaRPr lang="en-US" sz="1400" b="1"/>
            </a:p>
          </p:txBody>
        </p:sp>
        <p:sp>
          <p:nvSpPr>
            <p:cNvPr id="93" name="AutoShape 13"/>
            <p:cNvSpPr>
              <a:spLocks noChangeArrowheads="1"/>
            </p:cNvSpPr>
            <p:nvPr/>
          </p:nvSpPr>
          <p:spPr bwMode="gray">
            <a:xfrm>
              <a:off x="1692275" y="220663"/>
              <a:ext cx="265113" cy="193675"/>
            </a:xfrm>
            <a:prstGeom prst="chevron">
              <a:avLst>
                <a:gd name="adj" fmla="val 14842"/>
              </a:avLst>
            </a:prstGeom>
            <a:solidFill>
              <a:srgbClr val="FFFFFF"/>
            </a:solidFill>
            <a:ln w="6350">
              <a:solidFill>
                <a:schemeClr val="accent4"/>
              </a:solidFill>
              <a:miter lim="800000"/>
              <a:headEnd/>
              <a:tailEnd/>
            </a:ln>
          </p:spPr>
          <p:txBody>
            <a:bodyPr/>
            <a:lstStyle/>
            <a:p>
              <a:pPr algn="l">
                <a:lnSpc>
                  <a:spcPct val="100000"/>
                </a:lnSpc>
                <a:buFont typeface="Wingdings" pitchFamily="2" charset="2"/>
                <a:buNone/>
              </a:pPr>
              <a:endParaRPr lang="en-US" sz="1400"/>
            </a:p>
          </p:txBody>
        </p:sp>
      </p:grpSp>
      <p:grpSp>
        <p:nvGrpSpPr>
          <p:cNvPr id="28" name="Gruppierung 27"/>
          <p:cNvGrpSpPr/>
          <p:nvPr/>
        </p:nvGrpSpPr>
        <p:grpSpPr>
          <a:xfrm>
            <a:off x="5972104" y="4932198"/>
            <a:ext cx="284400" cy="284400"/>
            <a:chOff x="5972104" y="4932198"/>
            <a:chExt cx="284400" cy="284400"/>
          </a:xfrm>
        </p:grpSpPr>
        <p:sp>
          <p:nvSpPr>
            <p:cNvPr id="190" name="Rechteck 61"/>
            <p:cNvSpPr/>
            <p:nvPr/>
          </p:nvSpPr>
          <p:spPr>
            <a:xfrm>
              <a:off x="5972104" y="4932198"/>
              <a:ext cx="284400" cy="284400"/>
            </a:xfrm>
            <a:prstGeom prst="rect">
              <a:avLst/>
            </a:prstGeom>
            <a:solidFill>
              <a:schemeClr val="accent1"/>
            </a:solidFill>
            <a:ln w="12700" algn="ctr">
              <a:solidFill>
                <a:schemeClr val="accent1"/>
              </a:solidFill>
              <a:miter lim="800000"/>
              <a:headEnd/>
              <a:tailEnd/>
            </a:ln>
          </p:spPr>
          <p:txBody>
            <a:bodyPr wrap="none" lIns="108000" tIns="54000" rIns="108000" bIns="54000" anchor="ctr">
              <a:noAutofit/>
            </a:bodyPr>
            <a:lstStyle/>
            <a:p>
              <a:pPr algn="ctr"/>
              <a:endParaRPr lang="en-US" b="1" dirty="0">
                <a:solidFill>
                  <a:srgbClr val="FFFFFF"/>
                </a:solidFill>
              </a:endParaRPr>
            </a:p>
          </p:txBody>
        </p:sp>
        <p:sp>
          <p:nvSpPr>
            <p:cNvPr id="26" name="Multiplizieren 25"/>
            <p:cNvSpPr/>
            <p:nvPr/>
          </p:nvSpPr>
          <p:spPr bwMode="gray">
            <a:xfrm>
              <a:off x="5995875" y="4938548"/>
              <a:ext cx="248797" cy="275031"/>
            </a:xfrm>
            <a:prstGeom prst="mathMultiply">
              <a:avLst>
                <a:gd name="adj1" fmla="val 11877"/>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1152" name="Gruppierung 1151"/>
          <p:cNvGrpSpPr/>
          <p:nvPr/>
        </p:nvGrpSpPr>
        <p:grpSpPr>
          <a:xfrm>
            <a:off x="6343222" y="4932198"/>
            <a:ext cx="284400" cy="284400"/>
            <a:chOff x="6343222" y="4932198"/>
            <a:chExt cx="284400" cy="284400"/>
          </a:xfrm>
        </p:grpSpPr>
        <p:sp>
          <p:nvSpPr>
            <p:cNvPr id="191" name="Rechteck 64"/>
            <p:cNvSpPr/>
            <p:nvPr/>
          </p:nvSpPr>
          <p:spPr>
            <a:xfrm>
              <a:off x="6343222" y="4932198"/>
              <a:ext cx="284400" cy="284400"/>
            </a:xfrm>
            <a:prstGeom prst="rect">
              <a:avLst/>
            </a:prstGeom>
            <a:solidFill>
              <a:schemeClr val="accent1"/>
            </a:solidFill>
            <a:ln w="12700" algn="ctr">
              <a:solidFill>
                <a:schemeClr val="accent1"/>
              </a:solidFill>
              <a:miter lim="800000"/>
              <a:headEnd/>
              <a:tailEnd/>
            </a:ln>
            <a:effectLst/>
          </p:spPr>
          <p:txBody>
            <a:bodyPr wrap="none" lIns="108000" tIns="54000" rIns="108000" bIns="54000" anchor="ctr">
              <a:noAutofit/>
            </a:bodyPr>
            <a:lstStyle/>
            <a:p>
              <a:pPr algn="ctr" fontAlgn="auto">
                <a:lnSpc>
                  <a:spcPct val="100000"/>
                </a:lnSpc>
                <a:spcBef>
                  <a:spcPts val="0"/>
                </a:spcBef>
                <a:spcAft>
                  <a:spcPts val="0"/>
                </a:spcAft>
              </a:pPr>
              <a:endParaRPr lang="en-US" sz="1400" b="1" kern="0" dirty="0">
                <a:solidFill>
                  <a:srgbClr val="FFFFFF"/>
                </a:solidFill>
                <a:latin typeface="Arial" pitchFamily="34" charset="0"/>
                <a:ea typeface="ＭＳ Ｐゴシック" charset="-128"/>
              </a:endParaRPr>
            </a:p>
          </p:txBody>
        </p:sp>
        <p:grpSp>
          <p:nvGrpSpPr>
            <p:cNvPr id="31" name="Gruppierung 30"/>
            <p:cNvGrpSpPr/>
            <p:nvPr/>
          </p:nvGrpSpPr>
          <p:grpSpPr>
            <a:xfrm rot="2102260">
              <a:off x="6431672" y="4969422"/>
              <a:ext cx="105173" cy="169382"/>
              <a:chOff x="6408223" y="4505096"/>
              <a:chExt cx="115690" cy="186320"/>
            </a:xfrm>
            <a:solidFill>
              <a:schemeClr val="bg1"/>
            </a:solidFill>
          </p:grpSpPr>
          <p:sp>
            <p:nvSpPr>
              <p:cNvPr id="105" name="Rechteck 104"/>
              <p:cNvSpPr/>
              <p:nvPr/>
            </p:nvSpPr>
            <p:spPr bwMode="gray">
              <a:xfrm rot="5400000">
                <a:off x="6415139" y="4582642"/>
                <a:ext cx="18632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sp>
            <p:nvSpPr>
              <p:cNvPr id="106" name="Rechteck 105"/>
              <p:cNvSpPr/>
              <p:nvPr/>
            </p:nvSpPr>
            <p:spPr bwMode="gray">
              <a:xfrm>
                <a:off x="6408223" y="4660189"/>
                <a:ext cx="115690" cy="3122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spTree>
    <p:extLst>
      <p:ext uri="{BB962C8B-B14F-4D97-AF65-F5344CB8AC3E}">
        <p14:creationId xmlns:p14="http://schemas.microsoft.com/office/powerpoint/2010/main" val="770131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76" name="Gruppieren 1175"/>
          <p:cNvGrpSpPr/>
          <p:nvPr/>
        </p:nvGrpSpPr>
        <p:grpSpPr>
          <a:xfrm>
            <a:off x="1476375" y="2060575"/>
            <a:ext cx="3024188" cy="823842"/>
            <a:chOff x="1476375" y="2060575"/>
            <a:chExt cx="3024188" cy="823842"/>
          </a:xfrm>
        </p:grpSpPr>
        <p:sp>
          <p:nvSpPr>
            <p:cNvPr id="30" name="Freeform 5"/>
            <p:cNvSpPr>
              <a:spLocks noEditPoints="1"/>
            </p:cNvSpPr>
            <p:nvPr/>
          </p:nvSpPr>
          <p:spPr bwMode="auto">
            <a:xfrm>
              <a:off x="3334493" y="2060575"/>
              <a:ext cx="1117257" cy="823842"/>
            </a:xfrm>
            <a:custGeom>
              <a:avLst/>
              <a:gdLst>
                <a:gd name="T0" fmla="*/ 435 w 871"/>
                <a:gd name="T1" fmla="*/ 0 h 640"/>
                <a:gd name="T2" fmla="*/ 0 w 871"/>
                <a:gd name="T3" fmla="*/ 435 h 640"/>
                <a:gd name="T4" fmla="*/ 51 w 871"/>
                <a:gd name="T5" fmla="*/ 640 h 640"/>
                <a:gd name="T6" fmla="*/ 819 w 871"/>
                <a:gd name="T7" fmla="*/ 640 h 640"/>
                <a:gd name="T8" fmla="*/ 871 w 871"/>
                <a:gd name="T9" fmla="*/ 435 h 640"/>
                <a:gd name="T10" fmla="*/ 435 w 871"/>
                <a:gd name="T11" fmla="*/ 0 h 640"/>
                <a:gd name="T12" fmla="*/ 123 w 871"/>
                <a:gd name="T13" fmla="*/ 589 h 640"/>
                <a:gd name="T14" fmla="*/ 88 w 871"/>
                <a:gd name="T15" fmla="*/ 437 h 640"/>
                <a:gd name="T16" fmla="*/ 123 w 871"/>
                <a:gd name="T17" fmla="*/ 285 h 640"/>
                <a:gd name="T18" fmla="*/ 346 w 871"/>
                <a:gd name="T19" fmla="*/ 430 h 640"/>
                <a:gd name="T20" fmla="*/ 346 w 871"/>
                <a:gd name="T21" fmla="*/ 437 h 640"/>
                <a:gd name="T22" fmla="*/ 346 w 871"/>
                <a:gd name="T23" fmla="*/ 443 h 640"/>
                <a:gd name="T24" fmla="*/ 123 w 871"/>
                <a:gd name="T25" fmla="*/ 589 h 640"/>
                <a:gd name="T26" fmla="*/ 397 w 871"/>
                <a:gd name="T27" fmla="*/ 356 h 640"/>
                <a:gd name="T28" fmla="*/ 385 w 871"/>
                <a:gd name="T29" fmla="*/ 363 h 640"/>
                <a:gd name="T30" fmla="*/ 148 w 871"/>
                <a:gd name="T31" fmla="*/ 242 h 640"/>
                <a:gd name="T32" fmla="*/ 411 w 871"/>
                <a:gd name="T33" fmla="*/ 90 h 640"/>
                <a:gd name="T34" fmla="*/ 397 w 871"/>
                <a:gd name="T35" fmla="*/ 356 h 640"/>
                <a:gd name="T36" fmla="*/ 474 w 871"/>
                <a:gd name="T37" fmla="*/ 356 h 640"/>
                <a:gd name="T38" fmla="*/ 460 w 871"/>
                <a:gd name="T39" fmla="*/ 90 h 640"/>
                <a:gd name="T40" fmla="*/ 723 w 871"/>
                <a:gd name="T41" fmla="*/ 242 h 640"/>
                <a:gd name="T42" fmla="*/ 486 w 871"/>
                <a:gd name="T43" fmla="*/ 363 h 640"/>
                <a:gd name="T44" fmla="*/ 474 w 871"/>
                <a:gd name="T45" fmla="*/ 356 h 640"/>
                <a:gd name="T46" fmla="*/ 748 w 871"/>
                <a:gd name="T47" fmla="*/ 589 h 640"/>
                <a:gd name="T48" fmla="*/ 524 w 871"/>
                <a:gd name="T49" fmla="*/ 443 h 640"/>
                <a:gd name="T50" fmla="*/ 525 w 871"/>
                <a:gd name="T51" fmla="*/ 437 h 640"/>
                <a:gd name="T52" fmla="*/ 524 w 871"/>
                <a:gd name="T53" fmla="*/ 430 h 640"/>
                <a:gd name="T54" fmla="*/ 748 w 871"/>
                <a:gd name="T55" fmla="*/ 285 h 640"/>
                <a:gd name="T56" fmla="*/ 783 w 871"/>
                <a:gd name="T57" fmla="*/ 437 h 640"/>
                <a:gd name="T58" fmla="*/ 748 w 871"/>
                <a:gd name="T59" fmla="*/ 589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1" h="640">
                  <a:moveTo>
                    <a:pt x="435" y="0"/>
                  </a:moveTo>
                  <a:cubicBezTo>
                    <a:pt x="195" y="0"/>
                    <a:pt x="0" y="195"/>
                    <a:pt x="0" y="435"/>
                  </a:cubicBezTo>
                  <a:cubicBezTo>
                    <a:pt x="0" y="509"/>
                    <a:pt x="19" y="579"/>
                    <a:pt x="51" y="640"/>
                  </a:cubicBezTo>
                  <a:cubicBezTo>
                    <a:pt x="819" y="640"/>
                    <a:pt x="819" y="640"/>
                    <a:pt x="819" y="640"/>
                  </a:cubicBezTo>
                  <a:cubicBezTo>
                    <a:pt x="852" y="579"/>
                    <a:pt x="871" y="509"/>
                    <a:pt x="871" y="435"/>
                  </a:cubicBezTo>
                  <a:cubicBezTo>
                    <a:pt x="871" y="195"/>
                    <a:pt x="676" y="0"/>
                    <a:pt x="435" y="0"/>
                  </a:cubicBezTo>
                  <a:close/>
                  <a:moveTo>
                    <a:pt x="123" y="589"/>
                  </a:moveTo>
                  <a:cubicBezTo>
                    <a:pt x="101" y="543"/>
                    <a:pt x="88" y="491"/>
                    <a:pt x="88" y="437"/>
                  </a:cubicBezTo>
                  <a:cubicBezTo>
                    <a:pt x="88" y="382"/>
                    <a:pt x="101" y="331"/>
                    <a:pt x="123" y="285"/>
                  </a:cubicBezTo>
                  <a:cubicBezTo>
                    <a:pt x="346" y="430"/>
                    <a:pt x="346" y="430"/>
                    <a:pt x="346" y="430"/>
                  </a:cubicBezTo>
                  <a:cubicBezTo>
                    <a:pt x="346" y="432"/>
                    <a:pt x="346" y="434"/>
                    <a:pt x="346" y="437"/>
                  </a:cubicBezTo>
                  <a:cubicBezTo>
                    <a:pt x="346" y="439"/>
                    <a:pt x="346" y="441"/>
                    <a:pt x="346" y="443"/>
                  </a:cubicBezTo>
                  <a:lnTo>
                    <a:pt x="123" y="589"/>
                  </a:lnTo>
                  <a:close/>
                  <a:moveTo>
                    <a:pt x="397" y="356"/>
                  </a:moveTo>
                  <a:cubicBezTo>
                    <a:pt x="393" y="358"/>
                    <a:pt x="389" y="360"/>
                    <a:pt x="385" y="363"/>
                  </a:cubicBezTo>
                  <a:cubicBezTo>
                    <a:pt x="148" y="242"/>
                    <a:pt x="148" y="242"/>
                    <a:pt x="148" y="242"/>
                  </a:cubicBezTo>
                  <a:cubicBezTo>
                    <a:pt x="206" y="156"/>
                    <a:pt x="301" y="98"/>
                    <a:pt x="411" y="90"/>
                  </a:cubicBezTo>
                  <a:lnTo>
                    <a:pt x="397" y="356"/>
                  </a:lnTo>
                  <a:close/>
                  <a:moveTo>
                    <a:pt x="474" y="356"/>
                  </a:moveTo>
                  <a:cubicBezTo>
                    <a:pt x="460" y="90"/>
                    <a:pt x="460" y="90"/>
                    <a:pt x="460" y="90"/>
                  </a:cubicBezTo>
                  <a:cubicBezTo>
                    <a:pt x="570" y="98"/>
                    <a:pt x="665" y="156"/>
                    <a:pt x="723" y="242"/>
                  </a:cubicBezTo>
                  <a:cubicBezTo>
                    <a:pt x="486" y="363"/>
                    <a:pt x="486" y="363"/>
                    <a:pt x="486" y="363"/>
                  </a:cubicBezTo>
                  <a:cubicBezTo>
                    <a:pt x="482" y="360"/>
                    <a:pt x="478" y="358"/>
                    <a:pt x="474" y="356"/>
                  </a:cubicBezTo>
                  <a:close/>
                  <a:moveTo>
                    <a:pt x="748" y="589"/>
                  </a:moveTo>
                  <a:cubicBezTo>
                    <a:pt x="524" y="443"/>
                    <a:pt x="524" y="443"/>
                    <a:pt x="524" y="443"/>
                  </a:cubicBezTo>
                  <a:cubicBezTo>
                    <a:pt x="525" y="441"/>
                    <a:pt x="525" y="439"/>
                    <a:pt x="525" y="437"/>
                  </a:cubicBezTo>
                  <a:cubicBezTo>
                    <a:pt x="525" y="434"/>
                    <a:pt x="525" y="432"/>
                    <a:pt x="524" y="430"/>
                  </a:cubicBezTo>
                  <a:cubicBezTo>
                    <a:pt x="748" y="285"/>
                    <a:pt x="748" y="285"/>
                    <a:pt x="748" y="285"/>
                  </a:cubicBezTo>
                  <a:cubicBezTo>
                    <a:pt x="770" y="331"/>
                    <a:pt x="783" y="382"/>
                    <a:pt x="783" y="437"/>
                  </a:cubicBezTo>
                  <a:cubicBezTo>
                    <a:pt x="783" y="491"/>
                    <a:pt x="770" y="543"/>
                    <a:pt x="748" y="58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Rectangle 6"/>
            <p:cNvSpPr>
              <a:spLocks noChangeArrowheads="1"/>
            </p:cNvSpPr>
            <p:nvPr/>
          </p:nvSpPr>
          <p:spPr bwMode="auto">
            <a:xfrm>
              <a:off x="1777384" y="2372973"/>
              <a:ext cx="52609" cy="51144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4" name="Rectangle 7"/>
            <p:cNvSpPr>
              <a:spLocks noChangeArrowheads="1"/>
            </p:cNvSpPr>
            <p:nvPr/>
          </p:nvSpPr>
          <p:spPr bwMode="auto">
            <a:xfrm>
              <a:off x="1726402" y="2551951"/>
              <a:ext cx="50982" cy="15348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5" name="Rectangle 8"/>
            <p:cNvSpPr>
              <a:spLocks noChangeArrowheads="1"/>
            </p:cNvSpPr>
            <p:nvPr/>
          </p:nvSpPr>
          <p:spPr bwMode="auto">
            <a:xfrm>
              <a:off x="1476375" y="2589374"/>
              <a:ext cx="248400" cy="7864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6" name="Freeform 9"/>
            <p:cNvSpPr>
              <a:spLocks/>
            </p:cNvSpPr>
            <p:nvPr/>
          </p:nvSpPr>
          <p:spPr bwMode="auto">
            <a:xfrm>
              <a:off x="3428321" y="2155488"/>
              <a:ext cx="930144" cy="728929"/>
            </a:xfrm>
            <a:custGeom>
              <a:avLst/>
              <a:gdLst>
                <a:gd name="T0" fmla="*/ 81 w 725"/>
                <a:gd name="T1" fmla="*/ 566 h 566"/>
                <a:gd name="T2" fmla="*/ 75 w 725"/>
                <a:gd name="T3" fmla="*/ 557 h 566"/>
                <a:gd name="T4" fmla="*/ 312 w 725"/>
                <a:gd name="T5" fmla="*/ 436 h 566"/>
                <a:gd name="T6" fmla="*/ 324 w 725"/>
                <a:gd name="T7" fmla="*/ 443 h 566"/>
                <a:gd name="T8" fmla="*/ 330 w 725"/>
                <a:gd name="T9" fmla="*/ 566 h 566"/>
                <a:gd name="T10" fmla="*/ 395 w 725"/>
                <a:gd name="T11" fmla="*/ 566 h 566"/>
                <a:gd name="T12" fmla="*/ 401 w 725"/>
                <a:gd name="T13" fmla="*/ 443 h 566"/>
                <a:gd name="T14" fmla="*/ 413 w 725"/>
                <a:gd name="T15" fmla="*/ 436 h 566"/>
                <a:gd name="T16" fmla="*/ 650 w 725"/>
                <a:gd name="T17" fmla="*/ 557 h 566"/>
                <a:gd name="T18" fmla="*/ 644 w 725"/>
                <a:gd name="T19" fmla="*/ 566 h 566"/>
                <a:gd name="T20" fmla="*/ 663 w 725"/>
                <a:gd name="T21" fmla="*/ 566 h 566"/>
                <a:gd name="T22" fmla="*/ 725 w 725"/>
                <a:gd name="T23" fmla="*/ 363 h 566"/>
                <a:gd name="T24" fmla="*/ 362 w 725"/>
                <a:gd name="T25" fmla="*/ 0 h 566"/>
                <a:gd name="T26" fmla="*/ 0 w 725"/>
                <a:gd name="T27" fmla="*/ 363 h 566"/>
                <a:gd name="T28" fmla="*/ 62 w 725"/>
                <a:gd name="T29" fmla="*/ 566 h 566"/>
                <a:gd name="T30" fmla="*/ 81 w 725"/>
                <a:gd name="T31"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5" h="566">
                  <a:moveTo>
                    <a:pt x="81" y="566"/>
                  </a:moveTo>
                  <a:cubicBezTo>
                    <a:pt x="79" y="563"/>
                    <a:pt x="77" y="560"/>
                    <a:pt x="75" y="557"/>
                  </a:cubicBezTo>
                  <a:cubicBezTo>
                    <a:pt x="312" y="436"/>
                    <a:pt x="312" y="436"/>
                    <a:pt x="312" y="436"/>
                  </a:cubicBezTo>
                  <a:cubicBezTo>
                    <a:pt x="316" y="439"/>
                    <a:pt x="320" y="441"/>
                    <a:pt x="324" y="443"/>
                  </a:cubicBezTo>
                  <a:cubicBezTo>
                    <a:pt x="330" y="566"/>
                    <a:pt x="330" y="566"/>
                    <a:pt x="330" y="566"/>
                  </a:cubicBezTo>
                  <a:cubicBezTo>
                    <a:pt x="395" y="566"/>
                    <a:pt x="395" y="566"/>
                    <a:pt x="395" y="566"/>
                  </a:cubicBezTo>
                  <a:cubicBezTo>
                    <a:pt x="401" y="443"/>
                    <a:pt x="401" y="443"/>
                    <a:pt x="401" y="443"/>
                  </a:cubicBezTo>
                  <a:cubicBezTo>
                    <a:pt x="405" y="441"/>
                    <a:pt x="409" y="439"/>
                    <a:pt x="413" y="436"/>
                  </a:cubicBezTo>
                  <a:cubicBezTo>
                    <a:pt x="650" y="557"/>
                    <a:pt x="650" y="557"/>
                    <a:pt x="650" y="557"/>
                  </a:cubicBezTo>
                  <a:cubicBezTo>
                    <a:pt x="648" y="560"/>
                    <a:pt x="646" y="563"/>
                    <a:pt x="644" y="566"/>
                  </a:cubicBezTo>
                  <a:cubicBezTo>
                    <a:pt x="663" y="566"/>
                    <a:pt x="663" y="566"/>
                    <a:pt x="663" y="566"/>
                  </a:cubicBezTo>
                  <a:cubicBezTo>
                    <a:pt x="702" y="508"/>
                    <a:pt x="725" y="438"/>
                    <a:pt x="725" y="363"/>
                  </a:cubicBezTo>
                  <a:cubicBezTo>
                    <a:pt x="725" y="162"/>
                    <a:pt x="563" y="0"/>
                    <a:pt x="362" y="0"/>
                  </a:cubicBezTo>
                  <a:cubicBezTo>
                    <a:pt x="162" y="0"/>
                    <a:pt x="0" y="162"/>
                    <a:pt x="0" y="363"/>
                  </a:cubicBezTo>
                  <a:cubicBezTo>
                    <a:pt x="0" y="438"/>
                    <a:pt x="23" y="508"/>
                    <a:pt x="62" y="566"/>
                  </a:cubicBezTo>
                  <a:lnTo>
                    <a:pt x="81" y="566"/>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57" name="Rectangle 10"/>
            <p:cNvSpPr>
              <a:spLocks noChangeArrowheads="1"/>
            </p:cNvSpPr>
            <p:nvPr/>
          </p:nvSpPr>
          <p:spPr bwMode="auto">
            <a:xfrm>
              <a:off x="2420078" y="2590459"/>
              <a:ext cx="1371081" cy="5315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1"/>
            <p:cNvSpPr>
              <a:spLocks/>
            </p:cNvSpPr>
            <p:nvPr/>
          </p:nvSpPr>
          <p:spPr bwMode="auto">
            <a:xfrm>
              <a:off x="2862642" y="2327958"/>
              <a:ext cx="928517" cy="315652"/>
            </a:xfrm>
            <a:custGeom>
              <a:avLst/>
              <a:gdLst>
                <a:gd name="T0" fmla="*/ 1712 w 1712"/>
                <a:gd name="T1" fmla="*/ 93 h 582"/>
                <a:gd name="T2" fmla="*/ 26 w 1712"/>
                <a:gd name="T3" fmla="*/ 582 h 582"/>
                <a:gd name="T4" fmla="*/ 0 w 1712"/>
                <a:gd name="T5" fmla="*/ 489 h 582"/>
                <a:gd name="T6" fmla="*/ 1686 w 1712"/>
                <a:gd name="T7" fmla="*/ 0 h 582"/>
                <a:gd name="T8" fmla="*/ 1712 w 1712"/>
                <a:gd name="T9" fmla="*/ 93 h 582"/>
              </a:gdLst>
              <a:ahLst/>
              <a:cxnLst>
                <a:cxn ang="0">
                  <a:pos x="T0" y="T1"/>
                </a:cxn>
                <a:cxn ang="0">
                  <a:pos x="T2" y="T3"/>
                </a:cxn>
                <a:cxn ang="0">
                  <a:pos x="T4" y="T5"/>
                </a:cxn>
                <a:cxn ang="0">
                  <a:pos x="T6" y="T7"/>
                </a:cxn>
                <a:cxn ang="0">
                  <a:pos x="T8" y="T9"/>
                </a:cxn>
              </a:cxnLst>
              <a:rect l="0" t="0" r="r" b="b"/>
              <a:pathLst>
                <a:path w="1712" h="582">
                  <a:moveTo>
                    <a:pt x="1712" y="93"/>
                  </a:moveTo>
                  <a:lnTo>
                    <a:pt x="26" y="582"/>
                  </a:lnTo>
                  <a:lnTo>
                    <a:pt x="0" y="489"/>
                  </a:lnTo>
                  <a:lnTo>
                    <a:pt x="1686" y="0"/>
                  </a:lnTo>
                  <a:lnTo>
                    <a:pt x="1712" y="93"/>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9" name="Rectangle 12"/>
            <p:cNvSpPr>
              <a:spLocks noChangeArrowheads="1"/>
            </p:cNvSpPr>
            <p:nvPr/>
          </p:nvSpPr>
          <p:spPr bwMode="auto">
            <a:xfrm>
              <a:off x="2658715" y="2092574"/>
              <a:ext cx="31999" cy="61937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1" name="Freeform 13"/>
            <p:cNvSpPr>
              <a:spLocks/>
            </p:cNvSpPr>
            <p:nvPr/>
          </p:nvSpPr>
          <p:spPr bwMode="auto">
            <a:xfrm>
              <a:off x="2464009" y="2062744"/>
              <a:ext cx="421954" cy="278230"/>
            </a:xfrm>
            <a:custGeom>
              <a:avLst/>
              <a:gdLst>
                <a:gd name="T0" fmla="*/ 318 w 329"/>
                <a:gd name="T1" fmla="*/ 160 h 216"/>
                <a:gd name="T2" fmla="*/ 278 w 329"/>
                <a:gd name="T3" fmla="*/ 148 h 216"/>
                <a:gd name="T4" fmla="*/ 186 w 329"/>
                <a:gd name="T5" fmla="*/ 14 h 216"/>
                <a:gd name="T6" fmla="*/ 185 w 329"/>
                <a:gd name="T7" fmla="*/ 15 h 216"/>
                <a:gd name="T8" fmla="*/ 164 w 329"/>
                <a:gd name="T9" fmla="*/ 0 h 216"/>
                <a:gd name="T10" fmla="*/ 143 w 329"/>
                <a:gd name="T11" fmla="*/ 15 h 216"/>
                <a:gd name="T12" fmla="*/ 143 w 329"/>
                <a:gd name="T13" fmla="*/ 14 h 216"/>
                <a:gd name="T14" fmla="*/ 51 w 329"/>
                <a:gd name="T15" fmla="*/ 148 h 216"/>
                <a:gd name="T16" fmla="*/ 11 w 329"/>
                <a:gd name="T17" fmla="*/ 160 h 216"/>
                <a:gd name="T18" fmla="*/ 19 w 329"/>
                <a:gd name="T19" fmla="*/ 206 h 216"/>
                <a:gd name="T20" fmla="*/ 65 w 329"/>
                <a:gd name="T21" fmla="*/ 198 h 216"/>
                <a:gd name="T22" fmla="*/ 62 w 329"/>
                <a:gd name="T23" fmla="*/ 156 h 216"/>
                <a:gd name="T24" fmla="*/ 146 w 329"/>
                <a:gd name="T25" fmla="*/ 36 h 216"/>
                <a:gd name="T26" fmla="*/ 164 w 329"/>
                <a:gd name="T27" fmla="*/ 45 h 216"/>
                <a:gd name="T28" fmla="*/ 183 w 329"/>
                <a:gd name="T29" fmla="*/ 36 h 216"/>
                <a:gd name="T30" fmla="*/ 267 w 329"/>
                <a:gd name="T31" fmla="*/ 156 h 216"/>
                <a:gd name="T32" fmla="*/ 264 w 329"/>
                <a:gd name="T33" fmla="*/ 198 h 216"/>
                <a:gd name="T34" fmla="*/ 310 w 329"/>
                <a:gd name="T35" fmla="*/ 206 h 216"/>
                <a:gd name="T36" fmla="*/ 318 w 329"/>
                <a:gd name="T37" fmla="*/ 1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216">
                  <a:moveTo>
                    <a:pt x="318" y="160"/>
                  </a:moveTo>
                  <a:cubicBezTo>
                    <a:pt x="309" y="147"/>
                    <a:pt x="292" y="142"/>
                    <a:pt x="278" y="148"/>
                  </a:cubicBezTo>
                  <a:cubicBezTo>
                    <a:pt x="186" y="14"/>
                    <a:pt x="186" y="14"/>
                    <a:pt x="186" y="14"/>
                  </a:cubicBezTo>
                  <a:cubicBezTo>
                    <a:pt x="185" y="15"/>
                    <a:pt x="185" y="15"/>
                    <a:pt x="185" y="15"/>
                  </a:cubicBezTo>
                  <a:cubicBezTo>
                    <a:pt x="182" y="6"/>
                    <a:pt x="174" y="0"/>
                    <a:pt x="164" y="0"/>
                  </a:cubicBezTo>
                  <a:cubicBezTo>
                    <a:pt x="155" y="0"/>
                    <a:pt x="147" y="6"/>
                    <a:pt x="143" y="15"/>
                  </a:cubicBezTo>
                  <a:cubicBezTo>
                    <a:pt x="143" y="14"/>
                    <a:pt x="143" y="14"/>
                    <a:pt x="143" y="14"/>
                  </a:cubicBezTo>
                  <a:cubicBezTo>
                    <a:pt x="51" y="148"/>
                    <a:pt x="51" y="148"/>
                    <a:pt x="51" y="148"/>
                  </a:cubicBezTo>
                  <a:cubicBezTo>
                    <a:pt x="37" y="142"/>
                    <a:pt x="20" y="147"/>
                    <a:pt x="11" y="160"/>
                  </a:cubicBezTo>
                  <a:cubicBezTo>
                    <a:pt x="0" y="175"/>
                    <a:pt x="4" y="196"/>
                    <a:pt x="19" y="206"/>
                  </a:cubicBezTo>
                  <a:cubicBezTo>
                    <a:pt x="34" y="216"/>
                    <a:pt x="55" y="213"/>
                    <a:pt x="65" y="198"/>
                  </a:cubicBezTo>
                  <a:cubicBezTo>
                    <a:pt x="74" y="185"/>
                    <a:pt x="73" y="167"/>
                    <a:pt x="62" y="156"/>
                  </a:cubicBezTo>
                  <a:cubicBezTo>
                    <a:pt x="146" y="36"/>
                    <a:pt x="146" y="36"/>
                    <a:pt x="146" y="36"/>
                  </a:cubicBezTo>
                  <a:cubicBezTo>
                    <a:pt x="150" y="41"/>
                    <a:pt x="157" y="45"/>
                    <a:pt x="164" y="45"/>
                  </a:cubicBezTo>
                  <a:cubicBezTo>
                    <a:pt x="172" y="45"/>
                    <a:pt x="179" y="41"/>
                    <a:pt x="183" y="36"/>
                  </a:cubicBezTo>
                  <a:cubicBezTo>
                    <a:pt x="267" y="156"/>
                    <a:pt x="267" y="156"/>
                    <a:pt x="267" y="156"/>
                  </a:cubicBezTo>
                  <a:cubicBezTo>
                    <a:pt x="256" y="167"/>
                    <a:pt x="255" y="185"/>
                    <a:pt x="264" y="198"/>
                  </a:cubicBezTo>
                  <a:cubicBezTo>
                    <a:pt x="274" y="213"/>
                    <a:pt x="295" y="216"/>
                    <a:pt x="310" y="206"/>
                  </a:cubicBezTo>
                  <a:cubicBezTo>
                    <a:pt x="325" y="196"/>
                    <a:pt x="329" y="175"/>
                    <a:pt x="318"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2" name="Rectangle 14"/>
            <p:cNvSpPr>
              <a:spLocks noChangeArrowheads="1"/>
            </p:cNvSpPr>
            <p:nvPr/>
          </p:nvSpPr>
          <p:spPr bwMode="auto">
            <a:xfrm>
              <a:off x="2799728" y="2561172"/>
              <a:ext cx="97624" cy="122031"/>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3" name="Rectangle 15"/>
            <p:cNvSpPr>
              <a:spLocks noChangeArrowheads="1"/>
            </p:cNvSpPr>
            <p:nvPr/>
          </p:nvSpPr>
          <p:spPr bwMode="auto">
            <a:xfrm>
              <a:off x="2775322" y="2683202"/>
              <a:ext cx="146437" cy="2874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4" name="Rectangle 16"/>
            <p:cNvSpPr>
              <a:spLocks noChangeArrowheads="1"/>
            </p:cNvSpPr>
            <p:nvPr/>
          </p:nvSpPr>
          <p:spPr bwMode="auto">
            <a:xfrm>
              <a:off x="2775322" y="2532969"/>
              <a:ext cx="146437" cy="2820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5" name="Rectangle 17"/>
            <p:cNvSpPr>
              <a:spLocks noChangeArrowheads="1"/>
            </p:cNvSpPr>
            <p:nvPr/>
          </p:nvSpPr>
          <p:spPr bwMode="auto">
            <a:xfrm>
              <a:off x="2630513" y="2307348"/>
              <a:ext cx="87320" cy="114438"/>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6" name="Freeform 18"/>
            <p:cNvSpPr>
              <a:spLocks/>
            </p:cNvSpPr>
            <p:nvPr/>
          </p:nvSpPr>
          <p:spPr bwMode="auto">
            <a:xfrm>
              <a:off x="3727161" y="2285654"/>
              <a:ext cx="235926" cy="415989"/>
            </a:xfrm>
            <a:custGeom>
              <a:avLst/>
              <a:gdLst>
                <a:gd name="T0" fmla="*/ 133 w 184"/>
                <a:gd name="T1" fmla="*/ 323 h 323"/>
                <a:gd name="T2" fmla="*/ 90 w 184"/>
                <a:gd name="T3" fmla="*/ 293 h 323"/>
                <a:gd name="T4" fmla="*/ 8 w 184"/>
                <a:gd name="T5" fmla="*/ 67 h 323"/>
                <a:gd name="T6" fmla="*/ 35 w 184"/>
                <a:gd name="T7" fmla="*/ 9 h 323"/>
                <a:gd name="T8" fmla="*/ 94 w 184"/>
                <a:gd name="T9" fmla="*/ 36 h 323"/>
                <a:gd name="T10" fmla="*/ 176 w 184"/>
                <a:gd name="T11" fmla="*/ 262 h 323"/>
                <a:gd name="T12" fmla="*/ 149 w 184"/>
                <a:gd name="T13" fmla="*/ 320 h 323"/>
                <a:gd name="T14" fmla="*/ 133 w 184"/>
                <a:gd name="T15" fmla="*/ 323 h 3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323">
                  <a:moveTo>
                    <a:pt x="133" y="323"/>
                  </a:moveTo>
                  <a:cubicBezTo>
                    <a:pt x="115" y="323"/>
                    <a:pt x="97" y="311"/>
                    <a:pt x="90" y="293"/>
                  </a:cubicBezTo>
                  <a:cubicBezTo>
                    <a:pt x="8" y="67"/>
                    <a:pt x="8" y="67"/>
                    <a:pt x="8" y="67"/>
                  </a:cubicBezTo>
                  <a:cubicBezTo>
                    <a:pt x="0" y="43"/>
                    <a:pt x="12" y="17"/>
                    <a:pt x="35" y="9"/>
                  </a:cubicBezTo>
                  <a:cubicBezTo>
                    <a:pt x="59" y="0"/>
                    <a:pt x="85" y="12"/>
                    <a:pt x="94" y="36"/>
                  </a:cubicBezTo>
                  <a:cubicBezTo>
                    <a:pt x="176" y="262"/>
                    <a:pt x="176" y="262"/>
                    <a:pt x="176" y="262"/>
                  </a:cubicBezTo>
                  <a:cubicBezTo>
                    <a:pt x="184" y="285"/>
                    <a:pt x="172" y="311"/>
                    <a:pt x="149" y="320"/>
                  </a:cubicBezTo>
                  <a:cubicBezTo>
                    <a:pt x="144" y="322"/>
                    <a:pt x="138" y="323"/>
                    <a:pt x="133" y="323"/>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7" name="Freeform 19"/>
            <p:cNvSpPr>
              <a:spLocks/>
            </p:cNvSpPr>
            <p:nvPr/>
          </p:nvSpPr>
          <p:spPr bwMode="auto">
            <a:xfrm>
              <a:off x="1829992" y="2392498"/>
              <a:ext cx="2670571" cy="491919"/>
            </a:xfrm>
            <a:custGeom>
              <a:avLst/>
              <a:gdLst>
                <a:gd name="T0" fmla="*/ 1728 w 2082"/>
                <a:gd name="T1" fmla="*/ 276 h 382"/>
                <a:gd name="T2" fmla="*/ 1718 w 2082"/>
                <a:gd name="T3" fmla="*/ 177 h 382"/>
                <a:gd name="T4" fmla="*/ 1606 w 2082"/>
                <a:gd name="T5" fmla="*/ 65 h 382"/>
                <a:gd name="T6" fmla="*/ 1494 w 2082"/>
                <a:gd name="T7" fmla="*/ 177 h 382"/>
                <a:gd name="T8" fmla="*/ 1487 w 2082"/>
                <a:gd name="T9" fmla="*/ 276 h 382"/>
                <a:gd name="T10" fmla="*/ 1151 w 2082"/>
                <a:gd name="T11" fmla="*/ 276 h 382"/>
                <a:gd name="T12" fmla="*/ 1125 w 2082"/>
                <a:gd name="T13" fmla="*/ 248 h 382"/>
                <a:gd name="T14" fmla="*/ 460 w 2082"/>
                <a:gd name="T15" fmla="*/ 248 h 382"/>
                <a:gd name="T16" fmla="*/ 460 w 2082"/>
                <a:gd name="T17" fmla="*/ 0 h 382"/>
                <a:gd name="T18" fmla="*/ 0 w 2082"/>
                <a:gd name="T19" fmla="*/ 0 h 382"/>
                <a:gd name="T20" fmla="*/ 0 w 2082"/>
                <a:gd name="T21" fmla="*/ 382 h 382"/>
                <a:gd name="T22" fmla="*/ 163 w 2082"/>
                <a:gd name="T23" fmla="*/ 382 h 382"/>
                <a:gd name="T24" fmla="*/ 444 w 2082"/>
                <a:gd name="T25" fmla="*/ 382 h 382"/>
                <a:gd name="T26" fmla="*/ 460 w 2082"/>
                <a:gd name="T27" fmla="*/ 382 h 382"/>
                <a:gd name="T28" fmla="*/ 1195 w 2082"/>
                <a:gd name="T29" fmla="*/ 382 h 382"/>
                <a:gd name="T30" fmla="*/ 2082 w 2082"/>
                <a:gd name="T31" fmla="*/ 382 h 382"/>
                <a:gd name="T32" fmla="*/ 2082 w 2082"/>
                <a:gd name="T33" fmla="*/ 276 h 382"/>
                <a:gd name="T34" fmla="*/ 1728 w 2082"/>
                <a:gd name="T35" fmla="*/ 27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2" h="382">
                  <a:moveTo>
                    <a:pt x="1728" y="276"/>
                  </a:moveTo>
                  <a:cubicBezTo>
                    <a:pt x="1723" y="220"/>
                    <a:pt x="1718" y="178"/>
                    <a:pt x="1718" y="177"/>
                  </a:cubicBezTo>
                  <a:cubicBezTo>
                    <a:pt x="1718" y="116"/>
                    <a:pt x="1667" y="65"/>
                    <a:pt x="1606" y="65"/>
                  </a:cubicBezTo>
                  <a:cubicBezTo>
                    <a:pt x="1544" y="65"/>
                    <a:pt x="1494" y="116"/>
                    <a:pt x="1494" y="177"/>
                  </a:cubicBezTo>
                  <a:cubicBezTo>
                    <a:pt x="1494" y="178"/>
                    <a:pt x="1490" y="220"/>
                    <a:pt x="1487" y="276"/>
                  </a:cubicBezTo>
                  <a:cubicBezTo>
                    <a:pt x="1151" y="276"/>
                    <a:pt x="1151" y="276"/>
                    <a:pt x="1151" y="276"/>
                  </a:cubicBezTo>
                  <a:cubicBezTo>
                    <a:pt x="1125" y="248"/>
                    <a:pt x="1125" y="248"/>
                    <a:pt x="1125" y="248"/>
                  </a:cubicBezTo>
                  <a:cubicBezTo>
                    <a:pt x="460" y="248"/>
                    <a:pt x="460" y="248"/>
                    <a:pt x="460" y="248"/>
                  </a:cubicBezTo>
                  <a:cubicBezTo>
                    <a:pt x="460" y="0"/>
                    <a:pt x="460" y="0"/>
                    <a:pt x="460" y="0"/>
                  </a:cubicBezTo>
                  <a:cubicBezTo>
                    <a:pt x="0" y="0"/>
                    <a:pt x="0" y="0"/>
                    <a:pt x="0" y="0"/>
                  </a:cubicBezTo>
                  <a:cubicBezTo>
                    <a:pt x="0" y="382"/>
                    <a:pt x="0" y="382"/>
                    <a:pt x="0" y="382"/>
                  </a:cubicBezTo>
                  <a:cubicBezTo>
                    <a:pt x="163" y="382"/>
                    <a:pt x="163" y="382"/>
                    <a:pt x="163" y="382"/>
                  </a:cubicBezTo>
                  <a:cubicBezTo>
                    <a:pt x="444" y="382"/>
                    <a:pt x="444" y="382"/>
                    <a:pt x="444" y="382"/>
                  </a:cubicBezTo>
                  <a:cubicBezTo>
                    <a:pt x="460" y="382"/>
                    <a:pt x="460" y="382"/>
                    <a:pt x="460" y="382"/>
                  </a:cubicBezTo>
                  <a:cubicBezTo>
                    <a:pt x="1195" y="382"/>
                    <a:pt x="1195" y="382"/>
                    <a:pt x="1195" y="382"/>
                  </a:cubicBezTo>
                  <a:cubicBezTo>
                    <a:pt x="2082" y="382"/>
                    <a:pt x="2082" y="382"/>
                    <a:pt x="2082" y="382"/>
                  </a:cubicBezTo>
                  <a:cubicBezTo>
                    <a:pt x="2082" y="276"/>
                    <a:pt x="2082" y="276"/>
                    <a:pt x="2082" y="276"/>
                  </a:cubicBezTo>
                  <a:lnTo>
                    <a:pt x="1728" y="276"/>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8" name="Rectangle 20"/>
            <p:cNvSpPr>
              <a:spLocks noChangeArrowheads="1"/>
            </p:cNvSpPr>
            <p:nvPr/>
          </p:nvSpPr>
          <p:spPr bwMode="auto">
            <a:xfrm>
              <a:off x="1931414" y="2464632"/>
              <a:ext cx="456665" cy="301009"/>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69" name="Rectangle 21"/>
            <p:cNvSpPr>
              <a:spLocks noChangeArrowheads="1"/>
            </p:cNvSpPr>
            <p:nvPr/>
          </p:nvSpPr>
          <p:spPr bwMode="auto">
            <a:xfrm>
              <a:off x="1982937" y="2517240"/>
              <a:ext cx="353617" cy="184402"/>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0" name="Freeform 22"/>
            <p:cNvSpPr>
              <a:spLocks/>
            </p:cNvSpPr>
            <p:nvPr/>
          </p:nvSpPr>
          <p:spPr bwMode="auto">
            <a:xfrm>
              <a:off x="2121239" y="2551032"/>
              <a:ext cx="484868" cy="325957"/>
            </a:xfrm>
            <a:custGeom>
              <a:avLst/>
              <a:gdLst>
                <a:gd name="T0" fmla="*/ 321 w 378"/>
                <a:gd name="T1" fmla="*/ 253 h 253"/>
                <a:gd name="T2" fmla="*/ 378 w 378"/>
                <a:gd name="T3" fmla="*/ 253 h 253"/>
                <a:gd name="T4" fmla="*/ 378 w 378"/>
                <a:gd name="T5" fmla="*/ 174 h 253"/>
                <a:gd name="T6" fmla="*/ 349 w 378"/>
                <a:gd name="T7" fmla="*/ 146 h 253"/>
                <a:gd name="T8" fmla="*/ 56 w 378"/>
                <a:gd name="T9" fmla="*/ 146 h 253"/>
                <a:gd name="T10" fmla="*/ 56 w 378"/>
                <a:gd name="T11" fmla="*/ 28 h 253"/>
                <a:gd name="T12" fmla="*/ 28 w 378"/>
                <a:gd name="T13" fmla="*/ 0 h 253"/>
                <a:gd name="T14" fmla="*/ 0 w 378"/>
                <a:gd name="T15" fmla="*/ 28 h 253"/>
                <a:gd name="T16" fmla="*/ 0 w 378"/>
                <a:gd name="T17" fmla="*/ 174 h 253"/>
                <a:gd name="T18" fmla="*/ 28 w 378"/>
                <a:gd name="T19" fmla="*/ 202 h 253"/>
                <a:gd name="T20" fmla="*/ 321 w 378"/>
                <a:gd name="T21" fmla="*/ 202 h 253"/>
                <a:gd name="T22" fmla="*/ 321 w 378"/>
                <a:gd name="T23"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8" h="253">
                  <a:moveTo>
                    <a:pt x="321" y="253"/>
                  </a:moveTo>
                  <a:cubicBezTo>
                    <a:pt x="378" y="253"/>
                    <a:pt x="378" y="253"/>
                    <a:pt x="378" y="253"/>
                  </a:cubicBezTo>
                  <a:cubicBezTo>
                    <a:pt x="378" y="174"/>
                    <a:pt x="378" y="174"/>
                    <a:pt x="378" y="174"/>
                  </a:cubicBezTo>
                  <a:cubicBezTo>
                    <a:pt x="378" y="158"/>
                    <a:pt x="365" y="146"/>
                    <a:pt x="349" y="146"/>
                  </a:cubicBezTo>
                  <a:cubicBezTo>
                    <a:pt x="56" y="146"/>
                    <a:pt x="56" y="146"/>
                    <a:pt x="56" y="146"/>
                  </a:cubicBezTo>
                  <a:cubicBezTo>
                    <a:pt x="56" y="28"/>
                    <a:pt x="56" y="28"/>
                    <a:pt x="56" y="28"/>
                  </a:cubicBezTo>
                  <a:cubicBezTo>
                    <a:pt x="56" y="13"/>
                    <a:pt x="44" y="0"/>
                    <a:pt x="28" y="0"/>
                  </a:cubicBezTo>
                  <a:cubicBezTo>
                    <a:pt x="12" y="0"/>
                    <a:pt x="0" y="13"/>
                    <a:pt x="0" y="28"/>
                  </a:cubicBezTo>
                  <a:cubicBezTo>
                    <a:pt x="0" y="174"/>
                    <a:pt x="0" y="174"/>
                    <a:pt x="0" y="174"/>
                  </a:cubicBezTo>
                  <a:cubicBezTo>
                    <a:pt x="0" y="190"/>
                    <a:pt x="12" y="202"/>
                    <a:pt x="28" y="202"/>
                  </a:cubicBezTo>
                  <a:cubicBezTo>
                    <a:pt x="321" y="202"/>
                    <a:pt x="321" y="202"/>
                    <a:pt x="321" y="202"/>
                  </a:cubicBezTo>
                  <a:lnTo>
                    <a:pt x="321" y="253"/>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Oval 23"/>
            <p:cNvSpPr>
              <a:spLocks noChangeArrowheads="1"/>
            </p:cNvSpPr>
            <p:nvPr/>
          </p:nvSpPr>
          <p:spPr bwMode="auto">
            <a:xfrm>
              <a:off x="3765668" y="2327958"/>
              <a:ext cx="51524" cy="51524"/>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2" name="Oval 24"/>
            <p:cNvSpPr>
              <a:spLocks noChangeArrowheads="1"/>
            </p:cNvSpPr>
            <p:nvPr/>
          </p:nvSpPr>
          <p:spPr bwMode="auto">
            <a:xfrm>
              <a:off x="3820989" y="2549240"/>
              <a:ext cx="144810" cy="145894"/>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3" name="Oval 25"/>
            <p:cNvSpPr>
              <a:spLocks noChangeArrowheads="1"/>
            </p:cNvSpPr>
            <p:nvPr/>
          </p:nvSpPr>
          <p:spPr bwMode="auto">
            <a:xfrm>
              <a:off x="3842683" y="2579069"/>
              <a:ext cx="109014" cy="109556"/>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89" name="Gruppieren 88"/>
          <p:cNvGrpSpPr/>
          <p:nvPr/>
        </p:nvGrpSpPr>
        <p:grpSpPr>
          <a:xfrm>
            <a:off x="1496928" y="3339374"/>
            <a:ext cx="2294231" cy="1229369"/>
            <a:chOff x="4666724" y="2207039"/>
            <a:chExt cx="3008060" cy="1611876"/>
          </a:xfrm>
        </p:grpSpPr>
        <p:sp>
          <p:nvSpPr>
            <p:cNvPr id="1182" name="Freeform 33"/>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0" y="0"/>
                  </a:lnTo>
                  <a:lnTo>
                    <a:pt x="0" y="38"/>
                  </a:lnTo>
                  <a:lnTo>
                    <a:pt x="0" y="356"/>
                  </a:lnTo>
                  <a:lnTo>
                    <a:pt x="40"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83" name="Freeform 34"/>
            <p:cNvSpPr>
              <a:spLocks noEditPoints="1"/>
            </p:cNvSpPr>
            <p:nvPr/>
          </p:nvSpPr>
          <p:spPr bwMode="auto">
            <a:xfrm>
              <a:off x="6779044"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0 w 601"/>
                <a:gd name="T21" fmla="*/ 0 h 394"/>
                <a:gd name="T22" fmla="*/ 0 w 601"/>
                <a:gd name="T23" fmla="*/ 38 h 394"/>
                <a:gd name="T24" fmla="*/ 0 w 601"/>
                <a:gd name="T25" fmla="*/ 356 h 394"/>
                <a:gd name="T26" fmla="*/ 40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0" y="0"/>
                  </a:lnTo>
                  <a:lnTo>
                    <a:pt x="0" y="38"/>
                  </a:lnTo>
                  <a:lnTo>
                    <a:pt x="0" y="356"/>
                  </a:lnTo>
                  <a:lnTo>
                    <a:pt x="40"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7"/>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close/>
                  <a:moveTo>
                    <a:pt x="561" y="0"/>
                  </a:moveTo>
                  <a:lnTo>
                    <a:pt x="41" y="0"/>
                  </a:lnTo>
                  <a:lnTo>
                    <a:pt x="0" y="38"/>
                  </a:lnTo>
                  <a:lnTo>
                    <a:pt x="0" y="356"/>
                  </a:lnTo>
                  <a:lnTo>
                    <a:pt x="41" y="394"/>
                  </a:lnTo>
                  <a:lnTo>
                    <a:pt x="561" y="394"/>
                  </a:lnTo>
                  <a:lnTo>
                    <a:pt x="601" y="356"/>
                  </a:lnTo>
                  <a:lnTo>
                    <a:pt x="601"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36" name="Freeform 38"/>
            <p:cNvSpPr>
              <a:spLocks noEditPoints="1"/>
            </p:cNvSpPr>
            <p:nvPr/>
          </p:nvSpPr>
          <p:spPr bwMode="auto">
            <a:xfrm>
              <a:off x="4980655" y="2596192"/>
              <a:ext cx="461302" cy="302419"/>
            </a:xfrm>
            <a:custGeom>
              <a:avLst/>
              <a:gdLst>
                <a:gd name="T0" fmla="*/ 559 w 601"/>
                <a:gd name="T1" fmla="*/ 10 h 394"/>
                <a:gd name="T2" fmla="*/ 592 w 601"/>
                <a:gd name="T3" fmla="*/ 43 h 394"/>
                <a:gd name="T4" fmla="*/ 592 w 601"/>
                <a:gd name="T5" fmla="*/ 351 h 394"/>
                <a:gd name="T6" fmla="*/ 559 w 601"/>
                <a:gd name="T7" fmla="*/ 384 h 394"/>
                <a:gd name="T8" fmla="*/ 43 w 601"/>
                <a:gd name="T9" fmla="*/ 384 h 394"/>
                <a:gd name="T10" fmla="*/ 10 w 601"/>
                <a:gd name="T11" fmla="*/ 351 h 394"/>
                <a:gd name="T12" fmla="*/ 10 w 601"/>
                <a:gd name="T13" fmla="*/ 43 h 394"/>
                <a:gd name="T14" fmla="*/ 43 w 601"/>
                <a:gd name="T15" fmla="*/ 10 h 394"/>
                <a:gd name="T16" fmla="*/ 559 w 601"/>
                <a:gd name="T17" fmla="*/ 10 h 394"/>
                <a:gd name="T18" fmla="*/ 561 w 601"/>
                <a:gd name="T19" fmla="*/ 0 h 394"/>
                <a:gd name="T20" fmla="*/ 41 w 601"/>
                <a:gd name="T21" fmla="*/ 0 h 394"/>
                <a:gd name="T22" fmla="*/ 0 w 601"/>
                <a:gd name="T23" fmla="*/ 38 h 394"/>
                <a:gd name="T24" fmla="*/ 0 w 601"/>
                <a:gd name="T25" fmla="*/ 356 h 394"/>
                <a:gd name="T26" fmla="*/ 41 w 601"/>
                <a:gd name="T27" fmla="*/ 394 h 394"/>
                <a:gd name="T28" fmla="*/ 561 w 601"/>
                <a:gd name="T29" fmla="*/ 394 h 394"/>
                <a:gd name="T30" fmla="*/ 601 w 601"/>
                <a:gd name="T31" fmla="*/ 356 h 394"/>
                <a:gd name="T32" fmla="*/ 601 w 601"/>
                <a:gd name="T33" fmla="*/ 38 h 394"/>
                <a:gd name="T34" fmla="*/ 561 w 601"/>
                <a:gd name="T35" fmla="*/ 0 h 394"/>
                <a:gd name="T36" fmla="*/ 561 w 601"/>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1" h="394">
                  <a:moveTo>
                    <a:pt x="559" y="10"/>
                  </a:moveTo>
                  <a:lnTo>
                    <a:pt x="592" y="43"/>
                  </a:lnTo>
                  <a:lnTo>
                    <a:pt x="592" y="351"/>
                  </a:lnTo>
                  <a:lnTo>
                    <a:pt x="559" y="384"/>
                  </a:lnTo>
                  <a:lnTo>
                    <a:pt x="43" y="384"/>
                  </a:lnTo>
                  <a:lnTo>
                    <a:pt x="10" y="351"/>
                  </a:lnTo>
                  <a:lnTo>
                    <a:pt x="10" y="43"/>
                  </a:lnTo>
                  <a:lnTo>
                    <a:pt x="43" y="10"/>
                  </a:lnTo>
                  <a:lnTo>
                    <a:pt x="559" y="10"/>
                  </a:lnTo>
                  <a:moveTo>
                    <a:pt x="561" y="0"/>
                  </a:moveTo>
                  <a:lnTo>
                    <a:pt x="41" y="0"/>
                  </a:lnTo>
                  <a:lnTo>
                    <a:pt x="0" y="38"/>
                  </a:lnTo>
                  <a:lnTo>
                    <a:pt x="0" y="356"/>
                  </a:lnTo>
                  <a:lnTo>
                    <a:pt x="41" y="394"/>
                  </a:lnTo>
                  <a:lnTo>
                    <a:pt x="561" y="394"/>
                  </a:lnTo>
                  <a:lnTo>
                    <a:pt x="601" y="356"/>
                  </a:lnTo>
                  <a:lnTo>
                    <a:pt x="601"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41"/>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close/>
                  <a:moveTo>
                    <a:pt x="561" y="0"/>
                  </a:moveTo>
                  <a:lnTo>
                    <a:pt x="38" y="0"/>
                  </a:lnTo>
                  <a:lnTo>
                    <a:pt x="0" y="38"/>
                  </a:lnTo>
                  <a:lnTo>
                    <a:pt x="0" y="356"/>
                  </a:lnTo>
                  <a:lnTo>
                    <a:pt x="38" y="394"/>
                  </a:lnTo>
                  <a:lnTo>
                    <a:pt x="561" y="394"/>
                  </a:lnTo>
                  <a:lnTo>
                    <a:pt x="599" y="356"/>
                  </a:lnTo>
                  <a:lnTo>
                    <a:pt x="599" y="38"/>
                  </a:lnTo>
                  <a:lnTo>
                    <a:pt x="561" y="0"/>
                  </a:lnTo>
                  <a:lnTo>
                    <a:pt x="56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40" name="Freeform 42"/>
            <p:cNvSpPr>
              <a:spLocks noEditPoints="1"/>
            </p:cNvSpPr>
            <p:nvPr/>
          </p:nvSpPr>
          <p:spPr bwMode="auto">
            <a:xfrm>
              <a:off x="5897887" y="2596192"/>
              <a:ext cx="459767" cy="302419"/>
            </a:xfrm>
            <a:custGeom>
              <a:avLst/>
              <a:gdLst>
                <a:gd name="T0" fmla="*/ 557 w 599"/>
                <a:gd name="T1" fmla="*/ 10 h 394"/>
                <a:gd name="T2" fmla="*/ 590 w 599"/>
                <a:gd name="T3" fmla="*/ 43 h 394"/>
                <a:gd name="T4" fmla="*/ 590 w 599"/>
                <a:gd name="T5" fmla="*/ 351 h 394"/>
                <a:gd name="T6" fmla="*/ 557 w 599"/>
                <a:gd name="T7" fmla="*/ 384 h 394"/>
                <a:gd name="T8" fmla="*/ 43 w 599"/>
                <a:gd name="T9" fmla="*/ 384 h 394"/>
                <a:gd name="T10" fmla="*/ 10 w 599"/>
                <a:gd name="T11" fmla="*/ 351 h 394"/>
                <a:gd name="T12" fmla="*/ 10 w 599"/>
                <a:gd name="T13" fmla="*/ 43 h 394"/>
                <a:gd name="T14" fmla="*/ 43 w 599"/>
                <a:gd name="T15" fmla="*/ 10 h 394"/>
                <a:gd name="T16" fmla="*/ 557 w 599"/>
                <a:gd name="T17" fmla="*/ 10 h 394"/>
                <a:gd name="T18" fmla="*/ 561 w 599"/>
                <a:gd name="T19" fmla="*/ 0 h 394"/>
                <a:gd name="T20" fmla="*/ 38 w 599"/>
                <a:gd name="T21" fmla="*/ 0 h 394"/>
                <a:gd name="T22" fmla="*/ 0 w 599"/>
                <a:gd name="T23" fmla="*/ 38 h 394"/>
                <a:gd name="T24" fmla="*/ 0 w 599"/>
                <a:gd name="T25" fmla="*/ 356 h 394"/>
                <a:gd name="T26" fmla="*/ 38 w 599"/>
                <a:gd name="T27" fmla="*/ 394 h 394"/>
                <a:gd name="T28" fmla="*/ 561 w 599"/>
                <a:gd name="T29" fmla="*/ 394 h 394"/>
                <a:gd name="T30" fmla="*/ 599 w 599"/>
                <a:gd name="T31" fmla="*/ 356 h 394"/>
                <a:gd name="T32" fmla="*/ 599 w 599"/>
                <a:gd name="T33" fmla="*/ 38 h 394"/>
                <a:gd name="T34" fmla="*/ 561 w 599"/>
                <a:gd name="T35" fmla="*/ 0 h 394"/>
                <a:gd name="T36" fmla="*/ 561 w 599"/>
                <a:gd name="T3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94">
                  <a:moveTo>
                    <a:pt x="557" y="10"/>
                  </a:moveTo>
                  <a:lnTo>
                    <a:pt x="590" y="43"/>
                  </a:lnTo>
                  <a:lnTo>
                    <a:pt x="590" y="351"/>
                  </a:lnTo>
                  <a:lnTo>
                    <a:pt x="557" y="384"/>
                  </a:lnTo>
                  <a:lnTo>
                    <a:pt x="43" y="384"/>
                  </a:lnTo>
                  <a:lnTo>
                    <a:pt x="10" y="351"/>
                  </a:lnTo>
                  <a:lnTo>
                    <a:pt x="10" y="43"/>
                  </a:lnTo>
                  <a:lnTo>
                    <a:pt x="43" y="10"/>
                  </a:lnTo>
                  <a:lnTo>
                    <a:pt x="557" y="10"/>
                  </a:lnTo>
                  <a:moveTo>
                    <a:pt x="561" y="0"/>
                  </a:moveTo>
                  <a:lnTo>
                    <a:pt x="38" y="0"/>
                  </a:lnTo>
                  <a:lnTo>
                    <a:pt x="0" y="38"/>
                  </a:lnTo>
                  <a:lnTo>
                    <a:pt x="0" y="356"/>
                  </a:lnTo>
                  <a:lnTo>
                    <a:pt x="38" y="394"/>
                  </a:lnTo>
                  <a:lnTo>
                    <a:pt x="561" y="394"/>
                  </a:lnTo>
                  <a:lnTo>
                    <a:pt x="599" y="356"/>
                  </a:lnTo>
                  <a:lnTo>
                    <a:pt x="599" y="38"/>
                  </a:lnTo>
                  <a:lnTo>
                    <a:pt x="561" y="0"/>
                  </a:lnTo>
                  <a:lnTo>
                    <a:pt x="5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Oval 43"/>
            <p:cNvSpPr>
              <a:spLocks noChangeArrowheads="1"/>
            </p:cNvSpPr>
            <p:nvPr/>
          </p:nvSpPr>
          <p:spPr bwMode="auto">
            <a:xfrm>
              <a:off x="6637813"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Line 44"/>
            <p:cNvSpPr>
              <a:spLocks noChangeShapeType="1"/>
            </p:cNvSpPr>
            <p:nvPr/>
          </p:nvSpPr>
          <p:spPr bwMode="auto">
            <a:xfrm>
              <a:off x="4857078" y="332230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3" name="Oval 45"/>
            <p:cNvSpPr>
              <a:spLocks noChangeArrowheads="1"/>
            </p:cNvSpPr>
            <p:nvPr/>
          </p:nvSpPr>
          <p:spPr bwMode="auto">
            <a:xfrm>
              <a:off x="6693845"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Oval 46"/>
            <p:cNvSpPr>
              <a:spLocks noChangeArrowheads="1"/>
            </p:cNvSpPr>
            <p:nvPr/>
          </p:nvSpPr>
          <p:spPr bwMode="auto">
            <a:xfrm>
              <a:off x="7294843"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Oval 47"/>
            <p:cNvSpPr>
              <a:spLocks noChangeArrowheads="1"/>
            </p:cNvSpPr>
            <p:nvPr/>
          </p:nvSpPr>
          <p:spPr bwMode="auto">
            <a:xfrm>
              <a:off x="7351642"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Oval 48"/>
            <p:cNvSpPr>
              <a:spLocks noChangeArrowheads="1"/>
            </p:cNvSpPr>
            <p:nvPr/>
          </p:nvSpPr>
          <p:spPr bwMode="auto">
            <a:xfrm>
              <a:off x="5324521" y="2941594"/>
              <a:ext cx="379174"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Oval 49"/>
            <p:cNvSpPr>
              <a:spLocks noChangeArrowheads="1"/>
            </p:cNvSpPr>
            <p:nvPr/>
          </p:nvSpPr>
          <p:spPr bwMode="auto">
            <a:xfrm>
              <a:off x="5380553"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Oval 50"/>
            <p:cNvSpPr>
              <a:spLocks noChangeArrowheads="1"/>
            </p:cNvSpPr>
            <p:nvPr/>
          </p:nvSpPr>
          <p:spPr bwMode="auto">
            <a:xfrm>
              <a:off x="4666724" y="2941594"/>
              <a:ext cx="379941"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9" name="Oval 51"/>
            <p:cNvSpPr>
              <a:spLocks noChangeArrowheads="1"/>
            </p:cNvSpPr>
            <p:nvPr/>
          </p:nvSpPr>
          <p:spPr bwMode="auto">
            <a:xfrm>
              <a:off x="4722756"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0" name="Oval 52"/>
            <p:cNvSpPr>
              <a:spLocks noChangeArrowheads="1"/>
            </p:cNvSpPr>
            <p:nvPr/>
          </p:nvSpPr>
          <p:spPr bwMode="auto">
            <a:xfrm>
              <a:off x="5981551" y="2941594"/>
              <a:ext cx="378406" cy="380710"/>
            </a:xfrm>
            <a:prstGeom prst="ellipse">
              <a:avLst/>
            </a:pr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1" name="Oval 53"/>
            <p:cNvSpPr>
              <a:spLocks noChangeArrowheads="1"/>
            </p:cNvSpPr>
            <p:nvPr/>
          </p:nvSpPr>
          <p:spPr bwMode="auto">
            <a:xfrm>
              <a:off x="6038350" y="2998393"/>
              <a:ext cx="267110" cy="267111"/>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2" name="Rectangle 54"/>
            <p:cNvSpPr>
              <a:spLocks noChangeArrowheads="1"/>
            </p:cNvSpPr>
            <p:nvPr/>
          </p:nvSpPr>
          <p:spPr bwMode="auto">
            <a:xfrm>
              <a:off x="4781090" y="3072847"/>
              <a:ext cx="2779328" cy="118204"/>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Oval 55"/>
            <p:cNvSpPr>
              <a:spLocks noChangeArrowheads="1"/>
            </p:cNvSpPr>
            <p:nvPr/>
          </p:nvSpPr>
          <p:spPr bwMode="auto">
            <a:xfrm>
              <a:off x="4828679"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4" name="Rectangle 56"/>
            <p:cNvSpPr>
              <a:spLocks noChangeArrowheads="1"/>
            </p:cNvSpPr>
            <p:nvPr/>
          </p:nvSpPr>
          <p:spPr bwMode="auto">
            <a:xfrm>
              <a:off x="4822538" y="3191051"/>
              <a:ext cx="67545"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5" name="Rectangle 57"/>
            <p:cNvSpPr>
              <a:spLocks noChangeArrowheads="1"/>
            </p:cNvSpPr>
            <p:nvPr/>
          </p:nvSpPr>
          <p:spPr bwMode="auto">
            <a:xfrm>
              <a:off x="4761134" y="3780537"/>
              <a:ext cx="190354"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6" name="Rectangle 58"/>
            <p:cNvSpPr>
              <a:spLocks noChangeArrowheads="1"/>
            </p:cNvSpPr>
            <p:nvPr/>
          </p:nvSpPr>
          <p:spPr bwMode="auto">
            <a:xfrm>
              <a:off x="4799511"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7" name="Rectangle 59"/>
            <p:cNvSpPr>
              <a:spLocks noChangeArrowheads="1"/>
            </p:cNvSpPr>
            <p:nvPr/>
          </p:nvSpPr>
          <p:spPr bwMode="auto">
            <a:xfrm>
              <a:off x="7451425" y="3191051"/>
              <a:ext cx="66778"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8" name="Rectangle 60"/>
            <p:cNvSpPr>
              <a:spLocks noChangeArrowheads="1"/>
            </p:cNvSpPr>
            <p:nvPr/>
          </p:nvSpPr>
          <p:spPr bwMode="auto">
            <a:xfrm>
              <a:off x="7389252" y="3780537"/>
              <a:ext cx="191122"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9" name="Rectangle 61"/>
            <p:cNvSpPr>
              <a:spLocks noChangeArrowheads="1"/>
            </p:cNvSpPr>
            <p:nvPr/>
          </p:nvSpPr>
          <p:spPr bwMode="auto">
            <a:xfrm>
              <a:off x="7427630" y="3682289"/>
              <a:ext cx="114366"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0" name="Rectangle 62"/>
            <p:cNvSpPr>
              <a:spLocks noChangeArrowheads="1"/>
            </p:cNvSpPr>
            <p:nvPr/>
          </p:nvSpPr>
          <p:spPr bwMode="auto">
            <a:xfrm>
              <a:off x="6138133" y="3191051"/>
              <a:ext cx="65242" cy="598697"/>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 name="Rectangle 63"/>
            <p:cNvSpPr>
              <a:spLocks noChangeArrowheads="1"/>
            </p:cNvSpPr>
            <p:nvPr/>
          </p:nvSpPr>
          <p:spPr bwMode="auto">
            <a:xfrm>
              <a:off x="6075961" y="3780537"/>
              <a:ext cx="188819" cy="3837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 name="Rectangle 64"/>
            <p:cNvSpPr>
              <a:spLocks noChangeArrowheads="1"/>
            </p:cNvSpPr>
            <p:nvPr/>
          </p:nvSpPr>
          <p:spPr bwMode="auto">
            <a:xfrm>
              <a:off x="6114338" y="3682289"/>
              <a:ext cx="112831" cy="967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 name="Oval 65"/>
            <p:cNvSpPr>
              <a:spLocks noChangeArrowheads="1"/>
            </p:cNvSpPr>
            <p:nvPr/>
          </p:nvSpPr>
          <p:spPr bwMode="auto">
            <a:xfrm>
              <a:off x="7456798" y="3103549"/>
              <a:ext cx="56032"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Oval 66"/>
            <p:cNvSpPr>
              <a:spLocks noChangeArrowheads="1"/>
            </p:cNvSpPr>
            <p:nvPr/>
          </p:nvSpPr>
          <p:spPr bwMode="auto">
            <a:xfrm>
              <a:off x="6141971" y="3103549"/>
              <a:ext cx="57567"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7"/>
            <p:cNvSpPr>
              <a:spLocks noChangeArrowheads="1"/>
            </p:cNvSpPr>
            <p:nvPr/>
          </p:nvSpPr>
          <p:spPr bwMode="auto">
            <a:xfrm>
              <a:off x="6799000" y="3103549"/>
              <a:ext cx="58334"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Oval 68"/>
            <p:cNvSpPr>
              <a:spLocks noChangeArrowheads="1"/>
            </p:cNvSpPr>
            <p:nvPr/>
          </p:nvSpPr>
          <p:spPr bwMode="auto">
            <a:xfrm>
              <a:off x="5485708" y="3103549"/>
              <a:ext cx="56799" cy="5833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9"/>
            <p:cNvSpPr>
              <a:spLocks noChangeShapeType="1"/>
            </p:cNvSpPr>
            <p:nvPr/>
          </p:nvSpPr>
          <p:spPr bwMode="auto">
            <a:xfrm>
              <a:off x="4857078" y="2941594"/>
              <a:ext cx="2626584"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70"/>
            <p:cNvSpPr>
              <a:spLocks/>
            </p:cNvSpPr>
            <p:nvPr/>
          </p:nvSpPr>
          <p:spPr bwMode="auto">
            <a:xfrm>
              <a:off x="5938568" y="2636105"/>
              <a:ext cx="97480" cy="98248"/>
            </a:xfrm>
            <a:custGeom>
              <a:avLst/>
              <a:gdLst>
                <a:gd name="T0" fmla="*/ 10 w 54"/>
                <a:gd name="T1" fmla="*/ 44 h 54"/>
                <a:gd name="T2" fmla="*/ 44 w 54"/>
                <a:gd name="T3" fmla="*/ 44 h 54"/>
                <a:gd name="T4" fmla="*/ 44 w 54"/>
                <a:gd name="T5" fmla="*/ 10 h 54"/>
                <a:gd name="T6" fmla="*/ 10 w 54"/>
                <a:gd name="T7" fmla="*/ 10 h 54"/>
                <a:gd name="T8" fmla="*/ 10 w 54"/>
                <a:gd name="T9" fmla="*/ 44 h 54"/>
              </a:gdLst>
              <a:ahLst/>
              <a:cxnLst>
                <a:cxn ang="0">
                  <a:pos x="T0" y="T1"/>
                </a:cxn>
                <a:cxn ang="0">
                  <a:pos x="T2" y="T3"/>
                </a:cxn>
                <a:cxn ang="0">
                  <a:pos x="T4" y="T5"/>
                </a:cxn>
                <a:cxn ang="0">
                  <a:pos x="T6" y="T7"/>
                </a:cxn>
                <a:cxn ang="0">
                  <a:pos x="T8" y="T9"/>
                </a:cxn>
              </a:cxnLst>
              <a:rect l="0" t="0" r="r" b="b"/>
              <a:pathLst>
                <a:path w="54" h="54">
                  <a:moveTo>
                    <a:pt x="10" y="44"/>
                  </a:moveTo>
                  <a:cubicBezTo>
                    <a:pt x="19" y="54"/>
                    <a:pt x="34" y="54"/>
                    <a:pt x="44" y="44"/>
                  </a:cubicBezTo>
                  <a:cubicBezTo>
                    <a:pt x="54" y="35"/>
                    <a:pt x="54" y="20"/>
                    <a:pt x="44" y="10"/>
                  </a:cubicBezTo>
                  <a:cubicBezTo>
                    <a:pt x="35" y="1"/>
                    <a:pt x="19" y="0"/>
                    <a:pt x="10" y="10"/>
                  </a:cubicBezTo>
                  <a:cubicBezTo>
                    <a:pt x="0" y="19"/>
                    <a:pt x="0" y="35"/>
                    <a:pt x="10" y="4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 name="Freeform 71"/>
            <p:cNvSpPr>
              <a:spLocks/>
            </p:cNvSpPr>
            <p:nvPr/>
          </p:nvSpPr>
          <p:spPr bwMode="auto">
            <a:xfrm>
              <a:off x="5768937" y="2458031"/>
              <a:ext cx="176538" cy="174236"/>
            </a:xfrm>
            <a:custGeom>
              <a:avLst/>
              <a:gdLst>
                <a:gd name="T0" fmla="*/ 97 w 97"/>
                <a:gd name="T1" fmla="*/ 5 h 96"/>
                <a:gd name="T2" fmla="*/ 26 w 97"/>
                <a:gd name="T3" fmla="*/ 26 h 96"/>
                <a:gd name="T4" fmla="*/ 4 w 97"/>
                <a:gd name="T5" fmla="*/ 96 h 96"/>
              </a:gdLst>
              <a:ahLst/>
              <a:cxnLst>
                <a:cxn ang="0">
                  <a:pos x="T0" y="T1"/>
                </a:cxn>
                <a:cxn ang="0">
                  <a:pos x="T2" y="T3"/>
                </a:cxn>
                <a:cxn ang="0">
                  <a:pos x="T4" y="T5"/>
                </a:cxn>
              </a:cxnLst>
              <a:rect l="0" t="0" r="r" b="b"/>
              <a:pathLst>
                <a:path w="97" h="96">
                  <a:moveTo>
                    <a:pt x="97" y="5"/>
                  </a:moveTo>
                  <a:cubicBezTo>
                    <a:pt x="72" y="0"/>
                    <a:pt x="45" y="7"/>
                    <a:pt x="26" y="26"/>
                  </a:cubicBezTo>
                  <a:cubicBezTo>
                    <a:pt x="7" y="45"/>
                    <a:pt x="0" y="71"/>
                    <a:pt x="4" y="9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2"/>
            <p:cNvSpPr>
              <a:spLocks/>
            </p:cNvSpPr>
            <p:nvPr/>
          </p:nvSpPr>
          <p:spPr bwMode="auto">
            <a:xfrm>
              <a:off x="5689111" y="2378205"/>
              <a:ext cx="232570" cy="231036"/>
            </a:xfrm>
            <a:custGeom>
              <a:avLst/>
              <a:gdLst>
                <a:gd name="T0" fmla="*/ 0 w 128"/>
                <a:gd name="T1" fmla="*/ 127 h 127"/>
                <a:gd name="T2" fmla="*/ 37 w 128"/>
                <a:gd name="T3" fmla="*/ 37 h 127"/>
                <a:gd name="T4" fmla="*/ 128 w 128"/>
                <a:gd name="T5" fmla="*/ 1 h 127"/>
              </a:gdLst>
              <a:ahLst/>
              <a:cxnLst>
                <a:cxn ang="0">
                  <a:pos x="T0" y="T1"/>
                </a:cxn>
                <a:cxn ang="0">
                  <a:pos x="T2" y="T3"/>
                </a:cxn>
                <a:cxn ang="0">
                  <a:pos x="T4" y="T5"/>
                </a:cxn>
              </a:cxnLst>
              <a:rect l="0" t="0" r="r" b="b"/>
              <a:pathLst>
                <a:path w="128" h="127">
                  <a:moveTo>
                    <a:pt x="0" y="127"/>
                  </a:moveTo>
                  <a:cubicBezTo>
                    <a:pt x="0" y="94"/>
                    <a:pt x="12" y="62"/>
                    <a:pt x="37" y="37"/>
                  </a:cubicBezTo>
                  <a:cubicBezTo>
                    <a:pt x="62" y="12"/>
                    <a:pt x="95" y="0"/>
                    <a:pt x="128" y="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 name="Freeform 73"/>
            <p:cNvSpPr>
              <a:spLocks/>
            </p:cNvSpPr>
            <p:nvPr/>
          </p:nvSpPr>
          <p:spPr bwMode="auto">
            <a:xfrm>
              <a:off x="5605447" y="2294541"/>
              <a:ext cx="294742" cy="290905"/>
            </a:xfrm>
            <a:custGeom>
              <a:avLst/>
              <a:gdLst>
                <a:gd name="T0" fmla="*/ 0 w 162"/>
                <a:gd name="T1" fmla="*/ 160 h 160"/>
                <a:gd name="T2" fmla="*/ 51 w 162"/>
                <a:gd name="T3" fmla="*/ 50 h 160"/>
                <a:gd name="T4" fmla="*/ 162 w 162"/>
                <a:gd name="T5" fmla="*/ 0 h 160"/>
              </a:gdLst>
              <a:ahLst/>
              <a:cxnLst>
                <a:cxn ang="0">
                  <a:pos x="T0" y="T1"/>
                </a:cxn>
                <a:cxn ang="0">
                  <a:pos x="T2" y="T3"/>
                </a:cxn>
                <a:cxn ang="0">
                  <a:pos x="T4" y="T5"/>
                </a:cxn>
              </a:cxnLst>
              <a:rect l="0" t="0" r="r" b="b"/>
              <a:pathLst>
                <a:path w="162" h="160">
                  <a:moveTo>
                    <a:pt x="0" y="160"/>
                  </a:moveTo>
                  <a:cubicBezTo>
                    <a:pt x="3" y="120"/>
                    <a:pt x="19" y="80"/>
                    <a:pt x="51" y="50"/>
                  </a:cubicBezTo>
                  <a:cubicBezTo>
                    <a:pt x="82" y="19"/>
                    <a:pt x="121" y="2"/>
                    <a:pt x="16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Freeform 74"/>
            <p:cNvSpPr>
              <a:spLocks/>
            </p:cNvSpPr>
            <p:nvPr/>
          </p:nvSpPr>
          <p:spPr bwMode="auto">
            <a:xfrm>
              <a:off x="5520249" y="2207039"/>
              <a:ext cx="359985" cy="356148"/>
            </a:xfrm>
            <a:custGeom>
              <a:avLst/>
              <a:gdLst>
                <a:gd name="T0" fmla="*/ 0 w 198"/>
                <a:gd name="T1" fmla="*/ 196 h 196"/>
                <a:gd name="T2" fmla="*/ 62 w 198"/>
                <a:gd name="T3" fmla="*/ 60 h 196"/>
                <a:gd name="T4" fmla="*/ 198 w 198"/>
                <a:gd name="T5" fmla="*/ 0 h 196"/>
              </a:gdLst>
              <a:ahLst/>
              <a:cxnLst>
                <a:cxn ang="0">
                  <a:pos x="T0" y="T1"/>
                </a:cxn>
                <a:cxn ang="0">
                  <a:pos x="T2" y="T3"/>
                </a:cxn>
                <a:cxn ang="0">
                  <a:pos x="T4" y="T5"/>
                </a:cxn>
              </a:cxnLst>
              <a:rect l="0" t="0" r="r" b="b"/>
              <a:pathLst>
                <a:path w="198" h="196">
                  <a:moveTo>
                    <a:pt x="0" y="196"/>
                  </a:moveTo>
                  <a:cubicBezTo>
                    <a:pt x="3" y="146"/>
                    <a:pt x="24" y="98"/>
                    <a:pt x="62" y="60"/>
                  </a:cubicBezTo>
                  <a:cubicBezTo>
                    <a:pt x="100" y="23"/>
                    <a:pt x="148" y="3"/>
                    <a:pt x="19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0" name="Freeform 31"/>
            <p:cNvSpPr>
              <a:spLocks/>
            </p:cNvSpPr>
            <p:nvPr/>
          </p:nvSpPr>
          <p:spPr bwMode="auto">
            <a:xfrm>
              <a:off x="6719174" y="2596192"/>
              <a:ext cx="581041" cy="302419"/>
            </a:xfrm>
            <a:custGeom>
              <a:avLst/>
              <a:gdLst>
                <a:gd name="T0" fmla="*/ 78 w 757"/>
                <a:gd name="T1" fmla="*/ 38 h 394"/>
                <a:gd name="T2" fmla="*/ 78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78 w 757"/>
                <a:gd name="T17" fmla="*/ 280 h 394"/>
                <a:gd name="T18" fmla="*/ 78 w 757"/>
                <a:gd name="T19" fmla="*/ 356 h 394"/>
                <a:gd name="T20" fmla="*/ 118 w 757"/>
                <a:gd name="T21" fmla="*/ 394 h 394"/>
                <a:gd name="T22" fmla="*/ 639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29 w 757"/>
                <a:gd name="T39" fmla="*/ 114 h 394"/>
                <a:gd name="T40" fmla="*/ 679 w 757"/>
                <a:gd name="T41" fmla="*/ 114 h 394"/>
                <a:gd name="T42" fmla="*/ 679 w 757"/>
                <a:gd name="T43" fmla="*/ 38 h 394"/>
                <a:gd name="T44" fmla="*/ 639 w 757"/>
                <a:gd name="T45" fmla="*/ 0 h 394"/>
                <a:gd name="T46" fmla="*/ 118 w 757"/>
                <a:gd name="T47" fmla="*/ 0 h 394"/>
                <a:gd name="T48" fmla="*/ 78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78" y="38"/>
                  </a:moveTo>
                  <a:lnTo>
                    <a:pt x="78" y="114"/>
                  </a:lnTo>
                  <a:lnTo>
                    <a:pt x="28" y="114"/>
                  </a:lnTo>
                  <a:lnTo>
                    <a:pt x="19" y="114"/>
                  </a:lnTo>
                  <a:lnTo>
                    <a:pt x="0" y="130"/>
                  </a:lnTo>
                  <a:lnTo>
                    <a:pt x="0" y="140"/>
                  </a:lnTo>
                  <a:lnTo>
                    <a:pt x="0" y="263"/>
                  </a:lnTo>
                  <a:lnTo>
                    <a:pt x="19" y="280"/>
                  </a:lnTo>
                  <a:lnTo>
                    <a:pt x="78" y="280"/>
                  </a:lnTo>
                  <a:lnTo>
                    <a:pt x="78" y="356"/>
                  </a:lnTo>
                  <a:lnTo>
                    <a:pt x="118" y="394"/>
                  </a:lnTo>
                  <a:lnTo>
                    <a:pt x="639" y="394"/>
                  </a:lnTo>
                  <a:lnTo>
                    <a:pt x="679" y="356"/>
                  </a:lnTo>
                  <a:lnTo>
                    <a:pt x="679" y="280"/>
                  </a:lnTo>
                  <a:lnTo>
                    <a:pt x="738" y="280"/>
                  </a:lnTo>
                  <a:lnTo>
                    <a:pt x="757" y="263"/>
                  </a:lnTo>
                  <a:lnTo>
                    <a:pt x="757" y="140"/>
                  </a:lnTo>
                  <a:lnTo>
                    <a:pt x="757" y="130"/>
                  </a:lnTo>
                  <a:lnTo>
                    <a:pt x="738" y="114"/>
                  </a:lnTo>
                  <a:lnTo>
                    <a:pt x="729" y="114"/>
                  </a:lnTo>
                  <a:lnTo>
                    <a:pt x="679" y="114"/>
                  </a:lnTo>
                  <a:lnTo>
                    <a:pt x="679" y="38"/>
                  </a:lnTo>
                  <a:lnTo>
                    <a:pt x="639" y="0"/>
                  </a:lnTo>
                  <a:lnTo>
                    <a:pt x="118"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35"/>
            <p:cNvSpPr>
              <a:spLocks/>
            </p:cNvSpPr>
            <p:nvPr/>
          </p:nvSpPr>
          <p:spPr bwMode="auto">
            <a:xfrm>
              <a:off x="4920786" y="2596192"/>
              <a:ext cx="581809" cy="302419"/>
            </a:xfrm>
            <a:custGeom>
              <a:avLst/>
              <a:gdLst>
                <a:gd name="T0" fmla="*/ 78 w 758"/>
                <a:gd name="T1" fmla="*/ 38 h 394"/>
                <a:gd name="T2" fmla="*/ 78 w 758"/>
                <a:gd name="T3" fmla="*/ 114 h 394"/>
                <a:gd name="T4" fmla="*/ 29 w 758"/>
                <a:gd name="T5" fmla="*/ 114 h 394"/>
                <a:gd name="T6" fmla="*/ 19 w 758"/>
                <a:gd name="T7" fmla="*/ 114 h 394"/>
                <a:gd name="T8" fmla="*/ 0 w 758"/>
                <a:gd name="T9" fmla="*/ 130 h 394"/>
                <a:gd name="T10" fmla="*/ 0 w 758"/>
                <a:gd name="T11" fmla="*/ 140 h 394"/>
                <a:gd name="T12" fmla="*/ 0 w 758"/>
                <a:gd name="T13" fmla="*/ 263 h 394"/>
                <a:gd name="T14" fmla="*/ 19 w 758"/>
                <a:gd name="T15" fmla="*/ 280 h 394"/>
                <a:gd name="T16" fmla="*/ 78 w 758"/>
                <a:gd name="T17" fmla="*/ 280 h 394"/>
                <a:gd name="T18" fmla="*/ 78 w 758"/>
                <a:gd name="T19" fmla="*/ 356 h 394"/>
                <a:gd name="T20" fmla="*/ 119 w 758"/>
                <a:gd name="T21" fmla="*/ 394 h 394"/>
                <a:gd name="T22" fmla="*/ 639 w 758"/>
                <a:gd name="T23" fmla="*/ 394 h 394"/>
                <a:gd name="T24" fmla="*/ 679 w 758"/>
                <a:gd name="T25" fmla="*/ 356 h 394"/>
                <a:gd name="T26" fmla="*/ 679 w 758"/>
                <a:gd name="T27" fmla="*/ 280 h 394"/>
                <a:gd name="T28" fmla="*/ 739 w 758"/>
                <a:gd name="T29" fmla="*/ 280 h 394"/>
                <a:gd name="T30" fmla="*/ 758 w 758"/>
                <a:gd name="T31" fmla="*/ 263 h 394"/>
                <a:gd name="T32" fmla="*/ 758 w 758"/>
                <a:gd name="T33" fmla="*/ 140 h 394"/>
                <a:gd name="T34" fmla="*/ 758 w 758"/>
                <a:gd name="T35" fmla="*/ 130 h 394"/>
                <a:gd name="T36" fmla="*/ 739 w 758"/>
                <a:gd name="T37" fmla="*/ 114 h 394"/>
                <a:gd name="T38" fmla="*/ 729 w 758"/>
                <a:gd name="T39" fmla="*/ 114 h 394"/>
                <a:gd name="T40" fmla="*/ 679 w 758"/>
                <a:gd name="T41" fmla="*/ 114 h 394"/>
                <a:gd name="T42" fmla="*/ 679 w 758"/>
                <a:gd name="T43" fmla="*/ 38 h 394"/>
                <a:gd name="T44" fmla="*/ 639 w 758"/>
                <a:gd name="T45" fmla="*/ 0 h 394"/>
                <a:gd name="T46" fmla="*/ 119 w 758"/>
                <a:gd name="T47" fmla="*/ 0 h 394"/>
                <a:gd name="T48" fmla="*/ 78 w 758"/>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8" h="394">
                  <a:moveTo>
                    <a:pt x="78" y="38"/>
                  </a:moveTo>
                  <a:lnTo>
                    <a:pt x="78" y="114"/>
                  </a:lnTo>
                  <a:lnTo>
                    <a:pt x="29" y="114"/>
                  </a:lnTo>
                  <a:lnTo>
                    <a:pt x="19" y="114"/>
                  </a:lnTo>
                  <a:lnTo>
                    <a:pt x="0" y="130"/>
                  </a:lnTo>
                  <a:lnTo>
                    <a:pt x="0" y="140"/>
                  </a:lnTo>
                  <a:lnTo>
                    <a:pt x="0" y="263"/>
                  </a:lnTo>
                  <a:lnTo>
                    <a:pt x="19" y="280"/>
                  </a:lnTo>
                  <a:lnTo>
                    <a:pt x="78" y="280"/>
                  </a:lnTo>
                  <a:lnTo>
                    <a:pt x="78" y="356"/>
                  </a:lnTo>
                  <a:lnTo>
                    <a:pt x="119" y="394"/>
                  </a:lnTo>
                  <a:lnTo>
                    <a:pt x="639" y="394"/>
                  </a:lnTo>
                  <a:lnTo>
                    <a:pt x="679" y="356"/>
                  </a:lnTo>
                  <a:lnTo>
                    <a:pt x="679" y="280"/>
                  </a:lnTo>
                  <a:lnTo>
                    <a:pt x="739" y="280"/>
                  </a:lnTo>
                  <a:lnTo>
                    <a:pt x="758" y="263"/>
                  </a:lnTo>
                  <a:lnTo>
                    <a:pt x="758" y="140"/>
                  </a:lnTo>
                  <a:lnTo>
                    <a:pt x="758" y="130"/>
                  </a:lnTo>
                  <a:lnTo>
                    <a:pt x="739" y="114"/>
                  </a:lnTo>
                  <a:lnTo>
                    <a:pt x="729" y="114"/>
                  </a:lnTo>
                  <a:lnTo>
                    <a:pt x="679" y="114"/>
                  </a:lnTo>
                  <a:lnTo>
                    <a:pt x="679" y="38"/>
                  </a:lnTo>
                  <a:lnTo>
                    <a:pt x="639" y="0"/>
                  </a:lnTo>
                  <a:lnTo>
                    <a:pt x="119" y="0"/>
                  </a:lnTo>
                  <a:lnTo>
                    <a:pt x="78"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Freeform 39"/>
            <p:cNvSpPr>
              <a:spLocks/>
            </p:cNvSpPr>
            <p:nvPr/>
          </p:nvSpPr>
          <p:spPr bwMode="auto">
            <a:xfrm>
              <a:off x="5836482" y="2596192"/>
              <a:ext cx="581041" cy="302419"/>
            </a:xfrm>
            <a:custGeom>
              <a:avLst/>
              <a:gdLst>
                <a:gd name="T0" fmla="*/ 80 w 757"/>
                <a:gd name="T1" fmla="*/ 38 h 394"/>
                <a:gd name="T2" fmla="*/ 80 w 757"/>
                <a:gd name="T3" fmla="*/ 114 h 394"/>
                <a:gd name="T4" fmla="*/ 28 w 757"/>
                <a:gd name="T5" fmla="*/ 114 h 394"/>
                <a:gd name="T6" fmla="*/ 19 w 757"/>
                <a:gd name="T7" fmla="*/ 114 h 394"/>
                <a:gd name="T8" fmla="*/ 0 w 757"/>
                <a:gd name="T9" fmla="*/ 130 h 394"/>
                <a:gd name="T10" fmla="*/ 0 w 757"/>
                <a:gd name="T11" fmla="*/ 140 h 394"/>
                <a:gd name="T12" fmla="*/ 0 w 757"/>
                <a:gd name="T13" fmla="*/ 263 h 394"/>
                <a:gd name="T14" fmla="*/ 19 w 757"/>
                <a:gd name="T15" fmla="*/ 280 h 394"/>
                <a:gd name="T16" fmla="*/ 80 w 757"/>
                <a:gd name="T17" fmla="*/ 280 h 394"/>
                <a:gd name="T18" fmla="*/ 80 w 757"/>
                <a:gd name="T19" fmla="*/ 356 h 394"/>
                <a:gd name="T20" fmla="*/ 118 w 757"/>
                <a:gd name="T21" fmla="*/ 394 h 394"/>
                <a:gd name="T22" fmla="*/ 641 w 757"/>
                <a:gd name="T23" fmla="*/ 394 h 394"/>
                <a:gd name="T24" fmla="*/ 679 w 757"/>
                <a:gd name="T25" fmla="*/ 356 h 394"/>
                <a:gd name="T26" fmla="*/ 679 w 757"/>
                <a:gd name="T27" fmla="*/ 280 h 394"/>
                <a:gd name="T28" fmla="*/ 738 w 757"/>
                <a:gd name="T29" fmla="*/ 280 h 394"/>
                <a:gd name="T30" fmla="*/ 757 w 757"/>
                <a:gd name="T31" fmla="*/ 263 h 394"/>
                <a:gd name="T32" fmla="*/ 757 w 757"/>
                <a:gd name="T33" fmla="*/ 140 h 394"/>
                <a:gd name="T34" fmla="*/ 757 w 757"/>
                <a:gd name="T35" fmla="*/ 130 h 394"/>
                <a:gd name="T36" fmla="*/ 738 w 757"/>
                <a:gd name="T37" fmla="*/ 114 h 394"/>
                <a:gd name="T38" fmla="*/ 731 w 757"/>
                <a:gd name="T39" fmla="*/ 114 h 394"/>
                <a:gd name="T40" fmla="*/ 679 w 757"/>
                <a:gd name="T41" fmla="*/ 114 h 394"/>
                <a:gd name="T42" fmla="*/ 679 w 757"/>
                <a:gd name="T43" fmla="*/ 38 h 394"/>
                <a:gd name="T44" fmla="*/ 641 w 757"/>
                <a:gd name="T45" fmla="*/ 0 h 394"/>
                <a:gd name="T46" fmla="*/ 118 w 757"/>
                <a:gd name="T47" fmla="*/ 0 h 394"/>
                <a:gd name="T48" fmla="*/ 80 w 757"/>
                <a:gd name="T49" fmla="*/ 3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7" h="394">
                  <a:moveTo>
                    <a:pt x="80" y="38"/>
                  </a:moveTo>
                  <a:lnTo>
                    <a:pt x="80" y="114"/>
                  </a:lnTo>
                  <a:lnTo>
                    <a:pt x="28" y="114"/>
                  </a:lnTo>
                  <a:lnTo>
                    <a:pt x="19" y="114"/>
                  </a:lnTo>
                  <a:lnTo>
                    <a:pt x="0" y="130"/>
                  </a:lnTo>
                  <a:lnTo>
                    <a:pt x="0" y="140"/>
                  </a:lnTo>
                  <a:lnTo>
                    <a:pt x="0" y="263"/>
                  </a:lnTo>
                  <a:lnTo>
                    <a:pt x="19" y="280"/>
                  </a:lnTo>
                  <a:lnTo>
                    <a:pt x="80" y="280"/>
                  </a:lnTo>
                  <a:lnTo>
                    <a:pt x="80" y="356"/>
                  </a:lnTo>
                  <a:lnTo>
                    <a:pt x="118" y="394"/>
                  </a:lnTo>
                  <a:lnTo>
                    <a:pt x="641" y="394"/>
                  </a:lnTo>
                  <a:lnTo>
                    <a:pt x="679" y="356"/>
                  </a:lnTo>
                  <a:lnTo>
                    <a:pt x="679" y="280"/>
                  </a:lnTo>
                  <a:lnTo>
                    <a:pt x="738" y="280"/>
                  </a:lnTo>
                  <a:lnTo>
                    <a:pt x="757" y="263"/>
                  </a:lnTo>
                  <a:lnTo>
                    <a:pt x="757" y="140"/>
                  </a:lnTo>
                  <a:lnTo>
                    <a:pt x="757" y="130"/>
                  </a:lnTo>
                  <a:lnTo>
                    <a:pt x="738" y="114"/>
                  </a:lnTo>
                  <a:lnTo>
                    <a:pt x="731" y="114"/>
                  </a:lnTo>
                  <a:lnTo>
                    <a:pt x="679" y="114"/>
                  </a:lnTo>
                  <a:lnTo>
                    <a:pt x="679" y="38"/>
                  </a:lnTo>
                  <a:lnTo>
                    <a:pt x="641" y="0"/>
                  </a:lnTo>
                  <a:lnTo>
                    <a:pt x="118" y="0"/>
                  </a:lnTo>
                  <a:lnTo>
                    <a:pt x="80" y="38"/>
                  </a:ln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77" name="Gruppieren 1176"/>
          <p:cNvGrpSpPr/>
          <p:nvPr/>
        </p:nvGrpSpPr>
        <p:grpSpPr>
          <a:xfrm>
            <a:off x="4843214" y="2062163"/>
            <a:ext cx="752475" cy="822325"/>
            <a:chOff x="5156200" y="2062163"/>
            <a:chExt cx="752475" cy="822325"/>
          </a:xfrm>
        </p:grpSpPr>
        <p:sp>
          <p:nvSpPr>
            <p:cNvPr id="4" name="AutoShape 79"/>
            <p:cNvSpPr>
              <a:spLocks noChangeAspect="1" noChangeArrowheads="1" noTextEdit="1"/>
            </p:cNvSpPr>
            <p:nvPr/>
          </p:nvSpPr>
          <p:spPr bwMode="auto">
            <a:xfrm>
              <a:off x="5156200" y="2062163"/>
              <a:ext cx="752475"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81"/>
            <p:cNvSpPr>
              <a:spLocks noChangeArrowheads="1"/>
            </p:cNvSpPr>
            <p:nvPr/>
          </p:nvSpPr>
          <p:spPr bwMode="auto">
            <a:xfrm>
              <a:off x="5322888" y="2652713"/>
              <a:ext cx="417513" cy="227013"/>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 name="Rectangle 82"/>
            <p:cNvSpPr>
              <a:spLocks noChangeArrowheads="1"/>
            </p:cNvSpPr>
            <p:nvPr/>
          </p:nvSpPr>
          <p:spPr bwMode="auto">
            <a:xfrm>
              <a:off x="5159375" y="2065338"/>
              <a:ext cx="744538" cy="58737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 name="Rectangle 83"/>
            <p:cNvSpPr>
              <a:spLocks noChangeArrowheads="1"/>
            </p:cNvSpPr>
            <p:nvPr/>
          </p:nvSpPr>
          <p:spPr bwMode="auto">
            <a:xfrm>
              <a:off x="5249863" y="2162176"/>
              <a:ext cx="563563" cy="407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Rectangle 84"/>
            <p:cNvSpPr>
              <a:spLocks noChangeArrowheads="1"/>
            </p:cNvSpPr>
            <p:nvPr/>
          </p:nvSpPr>
          <p:spPr bwMode="auto">
            <a:xfrm>
              <a:off x="5238750" y="2652713"/>
              <a:ext cx="587375" cy="714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9" name="Rectangle 85"/>
            <p:cNvSpPr>
              <a:spLocks noChangeArrowheads="1"/>
            </p:cNvSpPr>
            <p:nvPr/>
          </p:nvSpPr>
          <p:spPr bwMode="auto">
            <a:xfrm>
              <a:off x="5322888" y="2852738"/>
              <a:ext cx="417513" cy="26988"/>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Rectangle 86"/>
            <p:cNvSpPr>
              <a:spLocks noChangeArrowheads="1"/>
            </p:cNvSpPr>
            <p:nvPr/>
          </p:nvSpPr>
          <p:spPr bwMode="auto">
            <a:xfrm>
              <a:off x="5351463"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Rectangle 87"/>
            <p:cNvSpPr>
              <a:spLocks noChangeArrowheads="1"/>
            </p:cNvSpPr>
            <p:nvPr/>
          </p:nvSpPr>
          <p:spPr bwMode="auto">
            <a:xfrm>
              <a:off x="5386388"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Rectangle 88"/>
            <p:cNvSpPr>
              <a:spLocks noChangeArrowheads="1"/>
            </p:cNvSpPr>
            <p:nvPr/>
          </p:nvSpPr>
          <p:spPr bwMode="auto">
            <a:xfrm>
              <a:off x="5422900"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Rectangle 89"/>
            <p:cNvSpPr>
              <a:spLocks noChangeArrowheads="1"/>
            </p:cNvSpPr>
            <p:nvPr/>
          </p:nvSpPr>
          <p:spPr bwMode="auto">
            <a:xfrm>
              <a:off x="5457825" y="2674938"/>
              <a:ext cx="23813"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 name="Rectangle 90"/>
            <p:cNvSpPr>
              <a:spLocks noChangeArrowheads="1"/>
            </p:cNvSpPr>
            <p:nvPr/>
          </p:nvSpPr>
          <p:spPr bwMode="auto">
            <a:xfrm>
              <a:off x="549275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Rectangle 91"/>
            <p:cNvSpPr>
              <a:spLocks noChangeArrowheads="1"/>
            </p:cNvSpPr>
            <p:nvPr/>
          </p:nvSpPr>
          <p:spPr bwMode="auto">
            <a:xfrm>
              <a:off x="5527675"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 name="Rectangle 92"/>
            <p:cNvSpPr>
              <a:spLocks noChangeArrowheads="1"/>
            </p:cNvSpPr>
            <p:nvPr/>
          </p:nvSpPr>
          <p:spPr bwMode="auto">
            <a:xfrm>
              <a:off x="5562600" y="2674938"/>
              <a:ext cx="25400" cy="254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Rectangle 93"/>
            <p:cNvSpPr>
              <a:spLocks noChangeArrowheads="1"/>
            </p:cNvSpPr>
            <p:nvPr/>
          </p:nvSpPr>
          <p:spPr bwMode="auto">
            <a:xfrm>
              <a:off x="5716588" y="2668588"/>
              <a:ext cx="38100" cy="381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 name="Line 94"/>
            <p:cNvSpPr>
              <a:spLocks noChangeShapeType="1"/>
            </p:cNvSpPr>
            <p:nvPr/>
          </p:nvSpPr>
          <p:spPr bwMode="auto">
            <a:xfrm>
              <a:off x="5688013" y="2414588"/>
              <a:ext cx="841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 name="Line 95"/>
            <p:cNvSpPr>
              <a:spLocks noChangeShapeType="1"/>
            </p:cNvSpPr>
            <p:nvPr/>
          </p:nvSpPr>
          <p:spPr bwMode="auto">
            <a:xfrm>
              <a:off x="5689600" y="2441576"/>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 name="Line 96"/>
            <p:cNvSpPr>
              <a:spLocks noChangeShapeType="1"/>
            </p:cNvSpPr>
            <p:nvPr/>
          </p:nvSpPr>
          <p:spPr bwMode="auto">
            <a:xfrm>
              <a:off x="5689600" y="2468563"/>
              <a:ext cx="825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Freeform 97"/>
            <p:cNvSpPr>
              <a:spLocks/>
            </p:cNvSpPr>
            <p:nvPr/>
          </p:nvSpPr>
          <p:spPr bwMode="auto">
            <a:xfrm>
              <a:off x="5324475" y="2241551"/>
              <a:ext cx="252413" cy="142875"/>
            </a:xfrm>
            <a:custGeom>
              <a:avLst/>
              <a:gdLst>
                <a:gd name="T0" fmla="*/ 0 w 159"/>
                <a:gd name="T1" fmla="*/ 90 h 90"/>
                <a:gd name="T2" fmla="*/ 159 w 159"/>
                <a:gd name="T3" fmla="*/ 90 h 90"/>
                <a:gd name="T4" fmla="*/ 159 w 159"/>
                <a:gd name="T5" fmla="*/ 0 h 90"/>
              </a:gdLst>
              <a:ahLst/>
              <a:cxnLst>
                <a:cxn ang="0">
                  <a:pos x="T0" y="T1"/>
                </a:cxn>
                <a:cxn ang="0">
                  <a:pos x="T2" y="T3"/>
                </a:cxn>
                <a:cxn ang="0">
                  <a:pos x="T4" y="T5"/>
                </a:cxn>
              </a:cxnLst>
              <a:rect l="0" t="0" r="r" b="b"/>
              <a:pathLst>
                <a:path w="159" h="90">
                  <a:moveTo>
                    <a:pt x="0" y="90"/>
                  </a:moveTo>
                  <a:lnTo>
                    <a:pt x="159" y="90"/>
                  </a:lnTo>
                  <a:lnTo>
                    <a:pt x="159"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98"/>
            <p:cNvSpPr>
              <a:spLocks noChangeShapeType="1"/>
            </p:cNvSpPr>
            <p:nvPr/>
          </p:nvSpPr>
          <p:spPr bwMode="auto">
            <a:xfrm>
              <a:off x="5472113" y="2243138"/>
              <a:ext cx="0" cy="2809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Line 99"/>
            <p:cNvSpPr>
              <a:spLocks noChangeShapeType="1"/>
            </p:cNvSpPr>
            <p:nvPr/>
          </p:nvSpPr>
          <p:spPr bwMode="auto">
            <a:xfrm>
              <a:off x="5576888" y="2308226"/>
              <a:ext cx="1174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Line 100"/>
            <p:cNvSpPr>
              <a:spLocks noChangeShapeType="1"/>
            </p:cNvSpPr>
            <p:nvPr/>
          </p:nvSpPr>
          <p:spPr bwMode="auto">
            <a:xfrm>
              <a:off x="5475288" y="24526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Oval 101"/>
            <p:cNvSpPr>
              <a:spLocks noChangeArrowheads="1"/>
            </p:cNvSpPr>
            <p:nvPr/>
          </p:nvSpPr>
          <p:spPr bwMode="auto">
            <a:xfrm>
              <a:off x="5680075" y="2293938"/>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 name="Oval 102"/>
            <p:cNvSpPr>
              <a:spLocks noChangeArrowheads="1"/>
            </p:cNvSpPr>
            <p:nvPr/>
          </p:nvSpPr>
          <p:spPr bwMode="auto">
            <a:xfrm>
              <a:off x="5310188"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7" name="Oval 103"/>
            <p:cNvSpPr>
              <a:spLocks noChangeArrowheads="1"/>
            </p:cNvSpPr>
            <p:nvPr/>
          </p:nvSpPr>
          <p:spPr bwMode="auto">
            <a:xfrm>
              <a:off x="5457825"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 name="Oval 104"/>
            <p:cNvSpPr>
              <a:spLocks noChangeArrowheads="1"/>
            </p:cNvSpPr>
            <p:nvPr/>
          </p:nvSpPr>
          <p:spPr bwMode="auto">
            <a:xfrm>
              <a:off x="5457825" y="2506663"/>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 name="Oval 105"/>
            <p:cNvSpPr>
              <a:spLocks noChangeArrowheads="1"/>
            </p:cNvSpPr>
            <p:nvPr/>
          </p:nvSpPr>
          <p:spPr bwMode="auto">
            <a:xfrm>
              <a:off x="5457825" y="22288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 name="Oval 106"/>
            <p:cNvSpPr>
              <a:spLocks noChangeArrowheads="1"/>
            </p:cNvSpPr>
            <p:nvPr/>
          </p:nvSpPr>
          <p:spPr bwMode="auto">
            <a:xfrm>
              <a:off x="5562600" y="2368551"/>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2" name="Oval 107"/>
            <p:cNvSpPr>
              <a:spLocks noChangeArrowheads="1"/>
            </p:cNvSpPr>
            <p:nvPr/>
          </p:nvSpPr>
          <p:spPr bwMode="auto">
            <a:xfrm>
              <a:off x="5562600" y="2227263"/>
              <a:ext cx="28575" cy="2698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4" name="Oval 108"/>
            <p:cNvSpPr>
              <a:spLocks noChangeArrowheads="1"/>
            </p:cNvSpPr>
            <p:nvPr/>
          </p:nvSpPr>
          <p:spPr bwMode="auto">
            <a:xfrm>
              <a:off x="5562600" y="2441576"/>
              <a:ext cx="28575" cy="2857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5" name="Rectangle 109"/>
            <p:cNvSpPr>
              <a:spLocks noChangeArrowheads="1"/>
            </p:cNvSpPr>
            <p:nvPr/>
          </p:nvSpPr>
          <p:spPr bwMode="auto">
            <a:xfrm>
              <a:off x="5276850" y="2197101"/>
              <a:ext cx="122238" cy="3016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75" name="Gruppieren 174"/>
          <p:cNvGrpSpPr/>
          <p:nvPr/>
        </p:nvGrpSpPr>
        <p:grpSpPr>
          <a:xfrm>
            <a:off x="4271898" y="3355293"/>
            <a:ext cx="1034659" cy="1209676"/>
            <a:chOff x="4635892" y="3195637"/>
            <a:chExt cx="1034659" cy="1209676"/>
          </a:xfrm>
        </p:grpSpPr>
        <p:grpSp>
          <p:nvGrpSpPr>
            <p:cNvPr id="174" name="Gruppieren 173"/>
            <p:cNvGrpSpPr/>
            <p:nvPr/>
          </p:nvGrpSpPr>
          <p:grpSpPr>
            <a:xfrm>
              <a:off x="5408613" y="3254375"/>
              <a:ext cx="261938" cy="254001"/>
              <a:chOff x="5408613" y="3254375"/>
              <a:chExt cx="261938" cy="254001"/>
            </a:xfrm>
          </p:grpSpPr>
          <p:sp>
            <p:nvSpPr>
              <p:cNvPr id="166"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9"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0"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1"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2"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3" name="Gruppieren 172"/>
            <p:cNvGrpSpPr/>
            <p:nvPr/>
          </p:nvGrpSpPr>
          <p:grpSpPr>
            <a:xfrm>
              <a:off x="4635892" y="3195637"/>
              <a:ext cx="863600" cy="1209676"/>
              <a:chOff x="4635892" y="3195637"/>
              <a:chExt cx="863600" cy="1209676"/>
            </a:xfrm>
          </p:grpSpPr>
          <p:sp>
            <p:nvSpPr>
              <p:cNvPr id="3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8"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2"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3"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4"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1"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4"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5"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6"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8"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9"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0"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1"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2"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3"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4"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5"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8"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0"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1"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4"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8"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9"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0"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1"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2"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3"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4"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5"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26"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7"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4"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5"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005" name="Gruppieren 3004"/>
          <p:cNvGrpSpPr/>
          <p:nvPr/>
        </p:nvGrpSpPr>
        <p:grpSpPr>
          <a:xfrm>
            <a:off x="1496928" y="4991099"/>
            <a:ext cx="1543121" cy="1209676"/>
            <a:chOff x="5525968" y="3195637"/>
            <a:chExt cx="1543121" cy="1209676"/>
          </a:xfrm>
        </p:grpSpPr>
        <p:grpSp>
          <p:nvGrpSpPr>
            <p:cNvPr id="2936" name="Gruppieren 2935"/>
            <p:cNvGrpSpPr/>
            <p:nvPr/>
          </p:nvGrpSpPr>
          <p:grpSpPr>
            <a:xfrm>
              <a:off x="5525968" y="3584528"/>
              <a:ext cx="1069975" cy="749300"/>
              <a:chOff x="6574560" y="3584528"/>
              <a:chExt cx="1069975" cy="749300"/>
            </a:xfrm>
          </p:grpSpPr>
          <p:grpSp>
            <p:nvGrpSpPr>
              <p:cNvPr id="2085" name="Gruppieren 2084"/>
              <p:cNvGrpSpPr/>
              <p:nvPr/>
            </p:nvGrpSpPr>
            <p:grpSpPr>
              <a:xfrm>
                <a:off x="6574560" y="3584528"/>
                <a:ext cx="1069975" cy="749300"/>
                <a:chOff x="5249863" y="3584575"/>
                <a:chExt cx="1069975" cy="749300"/>
              </a:xfrm>
            </p:grpSpPr>
            <p:sp>
              <p:nvSpPr>
                <p:cNvPr id="1885" name="Rectangle 181"/>
                <p:cNvSpPr>
                  <a:spLocks noChangeArrowheads="1"/>
                </p:cNvSpPr>
                <p:nvPr/>
              </p:nvSpPr>
              <p:spPr bwMode="auto">
                <a:xfrm>
                  <a:off x="5249863" y="3584575"/>
                  <a:ext cx="1069975" cy="749300"/>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886" name="Freeform 182"/>
                <p:cNvSpPr>
                  <a:spLocks/>
                </p:cNvSpPr>
                <p:nvPr/>
              </p:nvSpPr>
              <p:spPr bwMode="auto">
                <a:xfrm>
                  <a:off x="5272088" y="3605213"/>
                  <a:ext cx="1025525" cy="709613"/>
                </a:xfrm>
                <a:custGeom>
                  <a:avLst/>
                  <a:gdLst>
                    <a:gd name="T0" fmla="*/ 0 w 646"/>
                    <a:gd name="T1" fmla="*/ 0 h 447"/>
                    <a:gd name="T2" fmla="*/ 646 w 646"/>
                    <a:gd name="T3" fmla="*/ 0 h 447"/>
                    <a:gd name="T4" fmla="*/ 646 w 646"/>
                    <a:gd name="T5" fmla="*/ 447 h 447"/>
                    <a:gd name="T6" fmla="*/ 0 w 646"/>
                    <a:gd name="T7" fmla="*/ 447 h 447"/>
                    <a:gd name="T8" fmla="*/ 0 w 646"/>
                    <a:gd name="T9" fmla="*/ 0 h 447"/>
                    <a:gd name="T10" fmla="*/ 0 w 646"/>
                    <a:gd name="T11" fmla="*/ 0 h 447"/>
                  </a:gdLst>
                  <a:ahLst/>
                  <a:cxnLst>
                    <a:cxn ang="0">
                      <a:pos x="T0" y="T1"/>
                    </a:cxn>
                    <a:cxn ang="0">
                      <a:pos x="T2" y="T3"/>
                    </a:cxn>
                    <a:cxn ang="0">
                      <a:pos x="T4" y="T5"/>
                    </a:cxn>
                    <a:cxn ang="0">
                      <a:pos x="T6" y="T7"/>
                    </a:cxn>
                    <a:cxn ang="0">
                      <a:pos x="T8" y="T9"/>
                    </a:cxn>
                    <a:cxn ang="0">
                      <a:pos x="T10" y="T11"/>
                    </a:cxn>
                  </a:cxnLst>
                  <a:rect l="0" t="0" r="r" b="b"/>
                  <a:pathLst>
                    <a:path w="646" h="447">
                      <a:moveTo>
                        <a:pt x="0" y="0"/>
                      </a:moveTo>
                      <a:lnTo>
                        <a:pt x="646" y="0"/>
                      </a:lnTo>
                      <a:lnTo>
                        <a:pt x="646" y="447"/>
                      </a:lnTo>
                      <a:lnTo>
                        <a:pt x="0" y="447"/>
                      </a:lnTo>
                      <a:lnTo>
                        <a:pt x="0" y="0"/>
                      </a:lnTo>
                      <a:lnTo>
                        <a:pt x="0" y="0"/>
                      </a:lnTo>
                      <a:close/>
                    </a:path>
                  </a:pathLst>
                </a:custGeom>
                <a:solidFill>
                  <a:srgbClr val="FFFFFF"/>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94" name="Gruppieren 1093"/>
              <p:cNvGrpSpPr/>
              <p:nvPr/>
            </p:nvGrpSpPr>
            <p:grpSpPr>
              <a:xfrm>
                <a:off x="6611790" y="3626819"/>
                <a:ext cx="978352" cy="666277"/>
                <a:chOff x="1700081" y="2143728"/>
                <a:chExt cx="4685270" cy="3190762"/>
              </a:xfrm>
            </p:grpSpPr>
            <p:sp>
              <p:nvSpPr>
                <p:cNvPr id="1095" name="Freeform 183"/>
                <p:cNvSpPr>
                  <a:spLocks noEditPoints="1"/>
                </p:cNvSpPr>
                <p:nvPr/>
              </p:nvSpPr>
              <p:spPr bwMode="auto">
                <a:xfrm>
                  <a:off x="2357662" y="2681749"/>
                  <a:ext cx="3669008" cy="799562"/>
                </a:xfrm>
                <a:custGeom>
                  <a:avLst/>
                  <a:gdLst>
                    <a:gd name="T0" fmla="*/ 447 w 491"/>
                    <a:gd name="T1" fmla="*/ 80 h 107"/>
                    <a:gd name="T2" fmla="*/ 447 w 491"/>
                    <a:gd name="T3" fmla="*/ 95 h 107"/>
                    <a:gd name="T4" fmla="*/ 459 w 491"/>
                    <a:gd name="T5" fmla="*/ 95 h 107"/>
                    <a:gd name="T6" fmla="*/ 459 w 491"/>
                    <a:gd name="T7" fmla="*/ 107 h 107"/>
                    <a:gd name="T8" fmla="*/ 491 w 491"/>
                    <a:gd name="T9" fmla="*/ 81 h 107"/>
                    <a:gd name="T10" fmla="*/ 491 w 491"/>
                    <a:gd name="T11" fmla="*/ 95 h 107"/>
                    <a:gd name="T12" fmla="*/ 479 w 491"/>
                    <a:gd name="T13" fmla="*/ 95 h 107"/>
                    <a:gd name="T14" fmla="*/ 479 w 491"/>
                    <a:gd name="T15" fmla="*/ 107 h 107"/>
                    <a:gd name="T16" fmla="*/ 403 w 491"/>
                    <a:gd name="T17" fmla="*/ 41 h 107"/>
                    <a:gd name="T18" fmla="*/ 403 w 491"/>
                    <a:gd name="T19" fmla="*/ 0 h 107"/>
                    <a:gd name="T20" fmla="*/ 469 w 491"/>
                    <a:gd name="T21" fmla="*/ 0 h 107"/>
                    <a:gd name="T22" fmla="*/ 469 w 491"/>
                    <a:gd name="T23" fmla="*/ 39 h 107"/>
                    <a:gd name="T24" fmla="*/ 368 w 491"/>
                    <a:gd name="T25" fmla="*/ 40 h 107"/>
                    <a:gd name="T26" fmla="*/ 270 w 491"/>
                    <a:gd name="T27" fmla="*/ 40 h 107"/>
                    <a:gd name="T28" fmla="*/ 391 w 491"/>
                    <a:gd name="T29" fmla="*/ 38 h 107"/>
                    <a:gd name="T30" fmla="*/ 391 w 491"/>
                    <a:gd name="T31" fmla="*/ 0 h 107"/>
                    <a:gd name="T32" fmla="*/ 13 w 491"/>
                    <a:gd name="T33" fmla="*/ 0 h 107"/>
                    <a:gd name="T34" fmla="*/ 13 w 491"/>
                    <a:gd name="T35" fmla="*/ 19 h 107"/>
                    <a:gd name="T36" fmla="*/ 0 w 491"/>
                    <a:gd name="T37" fmla="*/ 19 h 107"/>
                    <a:gd name="T38" fmla="*/ 0 w 491"/>
                    <a:gd name="T39" fmla="*/ 5 h 107"/>
                    <a:gd name="T40" fmla="*/ 379 w 491"/>
                    <a:gd name="T41" fmla="*/ 5 h 107"/>
                    <a:gd name="T42" fmla="*/ 379 w 491"/>
                    <a:gd name="T43" fmla="*/ 2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1" h="107">
                      <a:moveTo>
                        <a:pt x="447" y="80"/>
                      </a:moveTo>
                      <a:lnTo>
                        <a:pt x="447" y="95"/>
                      </a:lnTo>
                      <a:lnTo>
                        <a:pt x="459" y="95"/>
                      </a:lnTo>
                      <a:lnTo>
                        <a:pt x="459" y="107"/>
                      </a:lnTo>
                      <a:moveTo>
                        <a:pt x="491" y="81"/>
                      </a:moveTo>
                      <a:lnTo>
                        <a:pt x="491" y="95"/>
                      </a:lnTo>
                      <a:lnTo>
                        <a:pt x="479" y="95"/>
                      </a:lnTo>
                      <a:lnTo>
                        <a:pt x="479" y="107"/>
                      </a:lnTo>
                      <a:moveTo>
                        <a:pt x="403" y="41"/>
                      </a:moveTo>
                      <a:lnTo>
                        <a:pt x="403" y="0"/>
                      </a:lnTo>
                      <a:lnTo>
                        <a:pt x="469" y="0"/>
                      </a:lnTo>
                      <a:lnTo>
                        <a:pt x="469" y="39"/>
                      </a:lnTo>
                      <a:moveTo>
                        <a:pt x="368" y="40"/>
                      </a:moveTo>
                      <a:lnTo>
                        <a:pt x="270" y="40"/>
                      </a:lnTo>
                      <a:moveTo>
                        <a:pt x="391" y="38"/>
                      </a:moveTo>
                      <a:lnTo>
                        <a:pt x="391" y="0"/>
                      </a:lnTo>
                      <a:lnTo>
                        <a:pt x="13" y="0"/>
                      </a:lnTo>
                      <a:lnTo>
                        <a:pt x="13" y="19"/>
                      </a:lnTo>
                      <a:moveTo>
                        <a:pt x="0" y="19"/>
                      </a:moveTo>
                      <a:lnTo>
                        <a:pt x="0" y="5"/>
                      </a:lnTo>
                      <a:lnTo>
                        <a:pt x="379" y="5"/>
                      </a:lnTo>
                      <a:lnTo>
                        <a:pt x="379" y="29"/>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6" name="Freeform 184"/>
                <p:cNvSpPr>
                  <a:spLocks/>
                </p:cNvSpPr>
                <p:nvPr/>
              </p:nvSpPr>
              <p:spPr bwMode="auto">
                <a:xfrm>
                  <a:off x="6295681" y="2143728"/>
                  <a:ext cx="89670" cy="74725"/>
                </a:xfrm>
                <a:custGeom>
                  <a:avLst/>
                  <a:gdLst>
                    <a:gd name="T0" fmla="*/ 0 w 12"/>
                    <a:gd name="T1" fmla="*/ 10 h 10"/>
                    <a:gd name="T2" fmla="*/ 0 w 12"/>
                    <a:gd name="T3" fmla="*/ 0 h 10"/>
                    <a:gd name="T4" fmla="*/ 12 w 12"/>
                    <a:gd name="T5" fmla="*/ 0 h 10"/>
                    <a:gd name="T6" fmla="*/ 12 w 12"/>
                    <a:gd name="T7" fmla="*/ 10 h 10"/>
                    <a:gd name="T8" fmla="*/ 0 w 12"/>
                    <a:gd name="T9" fmla="*/ 10 h 10"/>
                    <a:gd name="T10" fmla="*/ 0 w 12"/>
                    <a:gd name="T11" fmla="*/ 10 h 10"/>
                  </a:gdLst>
                  <a:ahLst/>
                  <a:cxnLst>
                    <a:cxn ang="0">
                      <a:pos x="T0" y="T1"/>
                    </a:cxn>
                    <a:cxn ang="0">
                      <a:pos x="T2" y="T3"/>
                    </a:cxn>
                    <a:cxn ang="0">
                      <a:pos x="T4" y="T5"/>
                    </a:cxn>
                    <a:cxn ang="0">
                      <a:pos x="T6" y="T7"/>
                    </a:cxn>
                    <a:cxn ang="0">
                      <a:pos x="T8" y="T9"/>
                    </a:cxn>
                    <a:cxn ang="0">
                      <a:pos x="T10" y="T11"/>
                    </a:cxn>
                  </a:cxnLst>
                  <a:rect l="0" t="0" r="r" b="b"/>
                  <a:pathLst>
                    <a:path w="12" h="10">
                      <a:moveTo>
                        <a:pt x="0" y="10"/>
                      </a:moveTo>
                      <a:lnTo>
                        <a:pt x="0" y="0"/>
                      </a:lnTo>
                      <a:lnTo>
                        <a:pt x="12" y="0"/>
                      </a:lnTo>
                      <a:lnTo>
                        <a:pt x="12" y="10"/>
                      </a:lnTo>
                      <a:lnTo>
                        <a:pt x="0" y="10"/>
                      </a:lnTo>
                      <a:lnTo>
                        <a:pt x="0" y="1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7" name="Freeform 185"/>
                <p:cNvSpPr>
                  <a:spLocks/>
                </p:cNvSpPr>
                <p:nvPr/>
              </p:nvSpPr>
              <p:spPr bwMode="auto">
                <a:xfrm>
                  <a:off x="6318096" y="2158673"/>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2 h 6"/>
                    <a:gd name="T12" fmla="*/ 4 w 5"/>
                    <a:gd name="T13" fmla="*/ 2 h 6"/>
                    <a:gd name="T14" fmla="*/ 4 w 5"/>
                    <a:gd name="T15" fmla="*/ 1 h 6"/>
                    <a:gd name="T16" fmla="*/ 5 w 5"/>
                    <a:gd name="T17" fmla="*/ 1 h 6"/>
                    <a:gd name="T18" fmla="*/ 5 w 5"/>
                    <a:gd name="T19" fmla="*/ 0 h 6"/>
                    <a:gd name="T20" fmla="*/ 4 w 5"/>
                    <a:gd name="T21" fmla="*/ 0 h 6"/>
                    <a:gd name="T22" fmla="*/ 4 w 5"/>
                    <a:gd name="T23" fmla="*/ 1 h 6"/>
                    <a:gd name="T24" fmla="*/ 3 w 5"/>
                    <a:gd name="T25" fmla="*/ 1 h 6"/>
                    <a:gd name="T26" fmla="*/ 3 w 5"/>
                    <a:gd name="T27" fmla="*/ 2 h 6"/>
                    <a:gd name="T28" fmla="*/ 2 w 5"/>
                    <a:gd name="T29" fmla="*/ 2 h 6"/>
                    <a:gd name="T30" fmla="*/ 2 w 5"/>
                    <a:gd name="T31" fmla="*/ 1 h 6"/>
                    <a:gd name="T32" fmla="*/ 1 w 5"/>
                    <a:gd name="T33" fmla="*/ 1 h 6"/>
                    <a:gd name="T34" fmla="*/ 1 w 5"/>
                    <a:gd name="T35" fmla="*/ 0 h 6"/>
                    <a:gd name="T36" fmla="*/ 0 w 5"/>
                    <a:gd name="T37" fmla="*/ 0 h 6"/>
                    <a:gd name="T38" fmla="*/ 0 w 5"/>
                    <a:gd name="T39" fmla="*/ 1 h 6"/>
                    <a:gd name="T40" fmla="*/ 1 w 5"/>
                    <a:gd name="T41" fmla="*/ 1 h 6"/>
                    <a:gd name="T42" fmla="*/ 1 w 5"/>
                    <a:gd name="T43" fmla="*/ 2 h 6"/>
                    <a:gd name="T44" fmla="*/ 2 w 5"/>
                    <a:gd name="T45" fmla="*/ 2 h 6"/>
                    <a:gd name="T46" fmla="*/ 2 w 5"/>
                    <a:gd name="T47" fmla="*/ 4 h 6"/>
                    <a:gd name="T48" fmla="*/ 1 w 5"/>
                    <a:gd name="T49" fmla="*/ 4 h 6"/>
                    <a:gd name="T50" fmla="*/ 1 w 5"/>
                    <a:gd name="T51" fmla="*/ 5 h 6"/>
                    <a:gd name="T52" fmla="*/ 0 w 5"/>
                    <a:gd name="T53" fmla="*/ 5 h 6"/>
                    <a:gd name="T54" fmla="*/ 0 w 5"/>
                    <a:gd name="T55" fmla="*/ 6 h 6"/>
                    <a:gd name="T56" fmla="*/ 1 w 5"/>
                    <a:gd name="T57" fmla="*/ 6 h 6"/>
                    <a:gd name="T58" fmla="*/ 1 w 5"/>
                    <a:gd name="T59" fmla="*/ 5 h 6"/>
                    <a:gd name="T60" fmla="*/ 2 w 5"/>
                    <a:gd name="T61" fmla="*/ 5 h 6"/>
                    <a:gd name="T62" fmla="*/ 2 w 5"/>
                    <a:gd name="T63" fmla="*/ 4 h 6"/>
                    <a:gd name="T64" fmla="*/ 3 w 5"/>
                    <a:gd name="T65" fmla="*/ 4 h 6"/>
                    <a:gd name="T66" fmla="*/ 3 w 5"/>
                    <a:gd name="T67" fmla="*/ 5 h 6"/>
                    <a:gd name="T68" fmla="*/ 4 w 5"/>
                    <a:gd name="T69" fmla="*/ 5 h 6"/>
                    <a:gd name="T70" fmla="*/ 4 w 5"/>
                    <a:gd name="T71" fmla="*/ 6 h 6"/>
                    <a:gd name="T72" fmla="*/ 5 w 5"/>
                    <a:gd name="T73" fmla="*/ 6 h 6"/>
                    <a:gd name="T74" fmla="*/ 5 w 5"/>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6">
                      <a:moveTo>
                        <a:pt x="5" y="6"/>
                      </a:moveTo>
                      <a:lnTo>
                        <a:pt x="5" y="5"/>
                      </a:lnTo>
                      <a:lnTo>
                        <a:pt x="4" y="5"/>
                      </a:lnTo>
                      <a:lnTo>
                        <a:pt x="4" y="4"/>
                      </a:lnTo>
                      <a:lnTo>
                        <a:pt x="3" y="4"/>
                      </a:lnTo>
                      <a:lnTo>
                        <a:pt x="3" y="2"/>
                      </a:lnTo>
                      <a:lnTo>
                        <a:pt x="4" y="2"/>
                      </a:lnTo>
                      <a:lnTo>
                        <a:pt x="4" y="1"/>
                      </a:lnTo>
                      <a:lnTo>
                        <a:pt x="5" y="1"/>
                      </a:lnTo>
                      <a:lnTo>
                        <a:pt x="5" y="0"/>
                      </a:lnTo>
                      <a:lnTo>
                        <a:pt x="4" y="0"/>
                      </a:lnTo>
                      <a:lnTo>
                        <a:pt x="4" y="1"/>
                      </a:lnTo>
                      <a:lnTo>
                        <a:pt x="3" y="1"/>
                      </a:lnTo>
                      <a:lnTo>
                        <a:pt x="3" y="2"/>
                      </a:lnTo>
                      <a:lnTo>
                        <a:pt x="2" y="2"/>
                      </a:lnTo>
                      <a:lnTo>
                        <a:pt x="2" y="1"/>
                      </a:lnTo>
                      <a:lnTo>
                        <a:pt x="1" y="1"/>
                      </a:lnTo>
                      <a:lnTo>
                        <a:pt x="1" y="0"/>
                      </a:lnTo>
                      <a:lnTo>
                        <a:pt x="0" y="0"/>
                      </a:lnTo>
                      <a:lnTo>
                        <a:pt x="0" y="1"/>
                      </a:lnTo>
                      <a:lnTo>
                        <a:pt x="1" y="1"/>
                      </a:lnTo>
                      <a:lnTo>
                        <a:pt x="1" y="2"/>
                      </a:lnTo>
                      <a:lnTo>
                        <a:pt x="2" y="2"/>
                      </a:lnTo>
                      <a:lnTo>
                        <a:pt x="2" y="4"/>
                      </a:lnTo>
                      <a:lnTo>
                        <a:pt x="1" y="4"/>
                      </a:lnTo>
                      <a:lnTo>
                        <a:pt x="1" y="5"/>
                      </a:lnTo>
                      <a:lnTo>
                        <a:pt x="0" y="5"/>
                      </a:lnTo>
                      <a:lnTo>
                        <a:pt x="0" y="6"/>
                      </a:lnTo>
                      <a:lnTo>
                        <a:pt x="1" y="6"/>
                      </a:lnTo>
                      <a:lnTo>
                        <a:pt x="1" y="5"/>
                      </a:lnTo>
                      <a:lnTo>
                        <a:pt x="2" y="5"/>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098" name="Freeform 186"/>
                <p:cNvSpPr>
                  <a:spLocks noEditPoints="1"/>
                </p:cNvSpPr>
                <p:nvPr/>
              </p:nvSpPr>
              <p:spPr bwMode="auto">
                <a:xfrm>
                  <a:off x="1722501" y="2285703"/>
                  <a:ext cx="4550765" cy="269011"/>
                </a:xfrm>
                <a:custGeom>
                  <a:avLst/>
                  <a:gdLst>
                    <a:gd name="T0" fmla="*/ 443 w 609"/>
                    <a:gd name="T1" fmla="*/ 36 h 36"/>
                    <a:gd name="T2" fmla="*/ 443 w 609"/>
                    <a:gd name="T3" fmla="*/ 0 h 36"/>
                    <a:gd name="T4" fmla="*/ 609 w 609"/>
                    <a:gd name="T5" fmla="*/ 0 h 36"/>
                    <a:gd name="T6" fmla="*/ 609 w 609"/>
                    <a:gd name="T7" fmla="*/ 36 h 36"/>
                    <a:gd name="T8" fmla="*/ 443 w 609"/>
                    <a:gd name="T9" fmla="*/ 36 h 36"/>
                    <a:gd name="T10" fmla="*/ 443 w 609"/>
                    <a:gd name="T11" fmla="*/ 36 h 36"/>
                    <a:gd name="T12" fmla="*/ 212 w 609"/>
                    <a:gd name="T13" fmla="*/ 36 h 36"/>
                    <a:gd name="T14" fmla="*/ 212 w 609"/>
                    <a:gd name="T15" fmla="*/ 12 h 36"/>
                    <a:gd name="T16" fmla="*/ 404 w 609"/>
                    <a:gd name="T17" fmla="*/ 12 h 36"/>
                    <a:gd name="T18" fmla="*/ 404 w 609"/>
                    <a:gd name="T19" fmla="*/ 36 h 36"/>
                    <a:gd name="T20" fmla="*/ 212 w 609"/>
                    <a:gd name="T21" fmla="*/ 36 h 36"/>
                    <a:gd name="T22" fmla="*/ 212 w 609"/>
                    <a:gd name="T23" fmla="*/ 36 h 36"/>
                    <a:gd name="T24" fmla="*/ 0 w 609"/>
                    <a:gd name="T25" fmla="*/ 36 h 36"/>
                    <a:gd name="T26" fmla="*/ 0 w 609"/>
                    <a:gd name="T27" fmla="*/ 0 h 36"/>
                    <a:gd name="T28" fmla="*/ 162 w 609"/>
                    <a:gd name="T29" fmla="*/ 0 h 36"/>
                    <a:gd name="T30" fmla="*/ 162 w 609"/>
                    <a:gd name="T31" fmla="*/ 36 h 36"/>
                    <a:gd name="T32" fmla="*/ 0 w 609"/>
                    <a:gd name="T33" fmla="*/ 36 h 36"/>
                    <a:gd name="T34" fmla="*/ 0 w 609"/>
                    <a:gd name="T35" fmla="*/ 36 h 36"/>
                    <a:gd name="T36" fmla="*/ 111 w 609"/>
                    <a:gd name="T37" fmla="*/ 24 h 36"/>
                    <a:gd name="T38" fmla="*/ 111 w 609"/>
                    <a:gd name="T39" fmla="*/ 16 h 36"/>
                    <a:gd name="T40" fmla="*/ 157 w 609"/>
                    <a:gd name="T41" fmla="*/ 16 h 36"/>
                    <a:gd name="T42" fmla="*/ 157 w 609"/>
                    <a:gd name="T43" fmla="*/ 24 h 36"/>
                    <a:gd name="T44" fmla="*/ 111 w 609"/>
                    <a:gd name="T45" fmla="*/ 24 h 36"/>
                    <a:gd name="T46" fmla="*/ 111 w 609"/>
                    <a:gd name="T47" fmla="*/ 24 h 36"/>
                    <a:gd name="T48" fmla="*/ 111 w 609"/>
                    <a:gd name="T49" fmla="*/ 14 h 36"/>
                    <a:gd name="T50" fmla="*/ 111 w 609"/>
                    <a:gd name="T51" fmla="*/ 5 h 36"/>
                    <a:gd name="T52" fmla="*/ 157 w 609"/>
                    <a:gd name="T53" fmla="*/ 5 h 36"/>
                    <a:gd name="T54" fmla="*/ 157 w 609"/>
                    <a:gd name="T55" fmla="*/ 14 h 36"/>
                    <a:gd name="T56" fmla="*/ 111 w 609"/>
                    <a:gd name="T57" fmla="*/ 14 h 36"/>
                    <a:gd name="T58" fmla="*/ 111 w 609"/>
                    <a:gd name="T5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6">
                      <a:moveTo>
                        <a:pt x="443" y="36"/>
                      </a:moveTo>
                      <a:lnTo>
                        <a:pt x="443" y="0"/>
                      </a:lnTo>
                      <a:lnTo>
                        <a:pt x="609" y="0"/>
                      </a:lnTo>
                      <a:lnTo>
                        <a:pt x="609" y="36"/>
                      </a:lnTo>
                      <a:lnTo>
                        <a:pt x="443" y="36"/>
                      </a:lnTo>
                      <a:lnTo>
                        <a:pt x="443" y="36"/>
                      </a:lnTo>
                      <a:close/>
                      <a:moveTo>
                        <a:pt x="212" y="36"/>
                      </a:moveTo>
                      <a:lnTo>
                        <a:pt x="212" y="12"/>
                      </a:lnTo>
                      <a:lnTo>
                        <a:pt x="404" y="12"/>
                      </a:lnTo>
                      <a:lnTo>
                        <a:pt x="404" y="36"/>
                      </a:lnTo>
                      <a:lnTo>
                        <a:pt x="212" y="36"/>
                      </a:lnTo>
                      <a:lnTo>
                        <a:pt x="212" y="36"/>
                      </a:lnTo>
                      <a:close/>
                      <a:moveTo>
                        <a:pt x="0" y="36"/>
                      </a:moveTo>
                      <a:lnTo>
                        <a:pt x="0" y="0"/>
                      </a:lnTo>
                      <a:lnTo>
                        <a:pt x="162" y="0"/>
                      </a:lnTo>
                      <a:lnTo>
                        <a:pt x="162" y="36"/>
                      </a:lnTo>
                      <a:lnTo>
                        <a:pt x="0" y="36"/>
                      </a:lnTo>
                      <a:lnTo>
                        <a:pt x="0" y="36"/>
                      </a:lnTo>
                      <a:close/>
                      <a:moveTo>
                        <a:pt x="111" y="24"/>
                      </a:moveTo>
                      <a:lnTo>
                        <a:pt x="111" y="16"/>
                      </a:lnTo>
                      <a:lnTo>
                        <a:pt x="157" y="16"/>
                      </a:lnTo>
                      <a:lnTo>
                        <a:pt x="157" y="24"/>
                      </a:lnTo>
                      <a:lnTo>
                        <a:pt x="111" y="24"/>
                      </a:lnTo>
                      <a:lnTo>
                        <a:pt x="111" y="24"/>
                      </a:lnTo>
                      <a:close/>
                      <a:moveTo>
                        <a:pt x="111" y="14"/>
                      </a:moveTo>
                      <a:lnTo>
                        <a:pt x="111" y="5"/>
                      </a:lnTo>
                      <a:lnTo>
                        <a:pt x="157" y="5"/>
                      </a:lnTo>
                      <a:lnTo>
                        <a:pt x="157" y="14"/>
                      </a:lnTo>
                      <a:lnTo>
                        <a:pt x="111" y="14"/>
                      </a:lnTo>
                      <a:lnTo>
                        <a:pt x="111" y="1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9" name="Freeform 187"/>
                <p:cNvSpPr>
                  <a:spLocks/>
                </p:cNvSpPr>
                <p:nvPr/>
              </p:nvSpPr>
              <p:spPr bwMode="auto">
                <a:xfrm>
                  <a:off x="5077658" y="2330539"/>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0" name="Freeform 188"/>
                <p:cNvSpPr>
                  <a:spLocks/>
                </p:cNvSpPr>
                <p:nvPr/>
              </p:nvSpPr>
              <p:spPr bwMode="auto">
                <a:xfrm>
                  <a:off x="5107548" y="23305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1" name="Freeform 189"/>
                <p:cNvSpPr>
                  <a:spLocks/>
                </p:cNvSpPr>
                <p:nvPr/>
              </p:nvSpPr>
              <p:spPr bwMode="auto">
                <a:xfrm>
                  <a:off x="5137438"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2" name="Freeform 190"/>
                <p:cNvSpPr>
                  <a:spLocks/>
                </p:cNvSpPr>
                <p:nvPr/>
              </p:nvSpPr>
              <p:spPr bwMode="auto">
                <a:xfrm>
                  <a:off x="5189748" y="2330539"/>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3" name="Freeform 191"/>
                <p:cNvSpPr>
                  <a:spLocks/>
                </p:cNvSpPr>
                <p:nvPr/>
              </p:nvSpPr>
              <p:spPr bwMode="auto">
                <a:xfrm>
                  <a:off x="5227109" y="2330539"/>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4" name="Freeform 192"/>
                <p:cNvSpPr>
                  <a:spLocks noEditPoints="1"/>
                </p:cNvSpPr>
                <p:nvPr/>
              </p:nvSpPr>
              <p:spPr bwMode="auto">
                <a:xfrm>
                  <a:off x="5256999" y="233053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5" name="Freeform 193"/>
                <p:cNvSpPr>
                  <a:spLocks/>
                </p:cNvSpPr>
                <p:nvPr/>
              </p:nvSpPr>
              <p:spPr bwMode="auto">
                <a:xfrm>
                  <a:off x="5294364" y="233053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6" name="Freeform 194"/>
                <p:cNvSpPr>
                  <a:spLocks noEditPoints="1"/>
                </p:cNvSpPr>
                <p:nvPr/>
              </p:nvSpPr>
              <p:spPr bwMode="auto">
                <a:xfrm>
                  <a:off x="5331724" y="2330539"/>
                  <a:ext cx="22420"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7" name="Freeform 195"/>
                <p:cNvSpPr>
                  <a:spLocks noEditPoints="1"/>
                </p:cNvSpPr>
                <p:nvPr/>
              </p:nvSpPr>
              <p:spPr bwMode="auto">
                <a:xfrm>
                  <a:off x="5361614" y="2330539"/>
                  <a:ext cx="37365" cy="44835"/>
                </a:xfrm>
                <a:custGeom>
                  <a:avLst/>
                  <a:gdLst>
                    <a:gd name="T0" fmla="*/ 5 w 5"/>
                    <a:gd name="T1" fmla="*/ 6 h 6"/>
                    <a:gd name="T2" fmla="*/ 5 w 5"/>
                    <a:gd name="T3" fmla="*/ 3 h 6"/>
                    <a:gd name="T4" fmla="*/ 3 w 5"/>
                    <a:gd name="T5" fmla="*/ 3 h 6"/>
                    <a:gd name="T6" fmla="*/ 3 w 5"/>
                    <a:gd name="T7" fmla="*/ 2 h 6"/>
                    <a:gd name="T8" fmla="*/ 3 w 5"/>
                    <a:gd name="T9" fmla="*/ 2 h 6"/>
                    <a:gd name="T10" fmla="*/ 3 w 5"/>
                    <a:gd name="T11" fmla="*/ 0 h 6"/>
                    <a:gd name="T12" fmla="*/ 2 w 5"/>
                    <a:gd name="T13" fmla="*/ 0 h 6"/>
                    <a:gd name="T14" fmla="*/ 2 w 5"/>
                    <a:gd name="T15" fmla="*/ 2 h 6"/>
                    <a:gd name="T16" fmla="*/ 1 w 5"/>
                    <a:gd name="T17" fmla="*/ 2 h 6"/>
                    <a:gd name="T18" fmla="*/ 1 w 5"/>
                    <a:gd name="T19" fmla="*/ 3 h 6"/>
                    <a:gd name="T20" fmla="*/ 0 w 5"/>
                    <a:gd name="T21" fmla="*/ 3 h 6"/>
                    <a:gd name="T22" fmla="*/ 0 w 5"/>
                    <a:gd name="T23" fmla="*/ 6 h 6"/>
                    <a:gd name="T24" fmla="*/ 1 w 5"/>
                    <a:gd name="T25" fmla="*/ 6 h 6"/>
                    <a:gd name="T26" fmla="*/ 1 w 5"/>
                    <a:gd name="T27" fmla="*/ 4 h 6"/>
                    <a:gd name="T28" fmla="*/ 3 w 5"/>
                    <a:gd name="T29" fmla="*/ 4 h 6"/>
                    <a:gd name="T30" fmla="*/ 3 w 5"/>
                    <a:gd name="T31" fmla="*/ 6 h 6"/>
                    <a:gd name="T32" fmla="*/ 5 w 5"/>
                    <a:gd name="T33" fmla="*/ 6 h 6"/>
                    <a:gd name="T34" fmla="*/ 5 w 5"/>
                    <a:gd name="T35" fmla="*/ 6 h 6"/>
                    <a:gd name="T36" fmla="*/ 3 w 5"/>
                    <a:gd name="T37" fmla="*/ 3 h 6"/>
                    <a:gd name="T38" fmla="*/ 2 w 5"/>
                    <a:gd name="T39" fmla="*/ 3 h 6"/>
                    <a:gd name="T40" fmla="*/ 2 w 5"/>
                    <a:gd name="T41" fmla="*/ 2 h 6"/>
                    <a:gd name="T42" fmla="*/ 3 w 5"/>
                    <a:gd name="T43" fmla="*/ 2 h 6"/>
                    <a:gd name="T44" fmla="*/ 3 w 5"/>
                    <a:gd name="T45" fmla="*/ 3 h 6"/>
                    <a:gd name="T46" fmla="*/ 3 w 5"/>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6">
                      <a:moveTo>
                        <a:pt x="5" y="6"/>
                      </a:moveTo>
                      <a:lnTo>
                        <a:pt x="5"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8" name="Freeform 196"/>
                <p:cNvSpPr>
                  <a:spLocks/>
                </p:cNvSpPr>
                <p:nvPr/>
              </p:nvSpPr>
              <p:spPr bwMode="auto">
                <a:xfrm>
                  <a:off x="5398979" y="23305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09" name="Freeform 197"/>
                <p:cNvSpPr>
                  <a:spLocks/>
                </p:cNvSpPr>
                <p:nvPr/>
              </p:nvSpPr>
              <p:spPr bwMode="auto">
                <a:xfrm>
                  <a:off x="5436339" y="2330539"/>
                  <a:ext cx="22420"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0" name="Freeform 198"/>
                <p:cNvSpPr>
                  <a:spLocks noEditPoints="1"/>
                </p:cNvSpPr>
                <p:nvPr/>
              </p:nvSpPr>
              <p:spPr bwMode="auto">
                <a:xfrm>
                  <a:off x="5608209" y="2330539"/>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1" name="Freeform 199"/>
                <p:cNvSpPr>
                  <a:spLocks/>
                </p:cNvSpPr>
                <p:nvPr/>
              </p:nvSpPr>
              <p:spPr bwMode="auto">
                <a:xfrm>
                  <a:off x="5653044" y="2330539"/>
                  <a:ext cx="22420"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2" name="Freeform 200"/>
                <p:cNvSpPr>
                  <a:spLocks/>
                </p:cNvSpPr>
                <p:nvPr/>
              </p:nvSpPr>
              <p:spPr bwMode="auto">
                <a:xfrm>
                  <a:off x="5682934" y="2330539"/>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3" name="Freeform 201"/>
                <p:cNvSpPr>
                  <a:spLocks/>
                </p:cNvSpPr>
                <p:nvPr/>
              </p:nvSpPr>
              <p:spPr bwMode="auto">
                <a:xfrm>
                  <a:off x="5720295" y="2330539"/>
                  <a:ext cx="22420" cy="44835"/>
                </a:xfrm>
                <a:custGeom>
                  <a:avLst/>
                  <a:gdLst>
                    <a:gd name="T0" fmla="*/ 3 w 3"/>
                    <a:gd name="T1" fmla="*/ 1 h 6"/>
                    <a:gd name="T2" fmla="*/ 3 w 3"/>
                    <a:gd name="T3" fmla="*/ 0 h 6"/>
                    <a:gd name="T4" fmla="*/ 3 w 3"/>
                    <a:gd name="T5" fmla="*/ 0 h 6"/>
                    <a:gd name="T6" fmla="*/ 3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3 w 3"/>
                    <a:gd name="T29" fmla="*/ 3 h 6"/>
                    <a:gd name="T30" fmla="*/ 3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3" y="0"/>
                      </a:lnTo>
                      <a:lnTo>
                        <a:pt x="3" y="1"/>
                      </a:lnTo>
                      <a:lnTo>
                        <a:pt x="2" y="1"/>
                      </a:lnTo>
                      <a:lnTo>
                        <a:pt x="2" y="3"/>
                      </a:lnTo>
                      <a:lnTo>
                        <a:pt x="1" y="3"/>
                      </a:lnTo>
                      <a:lnTo>
                        <a:pt x="1" y="4"/>
                      </a:lnTo>
                      <a:lnTo>
                        <a:pt x="0" y="4"/>
                      </a:lnTo>
                      <a:lnTo>
                        <a:pt x="0" y="6"/>
                      </a:lnTo>
                      <a:lnTo>
                        <a:pt x="1" y="6"/>
                      </a:lnTo>
                      <a:lnTo>
                        <a:pt x="1" y="4"/>
                      </a:lnTo>
                      <a:lnTo>
                        <a:pt x="2" y="4"/>
                      </a:lnTo>
                      <a:lnTo>
                        <a:pt x="2" y="3"/>
                      </a:lnTo>
                      <a:lnTo>
                        <a:pt x="3" y="3"/>
                      </a:lnTo>
                      <a:lnTo>
                        <a:pt x="3"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4" name="Freeform 202"/>
                <p:cNvSpPr>
                  <a:spLocks/>
                </p:cNvSpPr>
                <p:nvPr/>
              </p:nvSpPr>
              <p:spPr bwMode="auto">
                <a:xfrm>
                  <a:off x="5750185" y="2330539"/>
                  <a:ext cx="37365" cy="44835"/>
                </a:xfrm>
                <a:custGeom>
                  <a:avLst/>
                  <a:gdLst>
                    <a:gd name="T0" fmla="*/ 5 w 5"/>
                    <a:gd name="T1" fmla="*/ 6 h 6"/>
                    <a:gd name="T2" fmla="*/ 5 w 5"/>
                    <a:gd name="T3" fmla="*/ 5 h 6"/>
                    <a:gd name="T4" fmla="*/ 3 w 5"/>
                    <a:gd name="T5" fmla="*/ 5 h 6"/>
                    <a:gd name="T6" fmla="*/ 3 w 5"/>
                    <a:gd name="T7" fmla="*/ 4 h 6"/>
                    <a:gd name="T8" fmla="*/ 3 w 5"/>
                    <a:gd name="T9" fmla="*/ 4 h 6"/>
                    <a:gd name="T10" fmla="*/ 3 w 5"/>
                    <a:gd name="T11" fmla="*/ 3 h 6"/>
                    <a:gd name="T12" fmla="*/ 2 w 5"/>
                    <a:gd name="T13" fmla="*/ 3 h 6"/>
                    <a:gd name="T14" fmla="*/ 2 w 5"/>
                    <a:gd name="T15" fmla="*/ 3 h 6"/>
                    <a:gd name="T16" fmla="*/ 3 w 5"/>
                    <a:gd name="T17" fmla="*/ 3 h 6"/>
                    <a:gd name="T18" fmla="*/ 3 w 5"/>
                    <a:gd name="T19" fmla="*/ 2 h 6"/>
                    <a:gd name="T20" fmla="*/ 3 w 5"/>
                    <a:gd name="T21" fmla="*/ 2 h 6"/>
                    <a:gd name="T22" fmla="*/ 3 w 5"/>
                    <a:gd name="T23" fmla="*/ 1 h 6"/>
                    <a:gd name="T24" fmla="*/ 5 w 5"/>
                    <a:gd name="T25" fmla="*/ 1 h 6"/>
                    <a:gd name="T26" fmla="*/ 5 w 5"/>
                    <a:gd name="T27" fmla="*/ 0 h 6"/>
                    <a:gd name="T28" fmla="*/ 3 w 5"/>
                    <a:gd name="T29" fmla="*/ 0 h 6"/>
                    <a:gd name="T30" fmla="*/ 3 w 5"/>
                    <a:gd name="T31" fmla="*/ 1 h 6"/>
                    <a:gd name="T32" fmla="*/ 3 w 5"/>
                    <a:gd name="T33" fmla="*/ 1 h 6"/>
                    <a:gd name="T34" fmla="*/ 3 w 5"/>
                    <a:gd name="T35" fmla="*/ 2 h 6"/>
                    <a:gd name="T36" fmla="*/ 2 w 5"/>
                    <a:gd name="T37" fmla="*/ 2 h 6"/>
                    <a:gd name="T38" fmla="*/ 2 w 5"/>
                    <a:gd name="T39" fmla="*/ 3 h 6"/>
                    <a:gd name="T40" fmla="*/ 1 w 5"/>
                    <a:gd name="T41" fmla="*/ 3 h 6"/>
                    <a:gd name="T42" fmla="*/ 1 w 5"/>
                    <a:gd name="T43" fmla="*/ 0 h 6"/>
                    <a:gd name="T44" fmla="*/ 0 w 5"/>
                    <a:gd name="T45" fmla="*/ 0 h 6"/>
                    <a:gd name="T46" fmla="*/ 0 w 5"/>
                    <a:gd name="T47" fmla="*/ 6 h 6"/>
                    <a:gd name="T48" fmla="*/ 1 w 5"/>
                    <a:gd name="T49" fmla="*/ 6 h 6"/>
                    <a:gd name="T50" fmla="*/ 1 w 5"/>
                    <a:gd name="T51" fmla="*/ 3 h 6"/>
                    <a:gd name="T52" fmla="*/ 2 w 5"/>
                    <a:gd name="T53" fmla="*/ 3 h 6"/>
                    <a:gd name="T54" fmla="*/ 2 w 5"/>
                    <a:gd name="T55" fmla="*/ 4 h 6"/>
                    <a:gd name="T56" fmla="*/ 3 w 5"/>
                    <a:gd name="T57" fmla="*/ 4 h 6"/>
                    <a:gd name="T58" fmla="*/ 3 w 5"/>
                    <a:gd name="T59" fmla="*/ 5 h 6"/>
                    <a:gd name="T60" fmla="*/ 3 w 5"/>
                    <a:gd name="T61" fmla="*/ 5 h 6"/>
                    <a:gd name="T62" fmla="*/ 3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3" y="5"/>
                      </a:lnTo>
                      <a:lnTo>
                        <a:pt x="3" y="4"/>
                      </a:lnTo>
                      <a:lnTo>
                        <a:pt x="3" y="4"/>
                      </a:lnTo>
                      <a:lnTo>
                        <a:pt x="3" y="3"/>
                      </a:lnTo>
                      <a:lnTo>
                        <a:pt x="2" y="3"/>
                      </a:lnTo>
                      <a:lnTo>
                        <a:pt x="2" y="3"/>
                      </a:lnTo>
                      <a:lnTo>
                        <a:pt x="3" y="3"/>
                      </a:lnTo>
                      <a:lnTo>
                        <a:pt x="3" y="2"/>
                      </a:lnTo>
                      <a:lnTo>
                        <a:pt x="3" y="2"/>
                      </a:lnTo>
                      <a:lnTo>
                        <a:pt x="3" y="1"/>
                      </a:lnTo>
                      <a:lnTo>
                        <a:pt x="5" y="1"/>
                      </a:lnTo>
                      <a:lnTo>
                        <a:pt x="5" y="0"/>
                      </a:lnTo>
                      <a:lnTo>
                        <a:pt x="3" y="0"/>
                      </a:lnTo>
                      <a:lnTo>
                        <a:pt x="3" y="1"/>
                      </a:lnTo>
                      <a:lnTo>
                        <a:pt x="3" y="1"/>
                      </a:lnTo>
                      <a:lnTo>
                        <a:pt x="3" y="2"/>
                      </a:lnTo>
                      <a:lnTo>
                        <a:pt x="2" y="2"/>
                      </a:lnTo>
                      <a:lnTo>
                        <a:pt x="2" y="3"/>
                      </a:lnTo>
                      <a:lnTo>
                        <a:pt x="1" y="3"/>
                      </a:lnTo>
                      <a:lnTo>
                        <a:pt x="1" y="0"/>
                      </a:lnTo>
                      <a:lnTo>
                        <a:pt x="0" y="0"/>
                      </a:lnTo>
                      <a:lnTo>
                        <a:pt x="0" y="6"/>
                      </a:lnTo>
                      <a:lnTo>
                        <a:pt x="1" y="6"/>
                      </a:lnTo>
                      <a:lnTo>
                        <a:pt x="1" y="3"/>
                      </a:lnTo>
                      <a:lnTo>
                        <a:pt x="2" y="3"/>
                      </a:lnTo>
                      <a:lnTo>
                        <a:pt x="2" y="4"/>
                      </a:lnTo>
                      <a:lnTo>
                        <a:pt x="3" y="4"/>
                      </a:lnTo>
                      <a:lnTo>
                        <a:pt x="3" y="5"/>
                      </a:lnTo>
                      <a:lnTo>
                        <a:pt x="3" y="5"/>
                      </a:lnTo>
                      <a:lnTo>
                        <a:pt x="3"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5" name="Freeform 203"/>
                <p:cNvSpPr>
                  <a:spLocks/>
                </p:cNvSpPr>
                <p:nvPr/>
              </p:nvSpPr>
              <p:spPr bwMode="auto">
                <a:xfrm>
                  <a:off x="5787550" y="2330539"/>
                  <a:ext cx="44835" cy="44835"/>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2 w 6"/>
                    <a:gd name="T17" fmla="*/ 3 h 6"/>
                    <a:gd name="T18" fmla="*/ 2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6"/>
                      </a:lnTo>
                      <a:lnTo>
                        <a:pt x="2" y="6"/>
                      </a:lnTo>
                      <a:lnTo>
                        <a:pt x="2"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6" name="Freeform 204"/>
                <p:cNvSpPr>
                  <a:spLocks/>
                </p:cNvSpPr>
                <p:nvPr/>
              </p:nvSpPr>
              <p:spPr bwMode="auto">
                <a:xfrm>
                  <a:off x="5832385" y="2330539"/>
                  <a:ext cx="37365" cy="44835"/>
                </a:xfrm>
                <a:custGeom>
                  <a:avLst/>
                  <a:gdLst>
                    <a:gd name="T0" fmla="*/ 5 w 5"/>
                    <a:gd name="T1" fmla="*/ 6 h 6"/>
                    <a:gd name="T2" fmla="*/ 5 w 5"/>
                    <a:gd name="T3" fmla="*/ 0 h 6"/>
                    <a:gd name="T4" fmla="*/ 4 w 5"/>
                    <a:gd name="T5" fmla="*/ 0 h 6"/>
                    <a:gd name="T6" fmla="*/ 4 w 5"/>
                    <a:gd name="T7" fmla="*/ 3 h 6"/>
                    <a:gd name="T8" fmla="*/ 2 w 5"/>
                    <a:gd name="T9" fmla="*/ 3 h 6"/>
                    <a:gd name="T10" fmla="*/ 2 w 5"/>
                    <a:gd name="T11" fmla="*/ 0 h 6"/>
                    <a:gd name="T12" fmla="*/ 0 w 5"/>
                    <a:gd name="T13" fmla="*/ 0 h 6"/>
                    <a:gd name="T14" fmla="*/ 0 w 5"/>
                    <a:gd name="T15" fmla="*/ 6 h 6"/>
                    <a:gd name="T16" fmla="*/ 2 w 5"/>
                    <a:gd name="T17" fmla="*/ 6 h 6"/>
                    <a:gd name="T18" fmla="*/ 2 w 5"/>
                    <a:gd name="T19" fmla="*/ 3 h 6"/>
                    <a:gd name="T20" fmla="*/ 4 w 5"/>
                    <a:gd name="T21" fmla="*/ 3 h 6"/>
                    <a:gd name="T22" fmla="*/ 4 w 5"/>
                    <a:gd name="T23" fmla="*/ 6 h 6"/>
                    <a:gd name="T24" fmla="*/ 5 w 5"/>
                    <a:gd name="T25" fmla="*/ 6 h 6"/>
                    <a:gd name="T26" fmla="*/ 5 w 5"/>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5" y="6"/>
                      </a:moveTo>
                      <a:lnTo>
                        <a:pt x="5" y="0"/>
                      </a:lnTo>
                      <a:lnTo>
                        <a:pt x="4" y="0"/>
                      </a:lnTo>
                      <a:lnTo>
                        <a:pt x="4" y="3"/>
                      </a:lnTo>
                      <a:lnTo>
                        <a:pt x="2" y="3"/>
                      </a:lnTo>
                      <a:lnTo>
                        <a:pt x="2" y="0"/>
                      </a:lnTo>
                      <a:lnTo>
                        <a:pt x="0" y="0"/>
                      </a:lnTo>
                      <a:lnTo>
                        <a:pt x="0" y="6"/>
                      </a:lnTo>
                      <a:lnTo>
                        <a:pt x="2" y="6"/>
                      </a:lnTo>
                      <a:lnTo>
                        <a:pt x="2" y="3"/>
                      </a:lnTo>
                      <a:lnTo>
                        <a:pt x="4" y="3"/>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7" name="Freeform 205"/>
                <p:cNvSpPr>
                  <a:spLocks noEditPoints="1"/>
                </p:cNvSpPr>
                <p:nvPr/>
              </p:nvSpPr>
              <p:spPr bwMode="auto">
                <a:xfrm>
                  <a:off x="5899635" y="2330539"/>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6"/>
                      </a:lnTo>
                      <a:lnTo>
                        <a:pt x="2" y="6"/>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8" name="Freeform 206"/>
                <p:cNvSpPr>
                  <a:spLocks/>
                </p:cNvSpPr>
                <p:nvPr/>
              </p:nvSpPr>
              <p:spPr bwMode="auto">
                <a:xfrm>
                  <a:off x="5937000" y="2330539"/>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1" y="4"/>
                      </a:lnTo>
                      <a:lnTo>
                        <a:pt x="1"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19" name="Freeform 207"/>
                <p:cNvSpPr>
                  <a:spLocks noEditPoints="1"/>
                </p:cNvSpPr>
                <p:nvPr/>
              </p:nvSpPr>
              <p:spPr bwMode="auto">
                <a:xfrm>
                  <a:off x="5974360" y="2330539"/>
                  <a:ext cx="22420"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0" name="Freeform 208"/>
                <p:cNvSpPr>
                  <a:spLocks noEditPoints="1"/>
                </p:cNvSpPr>
                <p:nvPr/>
              </p:nvSpPr>
              <p:spPr bwMode="auto">
                <a:xfrm>
                  <a:off x="6011725" y="233053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2 w 4"/>
                    <a:gd name="T45" fmla="*/ 3 h 6"/>
                    <a:gd name="T46" fmla="*/ 1 w 4"/>
                    <a:gd name="T47" fmla="*/ 3 h 6"/>
                    <a:gd name="T48" fmla="*/ 1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1" name="Freeform 209"/>
                <p:cNvSpPr>
                  <a:spLocks/>
                </p:cNvSpPr>
                <p:nvPr/>
              </p:nvSpPr>
              <p:spPr bwMode="auto">
                <a:xfrm>
                  <a:off x="6049085" y="2367903"/>
                  <a:ext cx="0" cy="7475"/>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2" name="Freeform 210"/>
                <p:cNvSpPr>
                  <a:spLocks/>
                </p:cNvSpPr>
                <p:nvPr/>
              </p:nvSpPr>
              <p:spPr bwMode="auto">
                <a:xfrm>
                  <a:off x="6064030" y="2330539"/>
                  <a:ext cx="22420" cy="44835"/>
                </a:xfrm>
                <a:custGeom>
                  <a:avLst/>
                  <a:gdLst>
                    <a:gd name="T0" fmla="*/ 3 w 3"/>
                    <a:gd name="T1" fmla="*/ 3 h 6"/>
                    <a:gd name="T2" fmla="*/ 3 w 3"/>
                    <a:gd name="T3" fmla="*/ 0 h 6"/>
                    <a:gd name="T4" fmla="*/ 0 w 3"/>
                    <a:gd name="T5" fmla="*/ 0 h 6"/>
                    <a:gd name="T6" fmla="*/ 0 w 3"/>
                    <a:gd name="T7" fmla="*/ 1 h 6"/>
                    <a:gd name="T8" fmla="*/ 2 w 3"/>
                    <a:gd name="T9" fmla="*/ 1 h 6"/>
                    <a:gd name="T10" fmla="*/ 2 w 3"/>
                    <a:gd name="T11" fmla="*/ 3 h 6"/>
                    <a:gd name="T12" fmla="*/ 2 w 3"/>
                    <a:gd name="T13" fmla="*/ 3 h 6"/>
                    <a:gd name="T14" fmla="*/ 2 w 3"/>
                    <a:gd name="T15" fmla="*/ 4 h 6"/>
                    <a:gd name="T16" fmla="*/ 1 w 3"/>
                    <a:gd name="T17" fmla="*/ 4 h 6"/>
                    <a:gd name="T18" fmla="*/ 1 w 3"/>
                    <a:gd name="T19" fmla="*/ 6 h 6"/>
                    <a:gd name="T20" fmla="*/ 2 w 3"/>
                    <a:gd name="T21" fmla="*/ 6 h 6"/>
                    <a:gd name="T22" fmla="*/ 2 w 3"/>
                    <a:gd name="T23" fmla="*/ 4 h 6"/>
                    <a:gd name="T24" fmla="*/ 2 w 3"/>
                    <a:gd name="T25" fmla="*/ 4 h 6"/>
                    <a:gd name="T26" fmla="*/ 2 w 3"/>
                    <a:gd name="T27" fmla="*/ 3 h 6"/>
                    <a:gd name="T28" fmla="*/ 3 w 3"/>
                    <a:gd name="T29" fmla="*/ 3 h 6"/>
                    <a:gd name="T30" fmla="*/ 3 w 3"/>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3"/>
                      </a:moveTo>
                      <a:lnTo>
                        <a:pt x="3" y="0"/>
                      </a:lnTo>
                      <a:lnTo>
                        <a:pt x="0" y="0"/>
                      </a:lnTo>
                      <a:lnTo>
                        <a:pt x="0" y="1"/>
                      </a:lnTo>
                      <a:lnTo>
                        <a:pt x="2" y="1"/>
                      </a:lnTo>
                      <a:lnTo>
                        <a:pt x="2" y="3"/>
                      </a:lnTo>
                      <a:lnTo>
                        <a:pt x="2" y="3"/>
                      </a:lnTo>
                      <a:lnTo>
                        <a:pt x="2" y="4"/>
                      </a:lnTo>
                      <a:lnTo>
                        <a:pt x="1" y="4"/>
                      </a:lnTo>
                      <a:lnTo>
                        <a:pt x="1" y="6"/>
                      </a:lnTo>
                      <a:lnTo>
                        <a:pt x="2" y="6"/>
                      </a:lnTo>
                      <a:lnTo>
                        <a:pt x="2" y="4"/>
                      </a:lnTo>
                      <a:lnTo>
                        <a:pt x="2" y="4"/>
                      </a:lnTo>
                      <a:lnTo>
                        <a:pt x="2"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3" name="Freeform 211"/>
                <p:cNvSpPr>
                  <a:spLocks noEditPoints="1"/>
                </p:cNvSpPr>
                <p:nvPr/>
              </p:nvSpPr>
              <p:spPr bwMode="auto">
                <a:xfrm>
                  <a:off x="6093921" y="2330539"/>
                  <a:ext cx="37365" cy="44835"/>
                </a:xfrm>
                <a:custGeom>
                  <a:avLst/>
                  <a:gdLst>
                    <a:gd name="T0" fmla="*/ 5 w 5"/>
                    <a:gd name="T1" fmla="*/ 4 h 6"/>
                    <a:gd name="T2" fmla="*/ 5 w 5"/>
                    <a:gd name="T3" fmla="*/ 3 h 6"/>
                    <a:gd name="T4" fmla="*/ 4 w 5"/>
                    <a:gd name="T5" fmla="*/ 3 h 6"/>
                    <a:gd name="T6" fmla="*/ 4 w 5"/>
                    <a:gd name="T7" fmla="*/ 0 h 6"/>
                    <a:gd name="T8" fmla="*/ 4 w 5"/>
                    <a:gd name="T9" fmla="*/ 0 h 6"/>
                    <a:gd name="T10" fmla="*/ 4 w 5"/>
                    <a:gd name="T11" fmla="*/ 1 h 6"/>
                    <a:gd name="T12" fmla="*/ 2 w 5"/>
                    <a:gd name="T13" fmla="*/ 1 h 6"/>
                    <a:gd name="T14" fmla="*/ 2 w 5"/>
                    <a:gd name="T15" fmla="*/ 2 h 6"/>
                    <a:gd name="T16" fmla="*/ 2 w 5"/>
                    <a:gd name="T17" fmla="*/ 2 h 6"/>
                    <a:gd name="T18" fmla="*/ 2 w 5"/>
                    <a:gd name="T19" fmla="*/ 3 h 6"/>
                    <a:gd name="T20" fmla="*/ 1 w 5"/>
                    <a:gd name="T21" fmla="*/ 3 h 6"/>
                    <a:gd name="T22" fmla="*/ 1 w 5"/>
                    <a:gd name="T23" fmla="*/ 3 h 6"/>
                    <a:gd name="T24" fmla="*/ 0 w 5"/>
                    <a:gd name="T25" fmla="*/ 3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3 h 6"/>
                    <a:gd name="T42" fmla="*/ 2 w 5"/>
                    <a:gd name="T43" fmla="*/ 3 h 6"/>
                    <a:gd name="T44" fmla="*/ 2 w 5"/>
                    <a:gd name="T45" fmla="*/ 3 h 6"/>
                    <a:gd name="T46" fmla="*/ 2 w 5"/>
                    <a:gd name="T47" fmla="*/ 3 h 6"/>
                    <a:gd name="T48" fmla="*/ 2 w 5"/>
                    <a:gd name="T49" fmla="*/ 2 h 6"/>
                    <a:gd name="T50" fmla="*/ 4 w 5"/>
                    <a:gd name="T51" fmla="*/ 2 h 6"/>
                    <a:gd name="T52" fmla="*/ 4 w 5"/>
                    <a:gd name="T53" fmla="*/ 3 h 6"/>
                    <a:gd name="T54" fmla="*/ 4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4" y="0"/>
                      </a:lnTo>
                      <a:lnTo>
                        <a:pt x="4" y="1"/>
                      </a:lnTo>
                      <a:lnTo>
                        <a:pt x="2" y="1"/>
                      </a:lnTo>
                      <a:lnTo>
                        <a:pt x="2" y="2"/>
                      </a:lnTo>
                      <a:lnTo>
                        <a:pt x="2" y="2"/>
                      </a:lnTo>
                      <a:lnTo>
                        <a:pt x="2" y="3"/>
                      </a:lnTo>
                      <a:lnTo>
                        <a:pt x="1" y="3"/>
                      </a:lnTo>
                      <a:lnTo>
                        <a:pt x="1" y="3"/>
                      </a:lnTo>
                      <a:lnTo>
                        <a:pt x="0" y="3"/>
                      </a:lnTo>
                      <a:lnTo>
                        <a:pt x="0" y="4"/>
                      </a:lnTo>
                      <a:lnTo>
                        <a:pt x="4" y="4"/>
                      </a:lnTo>
                      <a:lnTo>
                        <a:pt x="4" y="6"/>
                      </a:lnTo>
                      <a:lnTo>
                        <a:pt x="4" y="6"/>
                      </a:lnTo>
                      <a:lnTo>
                        <a:pt x="4" y="4"/>
                      </a:lnTo>
                      <a:lnTo>
                        <a:pt x="5" y="4"/>
                      </a:lnTo>
                      <a:lnTo>
                        <a:pt x="5" y="4"/>
                      </a:lnTo>
                      <a:close/>
                      <a:moveTo>
                        <a:pt x="4" y="3"/>
                      </a:moveTo>
                      <a:lnTo>
                        <a:pt x="2" y="3"/>
                      </a:lnTo>
                      <a:lnTo>
                        <a:pt x="2" y="3"/>
                      </a:ln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4" name="Freeform 212"/>
                <p:cNvSpPr>
                  <a:spLocks/>
                </p:cNvSpPr>
                <p:nvPr/>
              </p:nvSpPr>
              <p:spPr bwMode="auto">
                <a:xfrm>
                  <a:off x="6138756" y="23305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5" name="Freeform 213"/>
                <p:cNvSpPr>
                  <a:spLocks/>
                </p:cNvSpPr>
                <p:nvPr/>
              </p:nvSpPr>
              <p:spPr bwMode="auto">
                <a:xfrm>
                  <a:off x="5077658" y="2405264"/>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6" name="Freeform 214"/>
                <p:cNvSpPr>
                  <a:spLocks noEditPoints="1"/>
                </p:cNvSpPr>
                <p:nvPr/>
              </p:nvSpPr>
              <p:spPr bwMode="auto">
                <a:xfrm>
                  <a:off x="5107548" y="2405264"/>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2" y="6"/>
                      </a:lnTo>
                      <a:lnTo>
                        <a:pt x="2" y="4"/>
                      </a:lnTo>
                      <a:lnTo>
                        <a:pt x="3" y="4"/>
                      </a:lnTo>
                      <a:lnTo>
                        <a:pt x="3" y="4"/>
                      </a:lnTo>
                      <a:lnTo>
                        <a:pt x="4" y="4"/>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7" name="Freeform 215"/>
                <p:cNvSpPr>
                  <a:spLocks noEditPoints="1"/>
                </p:cNvSpPr>
                <p:nvPr/>
              </p:nvSpPr>
              <p:spPr bwMode="auto">
                <a:xfrm>
                  <a:off x="5152383" y="2405264"/>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8" name="Freeform 216"/>
                <p:cNvSpPr>
                  <a:spLocks/>
                </p:cNvSpPr>
                <p:nvPr/>
              </p:nvSpPr>
              <p:spPr bwMode="auto">
                <a:xfrm>
                  <a:off x="5182274" y="2405264"/>
                  <a:ext cx="29890" cy="44835"/>
                </a:xfrm>
                <a:custGeom>
                  <a:avLst/>
                  <a:gdLst>
                    <a:gd name="T0" fmla="*/ 4 w 4"/>
                    <a:gd name="T1" fmla="*/ 5 h 6"/>
                    <a:gd name="T2" fmla="*/ 4 w 4"/>
                    <a:gd name="T3" fmla="*/ 4 h 6"/>
                    <a:gd name="T4" fmla="*/ 4 w 4"/>
                    <a:gd name="T5" fmla="*/ 4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4 w 4"/>
                    <a:gd name="T37" fmla="*/ 4 h 6"/>
                    <a:gd name="T38" fmla="*/ 4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4" y="4"/>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4"/>
                      </a:lnTo>
                      <a:lnTo>
                        <a:pt x="4" y="4"/>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29" name="Freeform 217"/>
                <p:cNvSpPr>
                  <a:spLocks/>
                </p:cNvSpPr>
                <p:nvPr/>
              </p:nvSpPr>
              <p:spPr bwMode="auto">
                <a:xfrm>
                  <a:off x="5219638"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4 h 6"/>
                    <a:gd name="T36" fmla="*/ 3 w 4"/>
                    <a:gd name="T37" fmla="*/ 4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4"/>
                      </a:lnTo>
                      <a:lnTo>
                        <a:pt x="3" y="4"/>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4"/>
                      </a:lnTo>
                      <a:lnTo>
                        <a:pt x="3" y="4"/>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0" name="Freeform 218"/>
                <p:cNvSpPr>
                  <a:spLocks/>
                </p:cNvSpPr>
                <p:nvPr/>
              </p:nvSpPr>
              <p:spPr bwMode="auto">
                <a:xfrm>
                  <a:off x="5271944" y="2405264"/>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1" name="Freeform 219"/>
                <p:cNvSpPr>
                  <a:spLocks/>
                </p:cNvSpPr>
                <p:nvPr/>
              </p:nvSpPr>
              <p:spPr bwMode="auto">
                <a:xfrm>
                  <a:off x="5309309"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2" name="Freeform 220"/>
                <p:cNvSpPr>
                  <a:spLocks noEditPoints="1"/>
                </p:cNvSpPr>
                <p:nvPr/>
              </p:nvSpPr>
              <p:spPr bwMode="auto">
                <a:xfrm>
                  <a:off x="5339199" y="2405264"/>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3" name="Freeform 221"/>
                <p:cNvSpPr>
                  <a:spLocks/>
                </p:cNvSpPr>
                <p:nvPr/>
              </p:nvSpPr>
              <p:spPr bwMode="auto">
                <a:xfrm>
                  <a:off x="5376559"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4" name="Freeform 222"/>
                <p:cNvSpPr>
                  <a:spLocks noEditPoints="1"/>
                </p:cNvSpPr>
                <p:nvPr/>
              </p:nvSpPr>
              <p:spPr bwMode="auto">
                <a:xfrm>
                  <a:off x="5428869" y="2405264"/>
                  <a:ext cx="29890" cy="44835"/>
                </a:xfrm>
                <a:custGeom>
                  <a:avLst/>
                  <a:gdLst>
                    <a:gd name="T0" fmla="*/ 4 w 4"/>
                    <a:gd name="T1" fmla="*/ 6 h 6"/>
                    <a:gd name="T2" fmla="*/ 4 w 4"/>
                    <a:gd name="T3" fmla="*/ 4 h 6"/>
                    <a:gd name="T4" fmla="*/ 2 w 4"/>
                    <a:gd name="T5" fmla="*/ 4 h 6"/>
                    <a:gd name="T6" fmla="*/ 2 w 4"/>
                    <a:gd name="T7" fmla="*/ 3 h 6"/>
                    <a:gd name="T8" fmla="*/ 4 w 4"/>
                    <a:gd name="T9" fmla="*/ 3 h 6"/>
                    <a:gd name="T10" fmla="*/ 4 w 4"/>
                    <a:gd name="T11" fmla="*/ 1 h 6"/>
                    <a:gd name="T12" fmla="*/ 2 w 4"/>
                    <a:gd name="T13" fmla="*/ 1 h 6"/>
                    <a:gd name="T14" fmla="*/ 2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2 w 4"/>
                    <a:gd name="T29" fmla="*/ 4 h 6"/>
                    <a:gd name="T30" fmla="*/ 2 w 4"/>
                    <a:gd name="T31" fmla="*/ 6 h 6"/>
                    <a:gd name="T32" fmla="*/ 4 w 4"/>
                    <a:gd name="T33" fmla="*/ 6 h 6"/>
                    <a:gd name="T34" fmla="*/ 4 w 4"/>
                    <a:gd name="T35" fmla="*/ 6 h 6"/>
                    <a:gd name="T36" fmla="*/ 2 w 4"/>
                    <a:gd name="T37" fmla="*/ 3 h 6"/>
                    <a:gd name="T38" fmla="*/ 0 w 4"/>
                    <a:gd name="T39" fmla="*/ 3 h 6"/>
                    <a:gd name="T40" fmla="*/ 0 w 4"/>
                    <a:gd name="T41" fmla="*/ 1 h 6"/>
                    <a:gd name="T42" fmla="*/ 2 w 4"/>
                    <a:gd name="T43" fmla="*/ 1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2" y="4"/>
                      </a:lnTo>
                      <a:lnTo>
                        <a:pt x="2" y="3"/>
                      </a:lnTo>
                      <a:lnTo>
                        <a:pt x="4" y="3"/>
                      </a:lnTo>
                      <a:lnTo>
                        <a:pt x="4" y="1"/>
                      </a:lnTo>
                      <a:lnTo>
                        <a:pt x="2" y="1"/>
                      </a:lnTo>
                      <a:lnTo>
                        <a:pt x="2" y="0"/>
                      </a:lnTo>
                      <a:lnTo>
                        <a:pt x="0" y="0"/>
                      </a:lnTo>
                      <a:lnTo>
                        <a:pt x="0" y="6"/>
                      </a:lnTo>
                      <a:lnTo>
                        <a:pt x="0" y="6"/>
                      </a:lnTo>
                      <a:lnTo>
                        <a:pt x="0" y="4"/>
                      </a:lnTo>
                      <a:lnTo>
                        <a:pt x="2" y="4"/>
                      </a:lnTo>
                      <a:lnTo>
                        <a:pt x="2" y="4"/>
                      </a:lnTo>
                      <a:lnTo>
                        <a:pt x="2" y="4"/>
                      </a:lnTo>
                      <a:lnTo>
                        <a:pt x="2" y="6"/>
                      </a:lnTo>
                      <a:lnTo>
                        <a:pt x="4" y="6"/>
                      </a:lnTo>
                      <a:lnTo>
                        <a:pt x="4" y="6"/>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5" name="Freeform 223"/>
                <p:cNvSpPr>
                  <a:spLocks noEditPoints="1"/>
                </p:cNvSpPr>
                <p:nvPr/>
              </p:nvSpPr>
              <p:spPr bwMode="auto">
                <a:xfrm>
                  <a:off x="5458759" y="2405264"/>
                  <a:ext cx="29890" cy="44835"/>
                </a:xfrm>
                <a:custGeom>
                  <a:avLst/>
                  <a:gdLst>
                    <a:gd name="T0" fmla="*/ 4 w 4"/>
                    <a:gd name="T1" fmla="*/ 6 h 6"/>
                    <a:gd name="T2" fmla="*/ 4 w 4"/>
                    <a:gd name="T3" fmla="*/ 4 h 6"/>
                    <a:gd name="T4" fmla="*/ 4 w 4"/>
                    <a:gd name="T5" fmla="*/ 4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4 h 6"/>
                    <a:gd name="T38" fmla="*/ 2 w 4"/>
                    <a:gd name="T39" fmla="*/ 4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2" y="2"/>
                      </a:lnTo>
                      <a:lnTo>
                        <a:pt x="2" y="0"/>
                      </a:lnTo>
                      <a:lnTo>
                        <a:pt x="2" y="0"/>
                      </a:lnTo>
                      <a:lnTo>
                        <a:pt x="2" y="2"/>
                      </a:lnTo>
                      <a:lnTo>
                        <a:pt x="1" y="2"/>
                      </a:lnTo>
                      <a:lnTo>
                        <a:pt x="1" y="4"/>
                      </a:lnTo>
                      <a:lnTo>
                        <a:pt x="0" y="4"/>
                      </a:lnTo>
                      <a:lnTo>
                        <a:pt x="0" y="6"/>
                      </a:lnTo>
                      <a:lnTo>
                        <a:pt x="1" y="6"/>
                      </a:lnTo>
                      <a:lnTo>
                        <a:pt x="1" y="4"/>
                      </a:lnTo>
                      <a:lnTo>
                        <a:pt x="4" y="4"/>
                      </a:lnTo>
                      <a:lnTo>
                        <a:pt x="4" y="6"/>
                      </a:lnTo>
                      <a:lnTo>
                        <a:pt x="4" y="6"/>
                      </a:lnTo>
                      <a:lnTo>
                        <a:pt x="4" y="6"/>
                      </a:lnTo>
                      <a:close/>
                      <a:moveTo>
                        <a:pt x="2" y="4"/>
                      </a:moveTo>
                      <a:lnTo>
                        <a:pt x="2" y="4"/>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6" name="Freeform 224"/>
                <p:cNvSpPr>
                  <a:spLocks/>
                </p:cNvSpPr>
                <p:nvPr/>
              </p:nvSpPr>
              <p:spPr bwMode="auto">
                <a:xfrm>
                  <a:off x="5496119" y="2405264"/>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7" name="Freeform 225"/>
                <p:cNvSpPr>
                  <a:spLocks/>
                </p:cNvSpPr>
                <p:nvPr/>
              </p:nvSpPr>
              <p:spPr bwMode="auto">
                <a:xfrm>
                  <a:off x="5533484" y="2405264"/>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8" name="Freeform 226"/>
                <p:cNvSpPr>
                  <a:spLocks noEditPoints="1"/>
                </p:cNvSpPr>
                <p:nvPr/>
              </p:nvSpPr>
              <p:spPr bwMode="auto">
                <a:xfrm>
                  <a:off x="5615679" y="2405264"/>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39" name="Freeform 227"/>
                <p:cNvSpPr>
                  <a:spLocks/>
                </p:cNvSpPr>
                <p:nvPr/>
              </p:nvSpPr>
              <p:spPr bwMode="auto">
                <a:xfrm>
                  <a:off x="5653044" y="2405264"/>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0" name="Freeform 228"/>
                <p:cNvSpPr>
                  <a:spLocks/>
                </p:cNvSpPr>
                <p:nvPr/>
              </p:nvSpPr>
              <p:spPr bwMode="auto">
                <a:xfrm>
                  <a:off x="5690405" y="2405264"/>
                  <a:ext cx="29890" cy="44835"/>
                </a:xfrm>
                <a:custGeom>
                  <a:avLst/>
                  <a:gdLst>
                    <a:gd name="T0" fmla="*/ 4 w 4"/>
                    <a:gd name="T1" fmla="*/ 5 h 6"/>
                    <a:gd name="T2" fmla="*/ 4 w 4"/>
                    <a:gd name="T3" fmla="*/ 0 h 6"/>
                    <a:gd name="T4" fmla="*/ 3 w 4"/>
                    <a:gd name="T5" fmla="*/ 0 h 6"/>
                    <a:gd name="T6" fmla="*/ 3 w 4"/>
                    <a:gd name="T7" fmla="*/ 5 h 6"/>
                    <a:gd name="T8" fmla="*/ 0 w 4"/>
                    <a:gd name="T9" fmla="*/ 5 h 6"/>
                    <a:gd name="T10" fmla="*/ 0 w 4"/>
                    <a:gd name="T11" fmla="*/ 0 h 6"/>
                    <a:gd name="T12" fmla="*/ 0 w 4"/>
                    <a:gd name="T13" fmla="*/ 0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0" y="5"/>
                      </a:lnTo>
                      <a:lnTo>
                        <a:pt x="0" y="0"/>
                      </a:lnTo>
                      <a:lnTo>
                        <a:pt x="0" y="0"/>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1" name="Freeform 229"/>
                <p:cNvSpPr>
                  <a:spLocks/>
                </p:cNvSpPr>
                <p:nvPr/>
              </p:nvSpPr>
              <p:spPr bwMode="auto">
                <a:xfrm>
                  <a:off x="5720295" y="2405264"/>
                  <a:ext cx="29890" cy="44835"/>
                </a:xfrm>
                <a:custGeom>
                  <a:avLst/>
                  <a:gdLst>
                    <a:gd name="T0" fmla="*/ 4 w 4"/>
                    <a:gd name="T1" fmla="*/ 1 h 6"/>
                    <a:gd name="T2" fmla="*/ 4 w 4"/>
                    <a:gd name="T3" fmla="*/ 0 h 6"/>
                    <a:gd name="T4" fmla="*/ 3 w 4"/>
                    <a:gd name="T5" fmla="*/ 0 h 6"/>
                    <a:gd name="T6" fmla="*/ 3 w 4"/>
                    <a:gd name="T7" fmla="*/ 1 h 6"/>
                    <a:gd name="T8" fmla="*/ 2 w 4"/>
                    <a:gd name="T9" fmla="*/ 1 h 6"/>
                    <a:gd name="T10" fmla="*/ 2 w 4"/>
                    <a:gd name="T11" fmla="*/ 3 h 6"/>
                    <a:gd name="T12" fmla="*/ 2 w 4"/>
                    <a:gd name="T13" fmla="*/ 3 h 6"/>
                    <a:gd name="T14" fmla="*/ 2 w 4"/>
                    <a:gd name="T15" fmla="*/ 4 h 6"/>
                    <a:gd name="T16" fmla="*/ 0 w 4"/>
                    <a:gd name="T17" fmla="*/ 4 h 6"/>
                    <a:gd name="T18" fmla="*/ 0 w 4"/>
                    <a:gd name="T19" fmla="*/ 6 h 6"/>
                    <a:gd name="T20" fmla="*/ 2 w 4"/>
                    <a:gd name="T21" fmla="*/ 6 h 6"/>
                    <a:gd name="T22" fmla="*/ 2 w 4"/>
                    <a:gd name="T23" fmla="*/ 4 h 6"/>
                    <a:gd name="T24" fmla="*/ 2 w 4"/>
                    <a:gd name="T25" fmla="*/ 4 h 6"/>
                    <a:gd name="T26" fmla="*/ 2 w 4"/>
                    <a:gd name="T27" fmla="*/ 3 h 6"/>
                    <a:gd name="T28" fmla="*/ 3 w 4"/>
                    <a:gd name="T29" fmla="*/ 3 h 6"/>
                    <a:gd name="T30" fmla="*/ 3 w 4"/>
                    <a:gd name="T31" fmla="*/ 1 h 6"/>
                    <a:gd name="T32" fmla="*/ 4 w 4"/>
                    <a:gd name="T33" fmla="*/ 1 h 6"/>
                    <a:gd name="T34" fmla="*/ 4 w 4"/>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1"/>
                      </a:moveTo>
                      <a:lnTo>
                        <a:pt x="4" y="0"/>
                      </a:lnTo>
                      <a:lnTo>
                        <a:pt x="3" y="0"/>
                      </a:lnTo>
                      <a:lnTo>
                        <a:pt x="3" y="1"/>
                      </a:lnTo>
                      <a:lnTo>
                        <a:pt x="2" y="1"/>
                      </a:lnTo>
                      <a:lnTo>
                        <a:pt x="2" y="3"/>
                      </a:lnTo>
                      <a:lnTo>
                        <a:pt x="2" y="3"/>
                      </a:lnTo>
                      <a:lnTo>
                        <a:pt x="2" y="4"/>
                      </a:lnTo>
                      <a:lnTo>
                        <a:pt x="0" y="4"/>
                      </a:lnTo>
                      <a:lnTo>
                        <a:pt x="0" y="6"/>
                      </a:lnTo>
                      <a:lnTo>
                        <a:pt x="2" y="6"/>
                      </a:lnTo>
                      <a:lnTo>
                        <a:pt x="2" y="4"/>
                      </a:lnTo>
                      <a:lnTo>
                        <a:pt x="2" y="4"/>
                      </a:lnTo>
                      <a:lnTo>
                        <a:pt x="2" y="3"/>
                      </a:lnTo>
                      <a:lnTo>
                        <a:pt x="3" y="3"/>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2" name="Freeform 230"/>
                <p:cNvSpPr>
                  <a:spLocks/>
                </p:cNvSpPr>
                <p:nvPr/>
              </p:nvSpPr>
              <p:spPr bwMode="auto">
                <a:xfrm>
                  <a:off x="5750185" y="2405264"/>
                  <a:ext cx="37365" cy="44835"/>
                </a:xfrm>
                <a:custGeom>
                  <a:avLst/>
                  <a:gdLst>
                    <a:gd name="T0" fmla="*/ 5 w 5"/>
                    <a:gd name="T1" fmla="*/ 6 h 6"/>
                    <a:gd name="T2" fmla="*/ 5 w 5"/>
                    <a:gd name="T3" fmla="*/ 5 h 6"/>
                    <a:gd name="T4" fmla="*/ 4 w 5"/>
                    <a:gd name="T5" fmla="*/ 5 h 6"/>
                    <a:gd name="T6" fmla="*/ 4 w 5"/>
                    <a:gd name="T7" fmla="*/ 4 h 6"/>
                    <a:gd name="T8" fmla="*/ 3 w 5"/>
                    <a:gd name="T9" fmla="*/ 4 h 6"/>
                    <a:gd name="T10" fmla="*/ 3 w 5"/>
                    <a:gd name="T11" fmla="*/ 4 h 6"/>
                    <a:gd name="T12" fmla="*/ 2 w 5"/>
                    <a:gd name="T13" fmla="*/ 4 h 6"/>
                    <a:gd name="T14" fmla="*/ 2 w 5"/>
                    <a:gd name="T15" fmla="*/ 3 h 6"/>
                    <a:gd name="T16" fmla="*/ 3 w 5"/>
                    <a:gd name="T17" fmla="*/ 3 h 6"/>
                    <a:gd name="T18" fmla="*/ 3 w 5"/>
                    <a:gd name="T19" fmla="*/ 2 h 6"/>
                    <a:gd name="T20" fmla="*/ 4 w 5"/>
                    <a:gd name="T21" fmla="*/ 2 h 6"/>
                    <a:gd name="T22" fmla="*/ 4 w 5"/>
                    <a:gd name="T23" fmla="*/ 1 h 6"/>
                    <a:gd name="T24" fmla="*/ 5 w 5"/>
                    <a:gd name="T25" fmla="*/ 1 h 6"/>
                    <a:gd name="T26" fmla="*/ 5 w 5"/>
                    <a:gd name="T27" fmla="*/ 0 h 6"/>
                    <a:gd name="T28" fmla="*/ 4 w 5"/>
                    <a:gd name="T29" fmla="*/ 0 h 6"/>
                    <a:gd name="T30" fmla="*/ 4 w 5"/>
                    <a:gd name="T31" fmla="*/ 1 h 6"/>
                    <a:gd name="T32" fmla="*/ 3 w 5"/>
                    <a:gd name="T33" fmla="*/ 1 h 6"/>
                    <a:gd name="T34" fmla="*/ 3 w 5"/>
                    <a:gd name="T35" fmla="*/ 2 h 6"/>
                    <a:gd name="T36" fmla="*/ 2 w 5"/>
                    <a:gd name="T37" fmla="*/ 2 h 6"/>
                    <a:gd name="T38" fmla="*/ 2 w 5"/>
                    <a:gd name="T39" fmla="*/ 3 h 6"/>
                    <a:gd name="T40" fmla="*/ 2 w 5"/>
                    <a:gd name="T41" fmla="*/ 3 h 6"/>
                    <a:gd name="T42" fmla="*/ 2 w 5"/>
                    <a:gd name="T43" fmla="*/ 0 h 6"/>
                    <a:gd name="T44" fmla="*/ 0 w 5"/>
                    <a:gd name="T45" fmla="*/ 0 h 6"/>
                    <a:gd name="T46" fmla="*/ 0 w 5"/>
                    <a:gd name="T47" fmla="*/ 6 h 6"/>
                    <a:gd name="T48" fmla="*/ 2 w 5"/>
                    <a:gd name="T49" fmla="*/ 6 h 6"/>
                    <a:gd name="T50" fmla="*/ 2 w 5"/>
                    <a:gd name="T51" fmla="*/ 4 h 6"/>
                    <a:gd name="T52" fmla="*/ 2 w 5"/>
                    <a:gd name="T53" fmla="*/ 4 h 6"/>
                    <a:gd name="T54" fmla="*/ 2 w 5"/>
                    <a:gd name="T55" fmla="*/ 4 h 6"/>
                    <a:gd name="T56" fmla="*/ 3 w 5"/>
                    <a:gd name="T57" fmla="*/ 4 h 6"/>
                    <a:gd name="T58" fmla="*/ 3 w 5"/>
                    <a:gd name="T59" fmla="*/ 5 h 6"/>
                    <a:gd name="T60" fmla="*/ 4 w 5"/>
                    <a:gd name="T61" fmla="*/ 5 h 6"/>
                    <a:gd name="T62" fmla="*/ 4 w 5"/>
                    <a:gd name="T63" fmla="*/ 6 h 6"/>
                    <a:gd name="T64" fmla="*/ 5 w 5"/>
                    <a:gd name="T65" fmla="*/ 6 h 6"/>
                    <a:gd name="T66" fmla="*/ 5 w 5"/>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6">
                      <a:moveTo>
                        <a:pt x="5" y="6"/>
                      </a:moveTo>
                      <a:lnTo>
                        <a:pt x="5" y="5"/>
                      </a:lnTo>
                      <a:lnTo>
                        <a:pt x="4" y="5"/>
                      </a:lnTo>
                      <a:lnTo>
                        <a:pt x="4" y="4"/>
                      </a:lnTo>
                      <a:lnTo>
                        <a:pt x="3" y="4"/>
                      </a:lnTo>
                      <a:lnTo>
                        <a:pt x="3" y="4"/>
                      </a:lnTo>
                      <a:lnTo>
                        <a:pt x="2" y="4"/>
                      </a:lnTo>
                      <a:lnTo>
                        <a:pt x="2" y="3"/>
                      </a:lnTo>
                      <a:lnTo>
                        <a:pt x="3" y="3"/>
                      </a:lnTo>
                      <a:lnTo>
                        <a:pt x="3" y="2"/>
                      </a:lnTo>
                      <a:lnTo>
                        <a:pt x="4" y="2"/>
                      </a:lnTo>
                      <a:lnTo>
                        <a:pt x="4" y="1"/>
                      </a:lnTo>
                      <a:lnTo>
                        <a:pt x="5" y="1"/>
                      </a:lnTo>
                      <a:lnTo>
                        <a:pt x="5" y="0"/>
                      </a:lnTo>
                      <a:lnTo>
                        <a:pt x="4" y="0"/>
                      </a:lnTo>
                      <a:lnTo>
                        <a:pt x="4" y="1"/>
                      </a:lnTo>
                      <a:lnTo>
                        <a:pt x="3" y="1"/>
                      </a:lnTo>
                      <a:lnTo>
                        <a:pt x="3" y="2"/>
                      </a:lnTo>
                      <a:lnTo>
                        <a:pt x="2" y="2"/>
                      </a:lnTo>
                      <a:lnTo>
                        <a:pt x="2" y="3"/>
                      </a:lnTo>
                      <a:lnTo>
                        <a:pt x="2" y="3"/>
                      </a:lnTo>
                      <a:lnTo>
                        <a:pt x="2" y="0"/>
                      </a:lnTo>
                      <a:lnTo>
                        <a:pt x="0" y="0"/>
                      </a:lnTo>
                      <a:lnTo>
                        <a:pt x="0" y="6"/>
                      </a:lnTo>
                      <a:lnTo>
                        <a:pt x="2" y="6"/>
                      </a:lnTo>
                      <a:lnTo>
                        <a:pt x="2" y="4"/>
                      </a:lnTo>
                      <a:lnTo>
                        <a:pt x="2" y="4"/>
                      </a:lnTo>
                      <a:lnTo>
                        <a:pt x="2" y="4"/>
                      </a:lnTo>
                      <a:lnTo>
                        <a:pt x="3" y="4"/>
                      </a:lnTo>
                      <a:lnTo>
                        <a:pt x="3" y="5"/>
                      </a:lnTo>
                      <a:lnTo>
                        <a:pt x="4" y="5"/>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3" name="Freeform 231"/>
                <p:cNvSpPr>
                  <a:spLocks/>
                </p:cNvSpPr>
                <p:nvPr/>
              </p:nvSpPr>
              <p:spPr bwMode="auto">
                <a:xfrm>
                  <a:off x="5795020" y="2405264"/>
                  <a:ext cx="37365" cy="44835"/>
                </a:xfrm>
                <a:custGeom>
                  <a:avLst/>
                  <a:gdLst>
                    <a:gd name="T0" fmla="*/ 5 w 5"/>
                    <a:gd name="T1" fmla="*/ 3 h 6"/>
                    <a:gd name="T2" fmla="*/ 5 w 5"/>
                    <a:gd name="T3" fmla="*/ 0 h 6"/>
                    <a:gd name="T4" fmla="*/ 4 w 5"/>
                    <a:gd name="T5" fmla="*/ 0 h 6"/>
                    <a:gd name="T6" fmla="*/ 4 w 5"/>
                    <a:gd name="T7" fmla="*/ 3 h 6"/>
                    <a:gd name="T8" fmla="*/ 4 w 5"/>
                    <a:gd name="T9" fmla="*/ 3 h 6"/>
                    <a:gd name="T10" fmla="*/ 4 w 5"/>
                    <a:gd name="T11" fmla="*/ 4 h 6"/>
                    <a:gd name="T12" fmla="*/ 3 w 5"/>
                    <a:gd name="T13" fmla="*/ 4 h 6"/>
                    <a:gd name="T14" fmla="*/ 3 w 5"/>
                    <a:gd name="T15" fmla="*/ 3 h 6"/>
                    <a:gd name="T16" fmla="*/ 2 w 5"/>
                    <a:gd name="T17" fmla="*/ 3 h 6"/>
                    <a:gd name="T18" fmla="*/ 2 w 5"/>
                    <a:gd name="T19" fmla="*/ 4 h 6"/>
                    <a:gd name="T20" fmla="*/ 1 w 5"/>
                    <a:gd name="T21" fmla="*/ 4 h 6"/>
                    <a:gd name="T22" fmla="*/ 1 w 5"/>
                    <a:gd name="T23" fmla="*/ 3 h 6"/>
                    <a:gd name="T24" fmla="*/ 0 w 5"/>
                    <a:gd name="T25" fmla="*/ 3 h 6"/>
                    <a:gd name="T26" fmla="*/ 0 w 5"/>
                    <a:gd name="T27" fmla="*/ 0 h 6"/>
                    <a:gd name="T28" fmla="*/ 0 w 5"/>
                    <a:gd name="T29" fmla="*/ 0 h 6"/>
                    <a:gd name="T30" fmla="*/ 0 w 5"/>
                    <a:gd name="T31" fmla="*/ 3 h 6"/>
                    <a:gd name="T32" fmla="*/ 0 w 5"/>
                    <a:gd name="T33" fmla="*/ 3 h 6"/>
                    <a:gd name="T34" fmla="*/ 0 w 5"/>
                    <a:gd name="T35" fmla="*/ 4 h 6"/>
                    <a:gd name="T36" fmla="*/ 1 w 5"/>
                    <a:gd name="T37" fmla="*/ 4 h 6"/>
                    <a:gd name="T38" fmla="*/ 1 w 5"/>
                    <a:gd name="T39" fmla="*/ 6 h 6"/>
                    <a:gd name="T40" fmla="*/ 2 w 5"/>
                    <a:gd name="T41" fmla="*/ 6 h 6"/>
                    <a:gd name="T42" fmla="*/ 2 w 5"/>
                    <a:gd name="T43" fmla="*/ 4 h 6"/>
                    <a:gd name="T44" fmla="*/ 3 w 5"/>
                    <a:gd name="T45" fmla="*/ 4 h 6"/>
                    <a:gd name="T46" fmla="*/ 3 w 5"/>
                    <a:gd name="T47" fmla="*/ 6 h 6"/>
                    <a:gd name="T48" fmla="*/ 4 w 5"/>
                    <a:gd name="T49" fmla="*/ 6 h 6"/>
                    <a:gd name="T50" fmla="*/ 4 w 5"/>
                    <a:gd name="T51" fmla="*/ 4 h 6"/>
                    <a:gd name="T52" fmla="*/ 4 w 5"/>
                    <a:gd name="T53" fmla="*/ 4 h 6"/>
                    <a:gd name="T54" fmla="*/ 4 w 5"/>
                    <a:gd name="T55" fmla="*/ 3 h 6"/>
                    <a:gd name="T56" fmla="*/ 5 w 5"/>
                    <a:gd name="T57" fmla="*/ 3 h 6"/>
                    <a:gd name="T58" fmla="*/ 5 w 5"/>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3"/>
                      </a:moveTo>
                      <a:lnTo>
                        <a:pt x="5" y="0"/>
                      </a:lnTo>
                      <a:lnTo>
                        <a:pt x="4" y="0"/>
                      </a:lnTo>
                      <a:lnTo>
                        <a:pt x="4" y="3"/>
                      </a:lnTo>
                      <a:lnTo>
                        <a:pt x="4" y="3"/>
                      </a:lnTo>
                      <a:lnTo>
                        <a:pt x="4" y="4"/>
                      </a:lnTo>
                      <a:lnTo>
                        <a:pt x="3" y="4"/>
                      </a:lnTo>
                      <a:lnTo>
                        <a:pt x="3" y="3"/>
                      </a:lnTo>
                      <a:lnTo>
                        <a:pt x="2" y="3"/>
                      </a:lnTo>
                      <a:lnTo>
                        <a:pt x="2" y="4"/>
                      </a:lnTo>
                      <a:lnTo>
                        <a:pt x="1" y="4"/>
                      </a:lnTo>
                      <a:lnTo>
                        <a:pt x="1" y="3"/>
                      </a:lnTo>
                      <a:lnTo>
                        <a:pt x="0" y="3"/>
                      </a:lnTo>
                      <a:lnTo>
                        <a:pt x="0" y="0"/>
                      </a:lnTo>
                      <a:lnTo>
                        <a:pt x="0" y="0"/>
                      </a:lnTo>
                      <a:lnTo>
                        <a:pt x="0" y="3"/>
                      </a:lnTo>
                      <a:lnTo>
                        <a:pt x="0" y="3"/>
                      </a:lnTo>
                      <a:lnTo>
                        <a:pt x="0" y="4"/>
                      </a:lnTo>
                      <a:lnTo>
                        <a:pt x="1" y="4"/>
                      </a:lnTo>
                      <a:lnTo>
                        <a:pt x="1" y="6"/>
                      </a:lnTo>
                      <a:lnTo>
                        <a:pt x="2" y="6"/>
                      </a:lnTo>
                      <a:lnTo>
                        <a:pt x="2" y="4"/>
                      </a:lnTo>
                      <a:lnTo>
                        <a:pt x="3" y="4"/>
                      </a:lnTo>
                      <a:lnTo>
                        <a:pt x="3" y="6"/>
                      </a:lnTo>
                      <a:lnTo>
                        <a:pt x="4" y="6"/>
                      </a:lnTo>
                      <a:lnTo>
                        <a:pt x="4" y="4"/>
                      </a:lnTo>
                      <a:lnTo>
                        <a:pt x="4" y="4"/>
                      </a:lnTo>
                      <a:lnTo>
                        <a:pt x="4" y="3"/>
                      </a:lnTo>
                      <a:lnTo>
                        <a:pt x="5" y="3"/>
                      </a:lnTo>
                      <a:lnTo>
                        <a:pt x="5"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4" name="Freeform 232"/>
                <p:cNvSpPr>
                  <a:spLocks/>
                </p:cNvSpPr>
                <p:nvPr/>
              </p:nvSpPr>
              <p:spPr bwMode="auto">
                <a:xfrm>
                  <a:off x="5839855" y="240526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5" name="Freeform 233"/>
                <p:cNvSpPr>
                  <a:spLocks noEditPoints="1"/>
                </p:cNvSpPr>
                <p:nvPr/>
              </p:nvSpPr>
              <p:spPr bwMode="auto">
                <a:xfrm>
                  <a:off x="5899635" y="2405264"/>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2 w 4"/>
                    <a:gd name="T25" fmla="*/ 4 h 6"/>
                    <a:gd name="T26" fmla="*/ 2 w 4"/>
                    <a:gd name="T27" fmla="*/ 5 h 6"/>
                    <a:gd name="T28" fmla="*/ 1 w 4"/>
                    <a:gd name="T29" fmla="*/ 5 h 6"/>
                    <a:gd name="T30" fmla="*/ 1 w 4"/>
                    <a:gd name="T31" fmla="*/ 6 h 6"/>
                    <a:gd name="T32" fmla="*/ 2 w 4"/>
                    <a:gd name="T33" fmla="*/ 6 h 6"/>
                    <a:gd name="T34" fmla="*/ 2 w 4"/>
                    <a:gd name="T35" fmla="*/ 5 h 6"/>
                    <a:gd name="T36" fmla="*/ 4 w 4"/>
                    <a:gd name="T37" fmla="*/ 5 h 6"/>
                    <a:gd name="T38" fmla="*/ 4 w 4"/>
                    <a:gd name="T39" fmla="*/ 4 h 6"/>
                    <a:gd name="T40" fmla="*/ 4 w 4"/>
                    <a:gd name="T41" fmla="*/ 4 h 6"/>
                    <a:gd name="T42" fmla="*/ 4 w 4"/>
                    <a:gd name="T43" fmla="*/ 4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2" y="4"/>
                      </a:lnTo>
                      <a:lnTo>
                        <a:pt x="2" y="5"/>
                      </a:lnTo>
                      <a:lnTo>
                        <a:pt x="1" y="5"/>
                      </a:lnTo>
                      <a:lnTo>
                        <a:pt x="1" y="6"/>
                      </a:lnTo>
                      <a:lnTo>
                        <a:pt x="2" y="6"/>
                      </a:lnTo>
                      <a:lnTo>
                        <a:pt x="2" y="5"/>
                      </a:lnTo>
                      <a:lnTo>
                        <a:pt x="4" y="5"/>
                      </a:lnTo>
                      <a:lnTo>
                        <a:pt x="4" y="4"/>
                      </a:lnTo>
                      <a:lnTo>
                        <a:pt x="4" y="4"/>
                      </a:lnTo>
                      <a:lnTo>
                        <a:pt x="4" y="4"/>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6" name="Freeform 234"/>
                <p:cNvSpPr>
                  <a:spLocks/>
                </p:cNvSpPr>
                <p:nvPr/>
              </p:nvSpPr>
              <p:spPr bwMode="auto">
                <a:xfrm>
                  <a:off x="5937000" y="2405264"/>
                  <a:ext cx="22420" cy="44835"/>
                </a:xfrm>
                <a:custGeom>
                  <a:avLst/>
                  <a:gdLst>
                    <a:gd name="T0" fmla="*/ 3 w 3"/>
                    <a:gd name="T1" fmla="*/ 6 h 6"/>
                    <a:gd name="T2" fmla="*/ 3 w 3"/>
                    <a:gd name="T3" fmla="*/ 0 h 6"/>
                    <a:gd name="T4" fmla="*/ 1 w 3"/>
                    <a:gd name="T5" fmla="*/ 0 h 6"/>
                    <a:gd name="T6" fmla="*/ 1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1 w 3"/>
                    <a:gd name="T21" fmla="*/ 2 h 6"/>
                    <a:gd name="T22" fmla="*/ 1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1" y="0"/>
                      </a:lnTo>
                      <a:lnTo>
                        <a:pt x="1" y="1"/>
                      </a:lnTo>
                      <a:lnTo>
                        <a:pt x="1" y="1"/>
                      </a:lnTo>
                      <a:lnTo>
                        <a:pt x="1" y="2"/>
                      </a:lnTo>
                      <a:lnTo>
                        <a:pt x="0" y="2"/>
                      </a:lnTo>
                      <a:lnTo>
                        <a:pt x="0" y="3"/>
                      </a:lnTo>
                      <a:lnTo>
                        <a:pt x="1" y="3"/>
                      </a:lnTo>
                      <a:lnTo>
                        <a:pt x="1" y="2"/>
                      </a:lnTo>
                      <a:lnTo>
                        <a:pt x="1" y="2"/>
                      </a:lnTo>
                      <a:lnTo>
                        <a:pt x="1"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7" name="Freeform 235"/>
                <p:cNvSpPr>
                  <a:spLocks noEditPoints="1"/>
                </p:cNvSpPr>
                <p:nvPr/>
              </p:nvSpPr>
              <p:spPr bwMode="auto">
                <a:xfrm>
                  <a:off x="5959415" y="2405264"/>
                  <a:ext cx="29890" cy="44835"/>
                </a:xfrm>
                <a:custGeom>
                  <a:avLst/>
                  <a:gdLst>
                    <a:gd name="T0" fmla="*/ 4 w 4"/>
                    <a:gd name="T1" fmla="*/ 5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3 h 6"/>
                    <a:gd name="T46" fmla="*/ 1 w 4"/>
                    <a:gd name="T47" fmla="*/ 3 h 6"/>
                    <a:gd name="T48" fmla="*/ 1 w 4"/>
                    <a:gd name="T49" fmla="*/ 1 h 6"/>
                    <a:gd name="T50" fmla="*/ 4 w 4"/>
                    <a:gd name="T51" fmla="*/ 1 h 6"/>
                    <a:gd name="T52" fmla="*/ 4 w 4"/>
                    <a:gd name="T53" fmla="*/ 3 h 6"/>
                    <a:gd name="T54" fmla="*/ 4 w 4"/>
                    <a:gd name="T55" fmla="*/ 3 h 6"/>
                    <a:gd name="T56" fmla="*/ 4 w 4"/>
                    <a:gd name="T57" fmla="*/ 5 h 6"/>
                    <a:gd name="T58" fmla="*/ 1 w 4"/>
                    <a:gd name="T59" fmla="*/ 5 h 6"/>
                    <a:gd name="T60" fmla="*/ 1 w 4"/>
                    <a:gd name="T61" fmla="*/ 4 h 6"/>
                    <a:gd name="T62" fmla="*/ 4 w 4"/>
                    <a:gd name="T63" fmla="*/ 4 h 6"/>
                    <a:gd name="T64" fmla="*/ 4 w 4"/>
                    <a:gd name="T65" fmla="*/ 5 h 6"/>
                    <a:gd name="T66" fmla="*/ 4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4" y="4"/>
                      </a:lnTo>
                      <a:lnTo>
                        <a:pt x="4" y="3"/>
                      </a:lnTo>
                      <a:lnTo>
                        <a:pt x="4" y="3"/>
                      </a:lnTo>
                      <a:lnTo>
                        <a:pt x="4" y="1"/>
                      </a:lnTo>
                      <a:lnTo>
                        <a:pt x="4" y="1"/>
                      </a:lnTo>
                      <a:lnTo>
                        <a:pt x="4" y="0"/>
                      </a:lnTo>
                      <a:lnTo>
                        <a:pt x="1" y="0"/>
                      </a:lnTo>
                      <a:lnTo>
                        <a:pt x="1" y="1"/>
                      </a:lnTo>
                      <a:lnTo>
                        <a:pt x="0" y="1"/>
                      </a:lnTo>
                      <a:lnTo>
                        <a:pt x="0" y="3"/>
                      </a:lnTo>
                      <a:lnTo>
                        <a:pt x="1" y="3"/>
                      </a:lnTo>
                      <a:lnTo>
                        <a:pt x="1" y="4"/>
                      </a:lnTo>
                      <a:lnTo>
                        <a:pt x="0" y="4"/>
                      </a:lnTo>
                      <a:lnTo>
                        <a:pt x="0" y="5"/>
                      </a:lnTo>
                      <a:lnTo>
                        <a:pt x="1" y="5"/>
                      </a:lnTo>
                      <a:lnTo>
                        <a:pt x="1"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8" name="Freeform 236"/>
                <p:cNvSpPr>
                  <a:spLocks noEditPoints="1"/>
                </p:cNvSpPr>
                <p:nvPr/>
              </p:nvSpPr>
              <p:spPr bwMode="auto">
                <a:xfrm>
                  <a:off x="5996780" y="2405264"/>
                  <a:ext cx="29890" cy="44835"/>
                </a:xfrm>
                <a:custGeom>
                  <a:avLst/>
                  <a:gdLst>
                    <a:gd name="T0" fmla="*/ 4 w 4"/>
                    <a:gd name="T1" fmla="*/ 5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4 h 6"/>
                    <a:gd name="T50" fmla="*/ 3 w 4"/>
                    <a:gd name="T51" fmla="*/ 4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49" name="Freeform 237"/>
                <p:cNvSpPr>
                  <a:spLocks/>
                </p:cNvSpPr>
                <p:nvPr/>
              </p:nvSpPr>
              <p:spPr bwMode="auto">
                <a:xfrm>
                  <a:off x="6034140" y="244262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0" name="Freeform 238"/>
                <p:cNvSpPr>
                  <a:spLocks/>
                </p:cNvSpPr>
                <p:nvPr/>
              </p:nvSpPr>
              <p:spPr bwMode="auto">
                <a:xfrm>
                  <a:off x="6049085"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151" name="Freeform 239"/>
                <p:cNvSpPr>
                  <a:spLocks/>
                </p:cNvSpPr>
                <p:nvPr/>
              </p:nvSpPr>
              <p:spPr bwMode="auto">
                <a:xfrm>
                  <a:off x="6086450" y="2405264"/>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6" name="Freeform 240"/>
                <p:cNvSpPr>
                  <a:spLocks/>
                </p:cNvSpPr>
                <p:nvPr/>
              </p:nvSpPr>
              <p:spPr bwMode="auto">
                <a:xfrm>
                  <a:off x="6123811" y="2405264"/>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7" name="Freeform 241"/>
                <p:cNvSpPr>
                  <a:spLocks/>
                </p:cNvSpPr>
                <p:nvPr/>
              </p:nvSpPr>
              <p:spPr bwMode="auto">
                <a:xfrm>
                  <a:off x="5077658"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8" name="Freeform 242"/>
                <p:cNvSpPr>
                  <a:spLocks/>
                </p:cNvSpPr>
                <p:nvPr/>
              </p:nvSpPr>
              <p:spPr bwMode="auto">
                <a:xfrm>
                  <a:off x="5107548" y="2487464"/>
                  <a:ext cx="29890" cy="37365"/>
                </a:xfrm>
                <a:custGeom>
                  <a:avLst/>
                  <a:gdLst>
                    <a:gd name="T0" fmla="*/ 4 w 4"/>
                    <a:gd name="T1" fmla="*/ 4 h 5"/>
                    <a:gd name="T2" fmla="*/ 4 w 4"/>
                    <a:gd name="T3" fmla="*/ 0 h 5"/>
                    <a:gd name="T4" fmla="*/ 4 w 4"/>
                    <a:gd name="T5" fmla="*/ 0 h 5"/>
                    <a:gd name="T6" fmla="*/ 4 w 4"/>
                    <a:gd name="T7" fmla="*/ 4 h 5"/>
                    <a:gd name="T8" fmla="*/ 2 w 4"/>
                    <a:gd name="T9" fmla="*/ 4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2" y="4"/>
                      </a:lnTo>
                      <a:lnTo>
                        <a:pt x="2" y="0"/>
                      </a:lnTo>
                      <a:lnTo>
                        <a:pt x="0" y="0"/>
                      </a:lnTo>
                      <a:lnTo>
                        <a:pt x="0" y="4"/>
                      </a:lnTo>
                      <a:lnTo>
                        <a:pt x="2" y="4"/>
                      </a:lnTo>
                      <a:lnTo>
                        <a:pt x="2"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89" name="Freeform 243"/>
                <p:cNvSpPr>
                  <a:spLocks noEditPoints="1"/>
                </p:cNvSpPr>
                <p:nvPr/>
              </p:nvSpPr>
              <p:spPr bwMode="auto">
                <a:xfrm>
                  <a:off x="5152383" y="2487464"/>
                  <a:ext cx="29890" cy="37365"/>
                </a:xfrm>
                <a:custGeom>
                  <a:avLst/>
                  <a:gdLst>
                    <a:gd name="T0" fmla="*/ 4 w 4"/>
                    <a:gd name="T1" fmla="*/ 5 h 5"/>
                    <a:gd name="T2" fmla="*/ 4 w 4"/>
                    <a:gd name="T3" fmla="*/ 4 h 5"/>
                    <a:gd name="T4" fmla="*/ 2 w 4"/>
                    <a:gd name="T5" fmla="*/ 4 h 5"/>
                    <a:gd name="T6" fmla="*/ 2 w 4"/>
                    <a:gd name="T7" fmla="*/ 2 h 5"/>
                    <a:gd name="T8" fmla="*/ 4 w 4"/>
                    <a:gd name="T9" fmla="*/ 2 h 5"/>
                    <a:gd name="T10" fmla="*/ 4 w 4"/>
                    <a:gd name="T11" fmla="*/ 0 h 5"/>
                    <a:gd name="T12" fmla="*/ 2 w 4"/>
                    <a:gd name="T13" fmla="*/ 0 h 5"/>
                    <a:gd name="T14" fmla="*/ 2 w 4"/>
                    <a:gd name="T15" fmla="*/ 0 h 5"/>
                    <a:gd name="T16" fmla="*/ 0 w 4"/>
                    <a:gd name="T17" fmla="*/ 0 h 5"/>
                    <a:gd name="T18" fmla="*/ 0 w 4"/>
                    <a:gd name="T19" fmla="*/ 5 h 5"/>
                    <a:gd name="T20" fmla="*/ 0 w 4"/>
                    <a:gd name="T21" fmla="*/ 5 h 5"/>
                    <a:gd name="T22" fmla="*/ 0 w 4"/>
                    <a:gd name="T23" fmla="*/ 3 h 5"/>
                    <a:gd name="T24" fmla="*/ 2 w 4"/>
                    <a:gd name="T25" fmla="*/ 3 h 5"/>
                    <a:gd name="T26" fmla="*/ 2 w 4"/>
                    <a:gd name="T27" fmla="*/ 4 h 5"/>
                    <a:gd name="T28" fmla="*/ 2 w 4"/>
                    <a:gd name="T29" fmla="*/ 4 h 5"/>
                    <a:gd name="T30" fmla="*/ 2 w 4"/>
                    <a:gd name="T31" fmla="*/ 5 h 5"/>
                    <a:gd name="T32" fmla="*/ 4 w 4"/>
                    <a:gd name="T33" fmla="*/ 5 h 5"/>
                    <a:gd name="T34" fmla="*/ 4 w 4"/>
                    <a:gd name="T35" fmla="*/ 5 h 5"/>
                    <a:gd name="T36" fmla="*/ 2 w 4"/>
                    <a:gd name="T37" fmla="*/ 2 h 5"/>
                    <a:gd name="T38" fmla="*/ 0 w 4"/>
                    <a:gd name="T39" fmla="*/ 2 h 5"/>
                    <a:gd name="T40" fmla="*/ 0 w 4"/>
                    <a:gd name="T41" fmla="*/ 0 h 5"/>
                    <a:gd name="T42" fmla="*/ 2 w 4"/>
                    <a:gd name="T43" fmla="*/ 0 h 5"/>
                    <a:gd name="T44" fmla="*/ 2 w 4"/>
                    <a:gd name="T45" fmla="*/ 2 h 5"/>
                    <a:gd name="T46" fmla="*/ 2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2" y="4"/>
                      </a:lnTo>
                      <a:lnTo>
                        <a:pt x="2" y="2"/>
                      </a:lnTo>
                      <a:lnTo>
                        <a:pt x="4" y="2"/>
                      </a:lnTo>
                      <a:lnTo>
                        <a:pt x="4" y="0"/>
                      </a:lnTo>
                      <a:lnTo>
                        <a:pt x="2" y="0"/>
                      </a:lnTo>
                      <a:lnTo>
                        <a:pt x="2" y="0"/>
                      </a:lnTo>
                      <a:lnTo>
                        <a:pt x="0" y="0"/>
                      </a:lnTo>
                      <a:lnTo>
                        <a:pt x="0" y="5"/>
                      </a:lnTo>
                      <a:lnTo>
                        <a:pt x="0" y="5"/>
                      </a:lnTo>
                      <a:lnTo>
                        <a:pt x="0" y="3"/>
                      </a:lnTo>
                      <a:lnTo>
                        <a:pt x="2" y="3"/>
                      </a:lnTo>
                      <a:lnTo>
                        <a:pt x="2" y="4"/>
                      </a:lnTo>
                      <a:lnTo>
                        <a:pt x="2" y="4"/>
                      </a:lnTo>
                      <a:lnTo>
                        <a:pt x="2" y="5"/>
                      </a:lnTo>
                      <a:lnTo>
                        <a:pt x="4" y="5"/>
                      </a:lnTo>
                      <a:lnTo>
                        <a:pt x="4" y="5"/>
                      </a:lnTo>
                      <a:close/>
                      <a:moveTo>
                        <a:pt x="2" y="2"/>
                      </a:moveTo>
                      <a:lnTo>
                        <a:pt x="0" y="2"/>
                      </a:lnTo>
                      <a:lnTo>
                        <a:pt x="0" y="0"/>
                      </a:lnTo>
                      <a:lnTo>
                        <a:pt x="2" y="0"/>
                      </a:lnTo>
                      <a:lnTo>
                        <a:pt x="2" y="2"/>
                      </a:lnTo>
                      <a:lnTo>
                        <a:pt x="2"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0" name="Freeform 244"/>
                <p:cNvSpPr>
                  <a:spLocks noEditPoints="1"/>
                </p:cNvSpPr>
                <p:nvPr/>
              </p:nvSpPr>
              <p:spPr bwMode="auto">
                <a:xfrm>
                  <a:off x="5182274"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1 w 4"/>
                    <a:gd name="T31" fmla="*/ 2 h 5"/>
                    <a:gd name="T32" fmla="*/ 1 w 4"/>
                    <a:gd name="T33" fmla="*/ 0 h 5"/>
                    <a:gd name="T34" fmla="*/ 4 w 4"/>
                    <a:gd name="T35" fmla="*/ 0 h 5"/>
                    <a:gd name="T36" fmla="*/ 4 w 4"/>
                    <a:gd name="T37" fmla="*/ 2 h 5"/>
                    <a:gd name="T38" fmla="*/ 4 w 4"/>
                    <a:gd name="T39" fmla="*/ 2 h 5"/>
                    <a:gd name="T40" fmla="*/ 4 w 4"/>
                    <a:gd name="T41" fmla="*/ 4 h 5"/>
                    <a:gd name="T42" fmla="*/ 1 w 4"/>
                    <a:gd name="T43" fmla="*/ 4 h 5"/>
                    <a:gd name="T44" fmla="*/ 1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1" y="2"/>
                      </a:lnTo>
                      <a:lnTo>
                        <a:pt x="1" y="0"/>
                      </a:lnTo>
                      <a:lnTo>
                        <a:pt x="4" y="0"/>
                      </a:lnTo>
                      <a:lnTo>
                        <a:pt x="4" y="2"/>
                      </a:lnTo>
                      <a:lnTo>
                        <a:pt x="4" y="2"/>
                      </a:lnTo>
                      <a:close/>
                      <a:moveTo>
                        <a:pt x="4" y="4"/>
                      </a:moveTo>
                      <a:lnTo>
                        <a:pt x="1" y="4"/>
                      </a:lnTo>
                      <a:lnTo>
                        <a:pt x="1"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1" name="Freeform 245"/>
                <p:cNvSpPr>
                  <a:spLocks/>
                </p:cNvSpPr>
                <p:nvPr/>
              </p:nvSpPr>
              <p:spPr bwMode="auto">
                <a:xfrm>
                  <a:off x="5234584"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2" name="Freeform 246"/>
                <p:cNvSpPr>
                  <a:spLocks/>
                </p:cNvSpPr>
                <p:nvPr/>
              </p:nvSpPr>
              <p:spPr bwMode="auto">
                <a:xfrm>
                  <a:off x="5271944" y="2487464"/>
                  <a:ext cx="22420" cy="37365"/>
                </a:xfrm>
                <a:custGeom>
                  <a:avLst/>
                  <a:gdLst>
                    <a:gd name="T0" fmla="*/ 3 w 3"/>
                    <a:gd name="T1" fmla="*/ 5 h 5"/>
                    <a:gd name="T2" fmla="*/ 3 w 3"/>
                    <a:gd name="T3" fmla="*/ 4 h 5"/>
                    <a:gd name="T4" fmla="*/ 0 w 3"/>
                    <a:gd name="T5" fmla="*/ 4 h 5"/>
                    <a:gd name="T6" fmla="*/ 0 w 3"/>
                    <a:gd name="T7" fmla="*/ 3 h 5"/>
                    <a:gd name="T8" fmla="*/ 3 w 3"/>
                    <a:gd name="T9" fmla="*/ 3 h 5"/>
                    <a:gd name="T10" fmla="*/ 3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3" y="3"/>
                      </a:lnTo>
                      <a:lnTo>
                        <a:pt x="3"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3" name="Freeform 247"/>
                <p:cNvSpPr>
                  <a:spLocks noEditPoints="1"/>
                </p:cNvSpPr>
                <p:nvPr/>
              </p:nvSpPr>
              <p:spPr bwMode="auto">
                <a:xfrm>
                  <a:off x="5301834"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4" name="Freeform 248"/>
                <p:cNvSpPr>
                  <a:spLocks/>
                </p:cNvSpPr>
                <p:nvPr/>
              </p:nvSpPr>
              <p:spPr bwMode="auto">
                <a:xfrm>
                  <a:off x="5339199"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5" name="Freeform 249"/>
                <p:cNvSpPr>
                  <a:spLocks noEditPoints="1"/>
                </p:cNvSpPr>
                <p:nvPr/>
              </p:nvSpPr>
              <p:spPr bwMode="auto">
                <a:xfrm>
                  <a:off x="5384034" y="2487464"/>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2" y="5"/>
                      </a:lnTo>
                      <a:lnTo>
                        <a:pt x="2" y="3"/>
                      </a:lnTo>
                      <a:lnTo>
                        <a:pt x="3" y="3"/>
                      </a:lnTo>
                      <a:lnTo>
                        <a:pt x="3" y="4"/>
                      </a:lnTo>
                      <a:lnTo>
                        <a:pt x="4" y="4"/>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6" name="Freeform 250"/>
                <p:cNvSpPr>
                  <a:spLocks noEditPoints="1"/>
                </p:cNvSpPr>
                <p:nvPr/>
              </p:nvSpPr>
              <p:spPr bwMode="auto">
                <a:xfrm>
                  <a:off x="5428869" y="2487464"/>
                  <a:ext cx="29890" cy="37365"/>
                </a:xfrm>
                <a:custGeom>
                  <a:avLst/>
                  <a:gdLst>
                    <a:gd name="T0" fmla="*/ 4 w 4"/>
                    <a:gd name="T1" fmla="*/ 5 h 5"/>
                    <a:gd name="T2" fmla="*/ 4 w 4"/>
                    <a:gd name="T3" fmla="*/ 3 h 5"/>
                    <a:gd name="T4" fmla="*/ 2 w 4"/>
                    <a:gd name="T5" fmla="*/ 3 h 5"/>
                    <a:gd name="T6" fmla="*/ 2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2 w 4"/>
                    <a:gd name="T29" fmla="*/ 4 h 5"/>
                    <a:gd name="T30" fmla="*/ 2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2" y="3"/>
                      </a:lnTo>
                      <a:lnTo>
                        <a:pt x="2" y="1"/>
                      </a:lnTo>
                      <a:lnTo>
                        <a:pt x="2" y="1"/>
                      </a:lnTo>
                      <a:lnTo>
                        <a:pt x="2" y="0"/>
                      </a:lnTo>
                      <a:lnTo>
                        <a:pt x="1" y="0"/>
                      </a:lnTo>
                      <a:lnTo>
                        <a:pt x="1" y="1"/>
                      </a:lnTo>
                      <a:lnTo>
                        <a:pt x="0" y="1"/>
                      </a:lnTo>
                      <a:lnTo>
                        <a:pt x="0" y="3"/>
                      </a:lnTo>
                      <a:lnTo>
                        <a:pt x="0" y="3"/>
                      </a:lnTo>
                      <a:lnTo>
                        <a:pt x="0" y="5"/>
                      </a:lnTo>
                      <a:lnTo>
                        <a:pt x="0" y="5"/>
                      </a:lnTo>
                      <a:lnTo>
                        <a:pt x="0" y="4"/>
                      </a:lnTo>
                      <a:lnTo>
                        <a:pt x="2" y="4"/>
                      </a:lnTo>
                      <a:lnTo>
                        <a:pt x="2"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7" name="Freeform 251"/>
                <p:cNvSpPr>
                  <a:spLocks/>
                </p:cNvSpPr>
                <p:nvPr/>
              </p:nvSpPr>
              <p:spPr bwMode="auto">
                <a:xfrm>
                  <a:off x="5458759" y="2487464"/>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8" name="Freeform 252"/>
                <p:cNvSpPr>
                  <a:spLocks/>
                </p:cNvSpPr>
                <p:nvPr/>
              </p:nvSpPr>
              <p:spPr bwMode="auto">
                <a:xfrm>
                  <a:off x="5496119" y="2487464"/>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099" name="Freeform 253"/>
                <p:cNvSpPr>
                  <a:spLocks noEditPoints="1"/>
                </p:cNvSpPr>
                <p:nvPr/>
              </p:nvSpPr>
              <p:spPr bwMode="auto">
                <a:xfrm>
                  <a:off x="5608209"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4 w 4"/>
                    <a:gd name="T21" fmla="*/ 5 h 5"/>
                    <a:gd name="T22" fmla="*/ 4 w 4"/>
                    <a:gd name="T23" fmla="*/ 4 h 5"/>
                    <a:gd name="T24" fmla="*/ 4 w 4"/>
                    <a:gd name="T25" fmla="*/ 4 h 5"/>
                    <a:gd name="T26" fmla="*/ 4 w 4"/>
                    <a:gd name="T27" fmla="*/ 4 h 5"/>
                    <a:gd name="T28" fmla="*/ 4 w 4"/>
                    <a:gd name="T29" fmla="*/ 2 h 5"/>
                    <a:gd name="T30" fmla="*/ 2 w 4"/>
                    <a:gd name="T31" fmla="*/ 2 h 5"/>
                    <a:gd name="T32" fmla="*/ 2 w 4"/>
                    <a:gd name="T33" fmla="*/ 0 h 5"/>
                    <a:gd name="T34" fmla="*/ 4 w 4"/>
                    <a:gd name="T35" fmla="*/ 0 h 5"/>
                    <a:gd name="T36" fmla="*/ 4 w 4"/>
                    <a:gd name="T37" fmla="*/ 2 h 5"/>
                    <a:gd name="T38" fmla="*/ 4 w 4"/>
                    <a:gd name="T39" fmla="*/ 2 h 5"/>
                    <a:gd name="T40" fmla="*/ 4 w 4"/>
                    <a:gd name="T41" fmla="*/ 4 h 5"/>
                    <a:gd name="T42" fmla="*/ 2 w 4"/>
                    <a:gd name="T43" fmla="*/ 4 h 5"/>
                    <a:gd name="T44" fmla="*/ 2 w 4"/>
                    <a:gd name="T45" fmla="*/ 3 h 5"/>
                    <a:gd name="T46" fmla="*/ 4 w 4"/>
                    <a:gd name="T47" fmla="*/ 3 h 5"/>
                    <a:gd name="T48" fmla="*/ 4 w 4"/>
                    <a:gd name="T49" fmla="*/ 4 h 5"/>
                    <a:gd name="T50" fmla="*/ 4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4" y="3"/>
                      </a:lnTo>
                      <a:lnTo>
                        <a:pt x="4" y="2"/>
                      </a:lnTo>
                      <a:lnTo>
                        <a:pt x="4" y="2"/>
                      </a:lnTo>
                      <a:lnTo>
                        <a:pt x="4" y="0"/>
                      </a:lnTo>
                      <a:lnTo>
                        <a:pt x="4" y="0"/>
                      </a:lnTo>
                      <a:lnTo>
                        <a:pt x="4" y="0"/>
                      </a:lnTo>
                      <a:lnTo>
                        <a:pt x="0" y="0"/>
                      </a:lnTo>
                      <a:lnTo>
                        <a:pt x="0" y="5"/>
                      </a:lnTo>
                      <a:lnTo>
                        <a:pt x="4" y="5"/>
                      </a:lnTo>
                      <a:lnTo>
                        <a:pt x="4" y="4"/>
                      </a:lnTo>
                      <a:lnTo>
                        <a:pt x="4" y="4"/>
                      </a:lnTo>
                      <a:lnTo>
                        <a:pt x="4" y="4"/>
                      </a:lnTo>
                      <a:close/>
                      <a:moveTo>
                        <a:pt x="4" y="2"/>
                      </a:moveTo>
                      <a:lnTo>
                        <a:pt x="2" y="2"/>
                      </a:lnTo>
                      <a:lnTo>
                        <a:pt x="2" y="0"/>
                      </a:lnTo>
                      <a:lnTo>
                        <a:pt x="4" y="0"/>
                      </a:lnTo>
                      <a:lnTo>
                        <a:pt x="4" y="2"/>
                      </a:lnTo>
                      <a:lnTo>
                        <a:pt x="4" y="2"/>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0" name="Freeform 254"/>
                <p:cNvSpPr>
                  <a:spLocks/>
                </p:cNvSpPr>
                <p:nvPr/>
              </p:nvSpPr>
              <p:spPr bwMode="auto">
                <a:xfrm>
                  <a:off x="5653044" y="2487464"/>
                  <a:ext cx="29890"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1" name="Freeform 255"/>
                <p:cNvSpPr>
                  <a:spLocks/>
                </p:cNvSpPr>
                <p:nvPr/>
              </p:nvSpPr>
              <p:spPr bwMode="auto">
                <a:xfrm>
                  <a:off x="5682934" y="2487464"/>
                  <a:ext cx="29890" cy="37365"/>
                </a:xfrm>
                <a:custGeom>
                  <a:avLst/>
                  <a:gdLst>
                    <a:gd name="T0" fmla="*/ 4 w 4"/>
                    <a:gd name="T1" fmla="*/ 4 h 5"/>
                    <a:gd name="T2" fmla="*/ 4 w 4"/>
                    <a:gd name="T3" fmla="*/ 0 h 5"/>
                    <a:gd name="T4" fmla="*/ 4 w 4"/>
                    <a:gd name="T5" fmla="*/ 0 h 5"/>
                    <a:gd name="T6" fmla="*/ 4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4" y="0"/>
                      </a:lnTo>
                      <a:lnTo>
                        <a:pt x="4" y="4"/>
                      </a:lnTo>
                      <a:lnTo>
                        <a:pt x="1" y="4"/>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2" name="Freeform 256"/>
                <p:cNvSpPr>
                  <a:spLocks/>
                </p:cNvSpPr>
                <p:nvPr/>
              </p:nvSpPr>
              <p:spPr bwMode="auto">
                <a:xfrm>
                  <a:off x="5720295" y="2472519"/>
                  <a:ext cx="22420" cy="52310"/>
                </a:xfrm>
                <a:custGeom>
                  <a:avLst/>
                  <a:gdLst>
                    <a:gd name="T0" fmla="*/ 3 w 3"/>
                    <a:gd name="T1" fmla="*/ 2 h 7"/>
                    <a:gd name="T2" fmla="*/ 3 w 3"/>
                    <a:gd name="T3" fmla="*/ 0 h 7"/>
                    <a:gd name="T4" fmla="*/ 3 w 3"/>
                    <a:gd name="T5" fmla="*/ 0 h 7"/>
                    <a:gd name="T6" fmla="*/ 3 w 3"/>
                    <a:gd name="T7" fmla="*/ 2 h 7"/>
                    <a:gd name="T8" fmla="*/ 2 w 3"/>
                    <a:gd name="T9" fmla="*/ 2 h 7"/>
                    <a:gd name="T10" fmla="*/ 2 w 3"/>
                    <a:gd name="T11" fmla="*/ 4 h 7"/>
                    <a:gd name="T12" fmla="*/ 1 w 3"/>
                    <a:gd name="T13" fmla="*/ 4 h 7"/>
                    <a:gd name="T14" fmla="*/ 1 w 3"/>
                    <a:gd name="T15" fmla="*/ 6 h 7"/>
                    <a:gd name="T16" fmla="*/ 0 w 3"/>
                    <a:gd name="T17" fmla="*/ 6 h 7"/>
                    <a:gd name="T18" fmla="*/ 0 w 3"/>
                    <a:gd name="T19" fmla="*/ 7 h 7"/>
                    <a:gd name="T20" fmla="*/ 1 w 3"/>
                    <a:gd name="T21" fmla="*/ 7 h 7"/>
                    <a:gd name="T22" fmla="*/ 1 w 3"/>
                    <a:gd name="T23" fmla="*/ 6 h 7"/>
                    <a:gd name="T24" fmla="*/ 2 w 3"/>
                    <a:gd name="T25" fmla="*/ 6 h 7"/>
                    <a:gd name="T26" fmla="*/ 2 w 3"/>
                    <a:gd name="T27" fmla="*/ 4 h 7"/>
                    <a:gd name="T28" fmla="*/ 3 w 3"/>
                    <a:gd name="T29" fmla="*/ 4 h 7"/>
                    <a:gd name="T30" fmla="*/ 3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3" y="0"/>
                      </a:lnTo>
                      <a:lnTo>
                        <a:pt x="3" y="2"/>
                      </a:lnTo>
                      <a:lnTo>
                        <a:pt x="2" y="2"/>
                      </a:lnTo>
                      <a:lnTo>
                        <a:pt x="2" y="4"/>
                      </a:lnTo>
                      <a:lnTo>
                        <a:pt x="1" y="4"/>
                      </a:lnTo>
                      <a:lnTo>
                        <a:pt x="1" y="6"/>
                      </a:lnTo>
                      <a:lnTo>
                        <a:pt x="0" y="6"/>
                      </a:lnTo>
                      <a:lnTo>
                        <a:pt x="0" y="7"/>
                      </a:lnTo>
                      <a:lnTo>
                        <a:pt x="1" y="7"/>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3" name="Freeform 257"/>
                <p:cNvSpPr>
                  <a:spLocks/>
                </p:cNvSpPr>
                <p:nvPr/>
              </p:nvSpPr>
              <p:spPr bwMode="auto">
                <a:xfrm>
                  <a:off x="5750185" y="2487464"/>
                  <a:ext cx="37365" cy="37365"/>
                </a:xfrm>
                <a:custGeom>
                  <a:avLst/>
                  <a:gdLst>
                    <a:gd name="T0" fmla="*/ 5 w 5"/>
                    <a:gd name="T1" fmla="*/ 5 h 5"/>
                    <a:gd name="T2" fmla="*/ 5 w 5"/>
                    <a:gd name="T3" fmla="*/ 4 h 5"/>
                    <a:gd name="T4" fmla="*/ 3 w 5"/>
                    <a:gd name="T5" fmla="*/ 4 h 5"/>
                    <a:gd name="T6" fmla="*/ 3 w 5"/>
                    <a:gd name="T7" fmla="*/ 4 h 5"/>
                    <a:gd name="T8" fmla="*/ 3 w 5"/>
                    <a:gd name="T9" fmla="*/ 4 h 5"/>
                    <a:gd name="T10" fmla="*/ 3 w 5"/>
                    <a:gd name="T11" fmla="*/ 3 h 5"/>
                    <a:gd name="T12" fmla="*/ 2 w 5"/>
                    <a:gd name="T13" fmla="*/ 3 h 5"/>
                    <a:gd name="T14" fmla="*/ 2 w 5"/>
                    <a:gd name="T15" fmla="*/ 2 h 5"/>
                    <a:gd name="T16" fmla="*/ 3 w 5"/>
                    <a:gd name="T17" fmla="*/ 2 h 5"/>
                    <a:gd name="T18" fmla="*/ 3 w 5"/>
                    <a:gd name="T19" fmla="*/ 1 h 5"/>
                    <a:gd name="T20" fmla="*/ 3 w 5"/>
                    <a:gd name="T21" fmla="*/ 1 h 5"/>
                    <a:gd name="T22" fmla="*/ 3 w 5"/>
                    <a:gd name="T23" fmla="*/ 0 h 5"/>
                    <a:gd name="T24" fmla="*/ 5 w 5"/>
                    <a:gd name="T25" fmla="*/ 0 h 5"/>
                    <a:gd name="T26" fmla="*/ 5 w 5"/>
                    <a:gd name="T27" fmla="*/ 0 h 5"/>
                    <a:gd name="T28" fmla="*/ 3 w 5"/>
                    <a:gd name="T29" fmla="*/ 0 h 5"/>
                    <a:gd name="T30" fmla="*/ 3 w 5"/>
                    <a:gd name="T31" fmla="*/ 0 h 5"/>
                    <a:gd name="T32" fmla="*/ 3 w 5"/>
                    <a:gd name="T33" fmla="*/ 0 h 5"/>
                    <a:gd name="T34" fmla="*/ 3 w 5"/>
                    <a:gd name="T35" fmla="*/ 1 h 5"/>
                    <a:gd name="T36" fmla="*/ 2 w 5"/>
                    <a:gd name="T37" fmla="*/ 1 h 5"/>
                    <a:gd name="T38" fmla="*/ 2 w 5"/>
                    <a:gd name="T39" fmla="*/ 2 h 5"/>
                    <a:gd name="T40" fmla="*/ 1 w 5"/>
                    <a:gd name="T41" fmla="*/ 2 h 5"/>
                    <a:gd name="T42" fmla="*/ 1 w 5"/>
                    <a:gd name="T43" fmla="*/ 0 h 5"/>
                    <a:gd name="T44" fmla="*/ 0 w 5"/>
                    <a:gd name="T45" fmla="*/ 0 h 5"/>
                    <a:gd name="T46" fmla="*/ 0 w 5"/>
                    <a:gd name="T47" fmla="*/ 5 h 5"/>
                    <a:gd name="T48" fmla="*/ 1 w 5"/>
                    <a:gd name="T49" fmla="*/ 5 h 5"/>
                    <a:gd name="T50" fmla="*/ 1 w 5"/>
                    <a:gd name="T51" fmla="*/ 3 h 5"/>
                    <a:gd name="T52" fmla="*/ 2 w 5"/>
                    <a:gd name="T53" fmla="*/ 3 h 5"/>
                    <a:gd name="T54" fmla="*/ 2 w 5"/>
                    <a:gd name="T55" fmla="*/ 4 h 5"/>
                    <a:gd name="T56" fmla="*/ 3 w 5"/>
                    <a:gd name="T57" fmla="*/ 4 h 5"/>
                    <a:gd name="T58" fmla="*/ 3 w 5"/>
                    <a:gd name="T59" fmla="*/ 4 h 5"/>
                    <a:gd name="T60" fmla="*/ 3 w 5"/>
                    <a:gd name="T61" fmla="*/ 4 h 5"/>
                    <a:gd name="T62" fmla="*/ 3 w 5"/>
                    <a:gd name="T63" fmla="*/ 5 h 5"/>
                    <a:gd name="T64" fmla="*/ 5 w 5"/>
                    <a:gd name="T65" fmla="*/ 5 h 5"/>
                    <a:gd name="T66" fmla="*/ 5 w 5"/>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5">
                      <a:moveTo>
                        <a:pt x="5" y="5"/>
                      </a:moveTo>
                      <a:lnTo>
                        <a:pt x="5" y="4"/>
                      </a:lnTo>
                      <a:lnTo>
                        <a:pt x="3" y="4"/>
                      </a:lnTo>
                      <a:lnTo>
                        <a:pt x="3" y="4"/>
                      </a:lnTo>
                      <a:lnTo>
                        <a:pt x="3" y="4"/>
                      </a:lnTo>
                      <a:lnTo>
                        <a:pt x="3" y="3"/>
                      </a:lnTo>
                      <a:lnTo>
                        <a:pt x="2" y="3"/>
                      </a:lnTo>
                      <a:lnTo>
                        <a:pt x="2" y="2"/>
                      </a:lnTo>
                      <a:lnTo>
                        <a:pt x="3" y="2"/>
                      </a:lnTo>
                      <a:lnTo>
                        <a:pt x="3" y="1"/>
                      </a:lnTo>
                      <a:lnTo>
                        <a:pt x="3" y="1"/>
                      </a:lnTo>
                      <a:lnTo>
                        <a:pt x="3" y="0"/>
                      </a:lnTo>
                      <a:lnTo>
                        <a:pt x="5" y="0"/>
                      </a:lnTo>
                      <a:lnTo>
                        <a:pt x="5" y="0"/>
                      </a:lnTo>
                      <a:lnTo>
                        <a:pt x="3" y="0"/>
                      </a:lnTo>
                      <a:lnTo>
                        <a:pt x="3" y="0"/>
                      </a:lnTo>
                      <a:lnTo>
                        <a:pt x="3" y="0"/>
                      </a:lnTo>
                      <a:lnTo>
                        <a:pt x="3" y="1"/>
                      </a:lnTo>
                      <a:lnTo>
                        <a:pt x="2" y="1"/>
                      </a:lnTo>
                      <a:lnTo>
                        <a:pt x="2" y="2"/>
                      </a:lnTo>
                      <a:lnTo>
                        <a:pt x="1" y="2"/>
                      </a:lnTo>
                      <a:lnTo>
                        <a:pt x="1" y="0"/>
                      </a:lnTo>
                      <a:lnTo>
                        <a:pt x="0" y="0"/>
                      </a:lnTo>
                      <a:lnTo>
                        <a:pt x="0" y="5"/>
                      </a:lnTo>
                      <a:lnTo>
                        <a:pt x="1" y="5"/>
                      </a:lnTo>
                      <a:lnTo>
                        <a:pt x="1" y="3"/>
                      </a:lnTo>
                      <a:lnTo>
                        <a:pt x="2" y="3"/>
                      </a:lnTo>
                      <a:lnTo>
                        <a:pt x="2" y="4"/>
                      </a:lnTo>
                      <a:lnTo>
                        <a:pt x="3" y="4"/>
                      </a:lnTo>
                      <a:lnTo>
                        <a:pt x="3" y="4"/>
                      </a:lnTo>
                      <a:lnTo>
                        <a:pt x="3" y="4"/>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4" name="Freeform 258"/>
                <p:cNvSpPr>
                  <a:spLocks/>
                </p:cNvSpPr>
                <p:nvPr/>
              </p:nvSpPr>
              <p:spPr bwMode="auto">
                <a:xfrm>
                  <a:off x="5787550" y="2487464"/>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3 w 6"/>
                    <a:gd name="T17" fmla="*/ 2 h 5"/>
                    <a:gd name="T18" fmla="*/ 3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3 w 6"/>
                    <a:gd name="T41" fmla="*/ 5 h 5"/>
                    <a:gd name="T42" fmla="*/ 3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3" y="2"/>
                      </a:lnTo>
                      <a:lnTo>
                        <a:pt x="3" y="4"/>
                      </a:lnTo>
                      <a:lnTo>
                        <a:pt x="2" y="4"/>
                      </a:lnTo>
                      <a:lnTo>
                        <a:pt x="2" y="2"/>
                      </a:lnTo>
                      <a:lnTo>
                        <a:pt x="1" y="2"/>
                      </a:lnTo>
                      <a:lnTo>
                        <a:pt x="1" y="0"/>
                      </a:lnTo>
                      <a:lnTo>
                        <a:pt x="0" y="0"/>
                      </a:lnTo>
                      <a:lnTo>
                        <a:pt x="0" y="2"/>
                      </a:lnTo>
                      <a:lnTo>
                        <a:pt x="1" y="2"/>
                      </a:lnTo>
                      <a:lnTo>
                        <a:pt x="1" y="4"/>
                      </a:lnTo>
                      <a:lnTo>
                        <a:pt x="2" y="4"/>
                      </a:lnTo>
                      <a:lnTo>
                        <a:pt x="2" y="5"/>
                      </a:lnTo>
                      <a:lnTo>
                        <a:pt x="3" y="5"/>
                      </a:lnTo>
                      <a:lnTo>
                        <a:pt x="3"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5" name="Freeform 259"/>
                <p:cNvSpPr>
                  <a:spLocks/>
                </p:cNvSpPr>
                <p:nvPr/>
              </p:nvSpPr>
              <p:spPr bwMode="auto">
                <a:xfrm>
                  <a:off x="5839855" y="2487464"/>
                  <a:ext cx="29890" cy="37365"/>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6" name="Freeform 260"/>
                <p:cNvSpPr>
                  <a:spLocks noEditPoints="1"/>
                </p:cNvSpPr>
                <p:nvPr/>
              </p:nvSpPr>
              <p:spPr bwMode="auto">
                <a:xfrm>
                  <a:off x="5899635" y="2487464"/>
                  <a:ext cx="29890" cy="37365"/>
                </a:xfrm>
                <a:custGeom>
                  <a:avLst/>
                  <a:gdLst>
                    <a:gd name="T0" fmla="*/ 4 w 4"/>
                    <a:gd name="T1" fmla="*/ 4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1 w 4"/>
                    <a:gd name="T17" fmla="*/ 0 h 5"/>
                    <a:gd name="T18" fmla="*/ 1 w 4"/>
                    <a:gd name="T19" fmla="*/ 0 h 5"/>
                    <a:gd name="T20" fmla="*/ 0 w 4"/>
                    <a:gd name="T21" fmla="*/ 0 h 5"/>
                    <a:gd name="T22" fmla="*/ 0 w 4"/>
                    <a:gd name="T23" fmla="*/ 2 h 5"/>
                    <a:gd name="T24" fmla="*/ 1 w 4"/>
                    <a:gd name="T25" fmla="*/ 2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 name="T56" fmla="*/ 3 w 4"/>
                    <a:gd name="T57" fmla="*/ 4 h 5"/>
                    <a:gd name="T58" fmla="*/ 1 w 4"/>
                    <a:gd name="T59" fmla="*/ 4 h 5"/>
                    <a:gd name="T60" fmla="*/ 1 w 4"/>
                    <a:gd name="T61" fmla="*/ 3 h 5"/>
                    <a:gd name="T62" fmla="*/ 3 w 4"/>
                    <a:gd name="T63" fmla="*/ 3 h 5"/>
                    <a:gd name="T64" fmla="*/ 3 w 4"/>
                    <a:gd name="T65" fmla="*/ 4 h 5"/>
                    <a:gd name="T66" fmla="*/ 3 w 4"/>
                    <a:gd name="T6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4"/>
                      </a:moveTo>
                      <a:lnTo>
                        <a:pt x="4" y="3"/>
                      </a:lnTo>
                      <a:lnTo>
                        <a:pt x="4" y="3"/>
                      </a:lnTo>
                      <a:lnTo>
                        <a:pt x="4" y="2"/>
                      </a:lnTo>
                      <a:lnTo>
                        <a:pt x="4" y="2"/>
                      </a:lnTo>
                      <a:lnTo>
                        <a:pt x="4" y="0"/>
                      </a:lnTo>
                      <a:lnTo>
                        <a:pt x="4" y="0"/>
                      </a:lnTo>
                      <a:lnTo>
                        <a:pt x="4" y="0"/>
                      </a:lnTo>
                      <a:lnTo>
                        <a:pt x="1" y="0"/>
                      </a:lnTo>
                      <a:lnTo>
                        <a:pt x="1" y="0"/>
                      </a:lnTo>
                      <a:lnTo>
                        <a:pt x="0" y="0"/>
                      </a:lnTo>
                      <a:lnTo>
                        <a:pt x="0" y="2"/>
                      </a:lnTo>
                      <a:lnTo>
                        <a:pt x="1" y="2"/>
                      </a:lnTo>
                      <a:lnTo>
                        <a:pt x="1" y="3"/>
                      </a:lnTo>
                      <a:lnTo>
                        <a:pt x="0" y="3"/>
                      </a:lnTo>
                      <a:lnTo>
                        <a:pt x="0" y="4"/>
                      </a:lnTo>
                      <a:lnTo>
                        <a:pt x="1" y="4"/>
                      </a:lnTo>
                      <a:lnTo>
                        <a:pt x="1" y="5"/>
                      </a:lnTo>
                      <a:lnTo>
                        <a:pt x="4" y="5"/>
                      </a:lnTo>
                      <a:lnTo>
                        <a:pt x="4"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7" name="Freeform 261"/>
                <p:cNvSpPr>
                  <a:spLocks noEditPoints="1"/>
                </p:cNvSpPr>
                <p:nvPr/>
              </p:nvSpPr>
              <p:spPr bwMode="auto">
                <a:xfrm>
                  <a:off x="5937000" y="2487464"/>
                  <a:ext cx="29890" cy="37365"/>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8" name="Freeform 262"/>
                <p:cNvSpPr>
                  <a:spLocks/>
                </p:cNvSpPr>
                <p:nvPr/>
              </p:nvSpPr>
              <p:spPr bwMode="auto">
                <a:xfrm>
                  <a:off x="5974360" y="2487464"/>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09" name="Freeform 263"/>
                <p:cNvSpPr>
                  <a:spLocks/>
                </p:cNvSpPr>
                <p:nvPr/>
              </p:nvSpPr>
              <p:spPr bwMode="auto">
                <a:xfrm>
                  <a:off x="5996780"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0" name="Freeform 264"/>
                <p:cNvSpPr>
                  <a:spLocks/>
                </p:cNvSpPr>
                <p:nvPr/>
              </p:nvSpPr>
              <p:spPr bwMode="auto">
                <a:xfrm>
                  <a:off x="6019195"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1" name="Freeform 265"/>
                <p:cNvSpPr>
                  <a:spLocks/>
                </p:cNvSpPr>
                <p:nvPr/>
              </p:nvSpPr>
              <p:spPr bwMode="auto">
                <a:xfrm>
                  <a:off x="6034140" y="2487464"/>
                  <a:ext cx="29890" cy="37365"/>
                </a:xfrm>
                <a:custGeom>
                  <a:avLst/>
                  <a:gdLst>
                    <a:gd name="T0" fmla="*/ 4 w 4"/>
                    <a:gd name="T1" fmla="*/ 5 h 5"/>
                    <a:gd name="T2" fmla="*/ 4 w 4"/>
                    <a:gd name="T3" fmla="*/ 4 h 5"/>
                    <a:gd name="T4" fmla="*/ 2 w 4"/>
                    <a:gd name="T5" fmla="*/ 4 h 5"/>
                    <a:gd name="T6" fmla="*/ 2 w 4"/>
                    <a:gd name="T7" fmla="*/ 4 h 5"/>
                    <a:gd name="T8" fmla="*/ 2 w 4"/>
                    <a:gd name="T9" fmla="*/ 4 h 5"/>
                    <a:gd name="T10" fmla="*/ 2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2 w 4"/>
                    <a:gd name="T41" fmla="*/ 2 h 5"/>
                    <a:gd name="T42" fmla="*/ 2 w 4"/>
                    <a:gd name="T43" fmla="*/ 3 h 5"/>
                    <a:gd name="T44" fmla="*/ 2 w 4"/>
                    <a:gd name="T45" fmla="*/ 3 h 5"/>
                    <a:gd name="T46" fmla="*/ 2 w 4"/>
                    <a:gd name="T47" fmla="*/ 4 h 5"/>
                    <a:gd name="T48" fmla="*/ 1 w 4"/>
                    <a:gd name="T49" fmla="*/ 4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4"/>
                      </a:lnTo>
                      <a:lnTo>
                        <a:pt x="2" y="4"/>
                      </a:lnTo>
                      <a:lnTo>
                        <a:pt x="2"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2" y="2"/>
                      </a:lnTo>
                      <a:lnTo>
                        <a:pt x="2" y="3"/>
                      </a:lnTo>
                      <a:lnTo>
                        <a:pt x="2" y="3"/>
                      </a:lnTo>
                      <a:lnTo>
                        <a:pt x="2" y="4"/>
                      </a:lnTo>
                      <a:lnTo>
                        <a:pt x="1" y="4"/>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2" name="Freeform 266"/>
                <p:cNvSpPr>
                  <a:spLocks/>
                </p:cNvSpPr>
                <p:nvPr/>
              </p:nvSpPr>
              <p:spPr bwMode="auto">
                <a:xfrm>
                  <a:off x="6071505" y="2487464"/>
                  <a:ext cx="22420"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3" name="Freeform 267"/>
                <p:cNvSpPr>
                  <a:spLocks/>
                </p:cNvSpPr>
                <p:nvPr/>
              </p:nvSpPr>
              <p:spPr bwMode="auto">
                <a:xfrm>
                  <a:off x="6101395" y="2487464"/>
                  <a:ext cx="22420" cy="37365"/>
                </a:xfrm>
                <a:custGeom>
                  <a:avLst/>
                  <a:gdLst>
                    <a:gd name="T0" fmla="*/ 3 w 3"/>
                    <a:gd name="T1" fmla="*/ 4 h 5"/>
                    <a:gd name="T2" fmla="*/ 3 w 3"/>
                    <a:gd name="T3" fmla="*/ 2 h 5"/>
                    <a:gd name="T4" fmla="*/ 3 w 3"/>
                    <a:gd name="T5" fmla="*/ 2 h 5"/>
                    <a:gd name="T6" fmla="*/ 3 w 3"/>
                    <a:gd name="T7" fmla="*/ 1 h 5"/>
                    <a:gd name="T8" fmla="*/ 0 w 3"/>
                    <a:gd name="T9" fmla="*/ 1 h 5"/>
                    <a:gd name="T10" fmla="*/ 0 w 3"/>
                    <a:gd name="T11" fmla="*/ 0 h 5"/>
                    <a:gd name="T12" fmla="*/ 3 w 3"/>
                    <a:gd name="T13" fmla="*/ 0 h 5"/>
                    <a:gd name="T14" fmla="*/ 3 w 3"/>
                    <a:gd name="T15" fmla="*/ 0 h 5"/>
                    <a:gd name="T16" fmla="*/ 0 w 3"/>
                    <a:gd name="T17" fmla="*/ 0 h 5"/>
                    <a:gd name="T18" fmla="*/ 0 w 3"/>
                    <a:gd name="T19" fmla="*/ 2 h 5"/>
                    <a:gd name="T20" fmla="*/ 3 w 3"/>
                    <a:gd name="T21" fmla="*/ 2 h 5"/>
                    <a:gd name="T22" fmla="*/ 3 w 3"/>
                    <a:gd name="T23" fmla="*/ 4 h 5"/>
                    <a:gd name="T24" fmla="*/ 0 w 3"/>
                    <a:gd name="T25" fmla="*/ 4 h 5"/>
                    <a:gd name="T26" fmla="*/ 0 w 3"/>
                    <a:gd name="T27" fmla="*/ 4 h 5"/>
                    <a:gd name="T28" fmla="*/ 0 w 3"/>
                    <a:gd name="T29" fmla="*/ 4 h 5"/>
                    <a:gd name="T30" fmla="*/ 0 w 3"/>
                    <a:gd name="T31" fmla="*/ 4 h 5"/>
                    <a:gd name="T32" fmla="*/ 0 w 3"/>
                    <a:gd name="T33" fmla="*/ 4 h 5"/>
                    <a:gd name="T34" fmla="*/ 0 w 3"/>
                    <a:gd name="T35" fmla="*/ 5 h 5"/>
                    <a:gd name="T36" fmla="*/ 3 w 3"/>
                    <a:gd name="T37" fmla="*/ 5 h 5"/>
                    <a:gd name="T38" fmla="*/ 3 w 3"/>
                    <a:gd name="T39" fmla="*/ 4 h 5"/>
                    <a:gd name="T40" fmla="*/ 3 w 3"/>
                    <a:gd name="T41" fmla="*/ 4 h 5"/>
                    <a:gd name="T42" fmla="*/ 3 w 3"/>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4"/>
                      </a:moveTo>
                      <a:lnTo>
                        <a:pt x="3" y="2"/>
                      </a:lnTo>
                      <a:lnTo>
                        <a:pt x="3" y="2"/>
                      </a:lnTo>
                      <a:lnTo>
                        <a:pt x="3" y="1"/>
                      </a:lnTo>
                      <a:lnTo>
                        <a:pt x="0" y="1"/>
                      </a:lnTo>
                      <a:lnTo>
                        <a:pt x="0" y="0"/>
                      </a:lnTo>
                      <a:lnTo>
                        <a:pt x="3" y="0"/>
                      </a:lnTo>
                      <a:lnTo>
                        <a:pt x="3" y="0"/>
                      </a:lnTo>
                      <a:lnTo>
                        <a:pt x="0" y="0"/>
                      </a:lnTo>
                      <a:lnTo>
                        <a:pt x="0" y="2"/>
                      </a:lnTo>
                      <a:lnTo>
                        <a:pt x="3" y="2"/>
                      </a:lnTo>
                      <a:lnTo>
                        <a:pt x="3" y="4"/>
                      </a:lnTo>
                      <a:lnTo>
                        <a:pt x="0" y="4"/>
                      </a:lnTo>
                      <a:lnTo>
                        <a:pt x="0" y="4"/>
                      </a:lnTo>
                      <a:lnTo>
                        <a:pt x="0" y="4"/>
                      </a:lnTo>
                      <a:lnTo>
                        <a:pt x="0" y="4"/>
                      </a:lnTo>
                      <a:lnTo>
                        <a:pt x="0" y="4"/>
                      </a:lnTo>
                      <a:lnTo>
                        <a:pt x="0" y="5"/>
                      </a:lnTo>
                      <a:lnTo>
                        <a:pt x="3" y="5"/>
                      </a:lnTo>
                      <a:lnTo>
                        <a:pt x="3" y="4"/>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4" name="Freeform 268"/>
                <p:cNvSpPr>
                  <a:spLocks noEditPoints="1"/>
                </p:cNvSpPr>
                <p:nvPr/>
              </p:nvSpPr>
              <p:spPr bwMode="auto">
                <a:xfrm>
                  <a:off x="3351509" y="24052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5" name="Freeform 269"/>
                <p:cNvSpPr>
                  <a:spLocks/>
                </p:cNvSpPr>
                <p:nvPr/>
              </p:nvSpPr>
              <p:spPr bwMode="auto">
                <a:xfrm>
                  <a:off x="3388870" y="2405264"/>
                  <a:ext cx="29890" cy="37365"/>
                </a:xfrm>
                <a:custGeom>
                  <a:avLst/>
                  <a:gdLst>
                    <a:gd name="T0" fmla="*/ 4 w 4"/>
                    <a:gd name="T1" fmla="*/ 5 h 5"/>
                    <a:gd name="T2" fmla="*/ 4 w 4"/>
                    <a:gd name="T3" fmla="*/ 4 h 5"/>
                    <a:gd name="T4" fmla="*/ 3 w 4"/>
                    <a:gd name="T5" fmla="*/ 4 h 5"/>
                    <a:gd name="T6" fmla="*/ 3 w 4"/>
                    <a:gd name="T7" fmla="*/ 5 h 5"/>
                    <a:gd name="T8" fmla="*/ 0 w 4"/>
                    <a:gd name="T9" fmla="*/ 5 h 5"/>
                    <a:gd name="T10" fmla="*/ 0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6" name="Freeform 270"/>
                <p:cNvSpPr>
                  <a:spLocks/>
                </p:cNvSpPr>
                <p:nvPr/>
              </p:nvSpPr>
              <p:spPr bwMode="auto">
                <a:xfrm>
                  <a:off x="3418760" y="2405264"/>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7" name="Freeform 271"/>
                <p:cNvSpPr>
                  <a:spLocks/>
                </p:cNvSpPr>
                <p:nvPr/>
              </p:nvSpPr>
              <p:spPr bwMode="auto">
                <a:xfrm>
                  <a:off x="3463595" y="2405264"/>
                  <a:ext cx="29890" cy="37365"/>
                </a:xfrm>
                <a:custGeom>
                  <a:avLst/>
                  <a:gdLst>
                    <a:gd name="T0" fmla="*/ 4 w 4"/>
                    <a:gd name="T1" fmla="*/ 5 h 5"/>
                    <a:gd name="T2" fmla="*/ 4 w 4"/>
                    <a:gd name="T3" fmla="*/ 0 h 5"/>
                    <a:gd name="T4" fmla="*/ 2 w 4"/>
                    <a:gd name="T5" fmla="*/ 0 h 5"/>
                    <a:gd name="T6" fmla="*/ 2 w 4"/>
                    <a:gd name="T7" fmla="*/ 5 h 5"/>
                    <a:gd name="T8" fmla="*/ 0 w 4"/>
                    <a:gd name="T9" fmla="*/ 5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2" y="0"/>
                      </a:lnTo>
                      <a:lnTo>
                        <a:pt x="2" y="5"/>
                      </a:lnTo>
                      <a:lnTo>
                        <a:pt x="0" y="5"/>
                      </a:lnTo>
                      <a:lnTo>
                        <a:pt x="0" y="0"/>
                      </a:lnTo>
                      <a:lnTo>
                        <a:pt x="0" y="0"/>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8" name="Freeform 272"/>
                <p:cNvSpPr>
                  <a:spLocks noEditPoints="1"/>
                </p:cNvSpPr>
                <p:nvPr/>
              </p:nvSpPr>
              <p:spPr bwMode="auto">
                <a:xfrm>
                  <a:off x="3493485" y="24052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19" name="Freeform 273"/>
                <p:cNvSpPr>
                  <a:spLocks/>
                </p:cNvSpPr>
                <p:nvPr/>
              </p:nvSpPr>
              <p:spPr bwMode="auto">
                <a:xfrm>
                  <a:off x="3530850" y="24052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0" name="Freeform 274"/>
                <p:cNvSpPr>
                  <a:spLocks noEditPoints="1"/>
                </p:cNvSpPr>
                <p:nvPr/>
              </p:nvSpPr>
              <p:spPr bwMode="auto">
                <a:xfrm>
                  <a:off x="3575685"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3 w 4"/>
                    <a:gd name="T21" fmla="*/ 5 h 5"/>
                    <a:gd name="T22" fmla="*/ 3 w 4"/>
                    <a:gd name="T23" fmla="*/ 5 h 5"/>
                    <a:gd name="T24" fmla="*/ 4 w 4"/>
                    <a:gd name="T25" fmla="*/ 5 h 5"/>
                    <a:gd name="T26" fmla="*/ 4 w 4"/>
                    <a:gd name="T27" fmla="*/ 5 h 5"/>
                    <a:gd name="T28" fmla="*/ 3 w 4"/>
                    <a:gd name="T29" fmla="*/ 3 h 5"/>
                    <a:gd name="T30" fmla="*/ 1 w 4"/>
                    <a:gd name="T31" fmla="*/ 3 h 5"/>
                    <a:gd name="T32" fmla="*/ 1 w 4"/>
                    <a:gd name="T33" fmla="*/ 1 h 5"/>
                    <a:gd name="T34" fmla="*/ 3 w 4"/>
                    <a:gd name="T35" fmla="*/ 1 h 5"/>
                    <a:gd name="T36" fmla="*/ 3 w 4"/>
                    <a:gd name="T37" fmla="*/ 3 h 5"/>
                    <a:gd name="T38" fmla="*/ 3 w 4"/>
                    <a:gd name="T39" fmla="*/ 3 h 5"/>
                    <a:gd name="T40" fmla="*/ 3 w 4"/>
                    <a:gd name="T41" fmla="*/ 5 h 5"/>
                    <a:gd name="T42" fmla="*/ 1 w 4"/>
                    <a:gd name="T43" fmla="*/ 5 h 5"/>
                    <a:gd name="T44" fmla="*/ 1 w 4"/>
                    <a:gd name="T45" fmla="*/ 3 h 5"/>
                    <a:gd name="T46" fmla="*/ 3 w 4"/>
                    <a:gd name="T47" fmla="*/ 3 h 5"/>
                    <a:gd name="T48" fmla="*/ 3 w 4"/>
                    <a:gd name="T49" fmla="*/ 5 h 5"/>
                    <a:gd name="T50" fmla="*/ 3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3" y="3"/>
                      </a:lnTo>
                      <a:lnTo>
                        <a:pt x="3" y="3"/>
                      </a:lnTo>
                      <a:lnTo>
                        <a:pt x="4" y="3"/>
                      </a:lnTo>
                      <a:lnTo>
                        <a:pt x="4" y="1"/>
                      </a:lnTo>
                      <a:lnTo>
                        <a:pt x="3" y="1"/>
                      </a:lnTo>
                      <a:lnTo>
                        <a:pt x="3" y="0"/>
                      </a:lnTo>
                      <a:lnTo>
                        <a:pt x="0" y="0"/>
                      </a:lnTo>
                      <a:lnTo>
                        <a:pt x="0"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1" name="Freeform 275"/>
                <p:cNvSpPr>
                  <a:spLocks noEditPoints="1"/>
                </p:cNvSpPr>
                <p:nvPr/>
              </p:nvSpPr>
              <p:spPr bwMode="auto">
                <a:xfrm>
                  <a:off x="3613045"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2" name="Freeform 276"/>
                <p:cNvSpPr>
                  <a:spLocks/>
                </p:cNvSpPr>
                <p:nvPr/>
              </p:nvSpPr>
              <p:spPr bwMode="auto">
                <a:xfrm>
                  <a:off x="3650410"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3" name="Freeform 277"/>
                <p:cNvSpPr>
                  <a:spLocks/>
                </p:cNvSpPr>
                <p:nvPr/>
              </p:nvSpPr>
              <p:spPr bwMode="auto">
                <a:xfrm>
                  <a:off x="3665355" y="2405264"/>
                  <a:ext cx="22420" cy="37365"/>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4" name="Freeform 278"/>
                <p:cNvSpPr>
                  <a:spLocks/>
                </p:cNvSpPr>
                <p:nvPr/>
              </p:nvSpPr>
              <p:spPr bwMode="auto">
                <a:xfrm>
                  <a:off x="3695245" y="2405264"/>
                  <a:ext cx="22420" cy="37365"/>
                </a:xfrm>
                <a:custGeom>
                  <a:avLst/>
                  <a:gdLst>
                    <a:gd name="T0" fmla="*/ 3 w 3"/>
                    <a:gd name="T1" fmla="*/ 5 h 5"/>
                    <a:gd name="T2" fmla="*/ 3 w 3"/>
                    <a:gd name="T3" fmla="*/ 5 h 5"/>
                    <a:gd name="T4" fmla="*/ 0 w 3"/>
                    <a:gd name="T5" fmla="*/ 5 h 5"/>
                    <a:gd name="T6" fmla="*/ 0 w 3"/>
                    <a:gd name="T7" fmla="*/ 3 h 5"/>
                    <a:gd name="T8" fmla="*/ 2 w 3"/>
                    <a:gd name="T9" fmla="*/ 3 h 5"/>
                    <a:gd name="T10" fmla="*/ 2 w 3"/>
                    <a:gd name="T11" fmla="*/ 3 h 5"/>
                    <a:gd name="T12" fmla="*/ 0 w 3"/>
                    <a:gd name="T13" fmla="*/ 3 h 5"/>
                    <a:gd name="T14" fmla="*/ 0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0" y="5"/>
                      </a:lnTo>
                      <a:lnTo>
                        <a:pt x="0" y="3"/>
                      </a:lnTo>
                      <a:lnTo>
                        <a:pt x="2" y="3"/>
                      </a:lnTo>
                      <a:lnTo>
                        <a:pt x="2" y="3"/>
                      </a:lnTo>
                      <a:lnTo>
                        <a:pt x="0" y="3"/>
                      </a:lnTo>
                      <a:lnTo>
                        <a:pt x="0"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5" name="Freeform 279"/>
                <p:cNvSpPr>
                  <a:spLocks noEditPoints="1"/>
                </p:cNvSpPr>
                <p:nvPr/>
              </p:nvSpPr>
              <p:spPr bwMode="auto">
                <a:xfrm>
                  <a:off x="3725135" y="2405264"/>
                  <a:ext cx="22420" cy="37365"/>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6" name="Freeform 280"/>
                <p:cNvSpPr>
                  <a:spLocks/>
                </p:cNvSpPr>
                <p:nvPr/>
              </p:nvSpPr>
              <p:spPr bwMode="auto">
                <a:xfrm>
                  <a:off x="3769970"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7" name="Freeform 281"/>
                <p:cNvSpPr>
                  <a:spLocks/>
                </p:cNvSpPr>
                <p:nvPr/>
              </p:nvSpPr>
              <p:spPr bwMode="auto">
                <a:xfrm>
                  <a:off x="379986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8" name="Freeform 282"/>
                <p:cNvSpPr>
                  <a:spLocks/>
                </p:cNvSpPr>
                <p:nvPr/>
              </p:nvSpPr>
              <p:spPr bwMode="auto">
                <a:xfrm>
                  <a:off x="3829750" y="2405264"/>
                  <a:ext cx="29890" cy="37365"/>
                </a:xfrm>
                <a:custGeom>
                  <a:avLst/>
                  <a:gdLst>
                    <a:gd name="T0" fmla="*/ 4 w 4"/>
                    <a:gd name="T1" fmla="*/ 1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3 h 5"/>
                    <a:gd name="T16" fmla="*/ 1 w 4"/>
                    <a:gd name="T17" fmla="*/ 3 h 5"/>
                    <a:gd name="T18" fmla="*/ 1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1" y="5"/>
                      </a:lnTo>
                      <a:lnTo>
                        <a:pt x="1" y="3"/>
                      </a:lnTo>
                      <a:lnTo>
                        <a:pt x="3" y="3"/>
                      </a:lnTo>
                      <a:lnTo>
                        <a:pt x="3" y="3"/>
                      </a:lnTo>
                      <a:lnTo>
                        <a:pt x="1" y="3"/>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29" name="Freeform 283"/>
                <p:cNvSpPr>
                  <a:spLocks/>
                </p:cNvSpPr>
                <p:nvPr/>
              </p:nvSpPr>
              <p:spPr bwMode="auto">
                <a:xfrm>
                  <a:off x="3859641"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0" name="Freeform 284"/>
                <p:cNvSpPr>
                  <a:spLocks/>
                </p:cNvSpPr>
                <p:nvPr/>
              </p:nvSpPr>
              <p:spPr bwMode="auto">
                <a:xfrm>
                  <a:off x="3874586" y="2405264"/>
                  <a:ext cx="29890"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2 h 5"/>
                    <a:gd name="T16" fmla="*/ 4 w 4"/>
                    <a:gd name="T17" fmla="*/ 2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1" name="Freeform 285"/>
                <p:cNvSpPr>
                  <a:spLocks/>
                </p:cNvSpPr>
                <p:nvPr/>
              </p:nvSpPr>
              <p:spPr bwMode="auto">
                <a:xfrm>
                  <a:off x="3911946" y="2405264"/>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2" name="Freeform 286"/>
                <p:cNvSpPr>
                  <a:spLocks/>
                </p:cNvSpPr>
                <p:nvPr/>
              </p:nvSpPr>
              <p:spPr bwMode="auto">
                <a:xfrm>
                  <a:off x="3926891" y="2405264"/>
                  <a:ext cx="22420" cy="37365"/>
                </a:xfrm>
                <a:custGeom>
                  <a:avLst/>
                  <a:gdLst>
                    <a:gd name="T0" fmla="*/ 3 w 3"/>
                    <a:gd name="T1" fmla="*/ 5 h 5"/>
                    <a:gd name="T2" fmla="*/ 3 w 3"/>
                    <a:gd name="T3" fmla="*/ 5 h 5"/>
                    <a:gd name="T4" fmla="*/ 1 w 3"/>
                    <a:gd name="T5" fmla="*/ 5 h 5"/>
                    <a:gd name="T6" fmla="*/ 1 w 3"/>
                    <a:gd name="T7" fmla="*/ 3 h 5"/>
                    <a:gd name="T8" fmla="*/ 2 w 3"/>
                    <a:gd name="T9" fmla="*/ 3 h 5"/>
                    <a:gd name="T10" fmla="*/ 2 w 3"/>
                    <a:gd name="T11" fmla="*/ 3 h 5"/>
                    <a:gd name="T12" fmla="*/ 1 w 3"/>
                    <a:gd name="T13" fmla="*/ 3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5"/>
                      </a:lnTo>
                      <a:lnTo>
                        <a:pt x="1" y="5"/>
                      </a:lnTo>
                      <a:lnTo>
                        <a:pt x="1" y="3"/>
                      </a:lnTo>
                      <a:lnTo>
                        <a:pt x="2" y="3"/>
                      </a:lnTo>
                      <a:lnTo>
                        <a:pt x="2" y="3"/>
                      </a:lnTo>
                      <a:lnTo>
                        <a:pt x="1" y="3"/>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3" name="Freeform 287"/>
                <p:cNvSpPr>
                  <a:spLocks/>
                </p:cNvSpPr>
                <p:nvPr/>
              </p:nvSpPr>
              <p:spPr bwMode="auto">
                <a:xfrm>
                  <a:off x="3956781" y="2405264"/>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3"/>
                      </a:lnTo>
                      <a:lnTo>
                        <a:pt x="2" y="3"/>
                      </a:lnTo>
                      <a:lnTo>
                        <a:pt x="2" y="2"/>
                      </a:lnTo>
                      <a:lnTo>
                        <a:pt x="1" y="2"/>
                      </a:lnTo>
                      <a:lnTo>
                        <a:pt x="1" y="0"/>
                      </a:lnTo>
                      <a:lnTo>
                        <a:pt x="0" y="0"/>
                      </a:lnTo>
                      <a:lnTo>
                        <a:pt x="0" y="5"/>
                      </a:lnTo>
                      <a:lnTo>
                        <a:pt x="1" y="5"/>
                      </a:lnTo>
                      <a:lnTo>
                        <a:pt x="1" y="3"/>
                      </a:lnTo>
                      <a:lnTo>
                        <a:pt x="2" y="3"/>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4" name="Freeform 288"/>
                <p:cNvSpPr>
                  <a:spLocks/>
                </p:cNvSpPr>
                <p:nvPr/>
              </p:nvSpPr>
              <p:spPr bwMode="auto">
                <a:xfrm>
                  <a:off x="3994146" y="2405264"/>
                  <a:ext cx="29890"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2 h 5"/>
                    <a:gd name="T16" fmla="*/ 4 w 4"/>
                    <a:gd name="T17" fmla="*/ 2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5" name="Freeform 289"/>
                <p:cNvSpPr>
                  <a:spLocks/>
                </p:cNvSpPr>
                <p:nvPr/>
              </p:nvSpPr>
              <p:spPr bwMode="auto">
                <a:xfrm>
                  <a:off x="4031506" y="2405264"/>
                  <a:ext cx="29890" cy="37365"/>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0 w 4"/>
                    <a:gd name="T17" fmla="*/ 2 h 5"/>
                    <a:gd name="T18" fmla="*/ 0 w 4"/>
                    <a:gd name="T19" fmla="*/ 0 h 5"/>
                    <a:gd name="T20" fmla="*/ 0 w 4"/>
                    <a:gd name="T21" fmla="*/ 0 h 5"/>
                    <a:gd name="T22" fmla="*/ 0 w 4"/>
                    <a:gd name="T23" fmla="*/ 2 h 5"/>
                    <a:gd name="T24" fmla="*/ 0 w 4"/>
                    <a:gd name="T25" fmla="*/ 2 h 5"/>
                    <a:gd name="T26" fmla="*/ 0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0" y="2"/>
                      </a:lnTo>
                      <a:lnTo>
                        <a:pt x="0" y="0"/>
                      </a:lnTo>
                      <a:lnTo>
                        <a:pt x="0" y="0"/>
                      </a:lnTo>
                      <a:lnTo>
                        <a:pt x="0" y="2"/>
                      </a:lnTo>
                      <a:lnTo>
                        <a:pt x="0" y="2"/>
                      </a:lnTo>
                      <a:lnTo>
                        <a:pt x="0"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6" name="Freeform 290"/>
                <p:cNvSpPr>
                  <a:spLocks noEditPoints="1"/>
                </p:cNvSpPr>
                <p:nvPr/>
              </p:nvSpPr>
              <p:spPr bwMode="auto">
                <a:xfrm>
                  <a:off x="4263156" y="2397794"/>
                  <a:ext cx="44835" cy="44835"/>
                </a:xfrm>
                <a:custGeom>
                  <a:avLst/>
                  <a:gdLst>
                    <a:gd name="T0" fmla="*/ 6 w 6"/>
                    <a:gd name="T1" fmla="*/ 4 h 6"/>
                    <a:gd name="T2" fmla="*/ 6 w 6"/>
                    <a:gd name="T3" fmla="*/ 4 h 6"/>
                    <a:gd name="T4" fmla="*/ 4 w 6"/>
                    <a:gd name="T5" fmla="*/ 3 h 6"/>
                    <a:gd name="T6" fmla="*/ 5 w 6"/>
                    <a:gd name="T7" fmla="*/ 2 h 6"/>
                    <a:gd name="T8" fmla="*/ 6 w 6"/>
                    <a:gd name="T9" fmla="*/ 1 h 6"/>
                    <a:gd name="T10" fmla="*/ 6 w 6"/>
                    <a:gd name="T11" fmla="*/ 0 h 6"/>
                    <a:gd name="T12" fmla="*/ 6 w 6"/>
                    <a:gd name="T13" fmla="*/ 1 h 6"/>
                    <a:gd name="T14" fmla="*/ 5 w 6"/>
                    <a:gd name="T15" fmla="*/ 2 h 6"/>
                    <a:gd name="T16" fmla="*/ 4 w 6"/>
                    <a:gd name="T17" fmla="*/ 3 h 6"/>
                    <a:gd name="T18" fmla="*/ 4 w 6"/>
                    <a:gd name="T19" fmla="*/ 1 h 6"/>
                    <a:gd name="T20" fmla="*/ 2 w 6"/>
                    <a:gd name="T21" fmla="*/ 0 h 6"/>
                    <a:gd name="T22" fmla="*/ 1 w 6"/>
                    <a:gd name="T23" fmla="*/ 1 h 6"/>
                    <a:gd name="T24" fmla="*/ 0 w 6"/>
                    <a:gd name="T25" fmla="*/ 3 h 6"/>
                    <a:gd name="T26" fmla="*/ 1 w 6"/>
                    <a:gd name="T27" fmla="*/ 4 h 6"/>
                    <a:gd name="T28" fmla="*/ 2 w 6"/>
                    <a:gd name="T29" fmla="*/ 4 h 6"/>
                    <a:gd name="T30" fmla="*/ 2 w 6"/>
                    <a:gd name="T31" fmla="*/ 5 h 6"/>
                    <a:gd name="T32" fmla="*/ 1 w 6"/>
                    <a:gd name="T33" fmla="*/ 6 h 6"/>
                    <a:gd name="T34" fmla="*/ 0 w 6"/>
                    <a:gd name="T35" fmla="*/ 6 h 6"/>
                    <a:gd name="T36" fmla="*/ 1 w 6"/>
                    <a:gd name="T37" fmla="*/ 6 h 6"/>
                    <a:gd name="T38" fmla="*/ 2 w 6"/>
                    <a:gd name="T39" fmla="*/ 5 h 6"/>
                    <a:gd name="T40" fmla="*/ 2 w 6"/>
                    <a:gd name="T41" fmla="*/ 4 h 6"/>
                    <a:gd name="T42" fmla="*/ 4 w 6"/>
                    <a:gd name="T43" fmla="*/ 6 h 6"/>
                    <a:gd name="T44" fmla="*/ 4 w 6"/>
                    <a:gd name="T45" fmla="*/ 6 h 6"/>
                    <a:gd name="T46" fmla="*/ 6 w 6"/>
                    <a:gd name="T47" fmla="*/ 6 h 6"/>
                    <a:gd name="T48" fmla="*/ 6 w 6"/>
                    <a:gd name="T49" fmla="*/ 6 h 6"/>
                    <a:gd name="T50" fmla="*/ 4 w 6"/>
                    <a:gd name="T51" fmla="*/ 4 h 6"/>
                    <a:gd name="T52" fmla="*/ 4 w 6"/>
                    <a:gd name="T53" fmla="*/ 4 h 6"/>
                    <a:gd name="T54" fmla="*/ 4 w 6"/>
                    <a:gd name="T55" fmla="*/ 4 h 6"/>
                    <a:gd name="T56" fmla="*/ 1 w 6"/>
                    <a:gd name="T57" fmla="*/ 3 h 6"/>
                    <a:gd name="T58" fmla="*/ 2 w 6"/>
                    <a:gd name="T59" fmla="*/ 1 h 6"/>
                    <a:gd name="T60" fmla="*/ 2 w 6"/>
                    <a:gd name="T61" fmla="*/ 3 h 6"/>
                    <a:gd name="T62" fmla="*/ 4 w 6"/>
                    <a:gd name="T63" fmla="*/ 6 h 6"/>
                    <a:gd name="T64" fmla="*/ 6 w 6"/>
                    <a:gd name="T65" fmla="*/ 4 h 6"/>
                    <a:gd name="T66" fmla="*/ 6 w 6"/>
                    <a:gd name="T67" fmla="*/ 6 h 6"/>
                    <a:gd name="T68" fmla="*/ 2 w 6"/>
                    <a:gd name="T69" fmla="*/ 4 h 6"/>
                    <a:gd name="T70" fmla="*/ 4 w 6"/>
                    <a:gd name="T71" fmla="*/ 3 h 6"/>
                    <a:gd name="T72" fmla="*/ 4 w 6"/>
                    <a:gd name="T7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4"/>
                      </a:lnTo>
                      <a:lnTo>
                        <a:pt x="4" y="4"/>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4"/>
                      </a:lnTo>
                      <a:lnTo>
                        <a:pt x="2" y="4"/>
                      </a:lnTo>
                      <a:lnTo>
                        <a:pt x="2" y="4"/>
                      </a:lnTo>
                      <a:lnTo>
                        <a:pt x="2" y="4"/>
                      </a:lnTo>
                      <a:lnTo>
                        <a:pt x="2" y="5"/>
                      </a:lnTo>
                      <a:lnTo>
                        <a:pt x="1" y="5"/>
                      </a:lnTo>
                      <a:lnTo>
                        <a:pt x="1" y="6"/>
                      </a:lnTo>
                      <a:lnTo>
                        <a:pt x="0" y="6"/>
                      </a:lnTo>
                      <a:lnTo>
                        <a:pt x="0" y="6"/>
                      </a:lnTo>
                      <a:lnTo>
                        <a:pt x="1" y="6"/>
                      </a:lnTo>
                      <a:lnTo>
                        <a:pt x="1" y="6"/>
                      </a:lnTo>
                      <a:lnTo>
                        <a:pt x="2" y="6"/>
                      </a:lnTo>
                      <a:lnTo>
                        <a:pt x="2" y="5"/>
                      </a:lnTo>
                      <a:lnTo>
                        <a:pt x="2" y="5"/>
                      </a:lnTo>
                      <a:lnTo>
                        <a:pt x="2" y="4"/>
                      </a:lnTo>
                      <a:lnTo>
                        <a:pt x="4" y="4"/>
                      </a:lnTo>
                      <a:lnTo>
                        <a:pt x="4" y="6"/>
                      </a:lnTo>
                      <a:lnTo>
                        <a:pt x="4" y="6"/>
                      </a:lnTo>
                      <a:lnTo>
                        <a:pt x="4" y="6"/>
                      </a:lnTo>
                      <a:lnTo>
                        <a:pt x="6" y="6"/>
                      </a:lnTo>
                      <a:lnTo>
                        <a:pt x="6" y="6"/>
                      </a:lnTo>
                      <a:lnTo>
                        <a:pt x="6" y="6"/>
                      </a:lnTo>
                      <a:lnTo>
                        <a:pt x="6" y="6"/>
                      </a:lnTo>
                      <a:close/>
                      <a:moveTo>
                        <a:pt x="4" y="4"/>
                      </a:moveTo>
                      <a:lnTo>
                        <a:pt x="4" y="4"/>
                      </a:lnTo>
                      <a:lnTo>
                        <a:pt x="4" y="4"/>
                      </a:lnTo>
                      <a:lnTo>
                        <a:pt x="4" y="4"/>
                      </a:lnTo>
                      <a:lnTo>
                        <a:pt x="4" y="4"/>
                      </a:lnTo>
                      <a:lnTo>
                        <a:pt x="4" y="4"/>
                      </a:lnTo>
                      <a:close/>
                      <a:moveTo>
                        <a:pt x="2" y="3"/>
                      </a:moveTo>
                      <a:lnTo>
                        <a:pt x="1" y="3"/>
                      </a:lnTo>
                      <a:lnTo>
                        <a:pt x="1" y="1"/>
                      </a:lnTo>
                      <a:lnTo>
                        <a:pt x="2" y="1"/>
                      </a:lnTo>
                      <a:lnTo>
                        <a:pt x="2" y="3"/>
                      </a:lnTo>
                      <a:lnTo>
                        <a:pt x="2" y="3"/>
                      </a:lnTo>
                      <a:close/>
                      <a:moveTo>
                        <a:pt x="6" y="6"/>
                      </a:moveTo>
                      <a:lnTo>
                        <a:pt x="4" y="6"/>
                      </a:lnTo>
                      <a:lnTo>
                        <a:pt x="4" y="4"/>
                      </a:lnTo>
                      <a:lnTo>
                        <a:pt x="6" y="4"/>
                      </a:lnTo>
                      <a:lnTo>
                        <a:pt x="6" y="6"/>
                      </a:lnTo>
                      <a:lnTo>
                        <a:pt x="6" y="6"/>
                      </a:lnTo>
                      <a:close/>
                      <a:moveTo>
                        <a:pt x="4" y="4"/>
                      </a:moveTo>
                      <a:lnTo>
                        <a:pt x="2" y="4"/>
                      </a:lnTo>
                      <a:lnTo>
                        <a:pt x="2" y="3"/>
                      </a:lnTo>
                      <a:lnTo>
                        <a:pt x="4" y="3"/>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7" name="Freeform 291"/>
                <p:cNvSpPr>
                  <a:spLocks noEditPoints="1"/>
                </p:cNvSpPr>
                <p:nvPr/>
              </p:nvSpPr>
              <p:spPr bwMode="auto">
                <a:xfrm>
                  <a:off x="4367772" y="2405264"/>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8" name="Freeform 292"/>
                <p:cNvSpPr>
                  <a:spLocks/>
                </p:cNvSpPr>
                <p:nvPr/>
              </p:nvSpPr>
              <p:spPr bwMode="auto">
                <a:xfrm>
                  <a:off x="4405132" y="2405264"/>
                  <a:ext cx="29890" cy="37365"/>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39" name="Freeform 293"/>
                <p:cNvSpPr>
                  <a:spLocks/>
                </p:cNvSpPr>
                <p:nvPr/>
              </p:nvSpPr>
              <p:spPr bwMode="auto">
                <a:xfrm>
                  <a:off x="4442497" y="2442629"/>
                  <a:ext cx="7475"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0" name="Freeform 294"/>
                <p:cNvSpPr>
                  <a:spLocks/>
                </p:cNvSpPr>
                <p:nvPr/>
              </p:nvSpPr>
              <p:spPr bwMode="auto">
                <a:xfrm>
                  <a:off x="4457442" y="2405264"/>
                  <a:ext cx="29890" cy="37365"/>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1 w 4"/>
                    <a:gd name="T45" fmla="*/ 3 h 5"/>
                    <a:gd name="T46" fmla="*/ 1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1" y="3"/>
                      </a:lnTo>
                      <a:lnTo>
                        <a:pt x="1"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1" name="Freeform 295"/>
                <p:cNvSpPr>
                  <a:spLocks noEditPoints="1"/>
                </p:cNvSpPr>
                <p:nvPr/>
              </p:nvSpPr>
              <p:spPr bwMode="auto">
                <a:xfrm>
                  <a:off x="4494802" y="2405264"/>
                  <a:ext cx="29890"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2" name="Freeform 296"/>
                <p:cNvSpPr>
                  <a:spLocks noEditPoints="1"/>
                </p:cNvSpPr>
                <p:nvPr/>
              </p:nvSpPr>
              <p:spPr bwMode="auto">
                <a:xfrm>
                  <a:off x="4524692" y="2405264"/>
                  <a:ext cx="37365" cy="37365"/>
                </a:xfrm>
                <a:custGeom>
                  <a:avLst/>
                  <a:gdLst>
                    <a:gd name="T0" fmla="*/ 5 w 5"/>
                    <a:gd name="T1" fmla="*/ 4 h 5"/>
                    <a:gd name="T2" fmla="*/ 5 w 5"/>
                    <a:gd name="T3" fmla="*/ 3 h 5"/>
                    <a:gd name="T4" fmla="*/ 4 w 5"/>
                    <a:gd name="T5" fmla="*/ 3 h 5"/>
                    <a:gd name="T6" fmla="*/ 4 w 5"/>
                    <a:gd name="T7" fmla="*/ 0 h 5"/>
                    <a:gd name="T8" fmla="*/ 4 w 5"/>
                    <a:gd name="T9" fmla="*/ 0 h 5"/>
                    <a:gd name="T10" fmla="*/ 4 w 5"/>
                    <a:gd name="T11" fmla="*/ 1 h 5"/>
                    <a:gd name="T12" fmla="*/ 3 w 5"/>
                    <a:gd name="T13" fmla="*/ 1 h 5"/>
                    <a:gd name="T14" fmla="*/ 3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4 w 5"/>
                    <a:gd name="T29" fmla="*/ 4 h 5"/>
                    <a:gd name="T30" fmla="*/ 4 w 5"/>
                    <a:gd name="T31" fmla="*/ 5 h 5"/>
                    <a:gd name="T32" fmla="*/ 4 w 5"/>
                    <a:gd name="T33" fmla="*/ 5 h 5"/>
                    <a:gd name="T34" fmla="*/ 4 w 5"/>
                    <a:gd name="T35" fmla="*/ 4 h 5"/>
                    <a:gd name="T36" fmla="*/ 5 w 5"/>
                    <a:gd name="T37" fmla="*/ 4 h 5"/>
                    <a:gd name="T38" fmla="*/ 5 w 5"/>
                    <a:gd name="T39" fmla="*/ 4 h 5"/>
                    <a:gd name="T40" fmla="*/ 4 w 5"/>
                    <a:gd name="T41" fmla="*/ 3 h 5"/>
                    <a:gd name="T42" fmla="*/ 2 w 5"/>
                    <a:gd name="T43" fmla="*/ 3 h 5"/>
                    <a:gd name="T44" fmla="*/ 2 w 5"/>
                    <a:gd name="T45" fmla="*/ 3 h 5"/>
                    <a:gd name="T46" fmla="*/ 3 w 5"/>
                    <a:gd name="T47" fmla="*/ 3 h 5"/>
                    <a:gd name="T48" fmla="*/ 3 w 5"/>
                    <a:gd name="T49" fmla="*/ 2 h 5"/>
                    <a:gd name="T50" fmla="*/ 4 w 5"/>
                    <a:gd name="T51" fmla="*/ 2 h 5"/>
                    <a:gd name="T52" fmla="*/ 4 w 5"/>
                    <a:gd name="T53" fmla="*/ 3 h 5"/>
                    <a:gd name="T54" fmla="*/ 4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5"/>
                      </a:lnTo>
                      <a:lnTo>
                        <a:pt x="4" y="5"/>
                      </a:lnTo>
                      <a:lnTo>
                        <a:pt x="4" y="4"/>
                      </a:lnTo>
                      <a:lnTo>
                        <a:pt x="5" y="4"/>
                      </a:lnTo>
                      <a:lnTo>
                        <a:pt x="5"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3" name="Freeform 297"/>
                <p:cNvSpPr>
                  <a:spLocks/>
                </p:cNvSpPr>
                <p:nvPr/>
              </p:nvSpPr>
              <p:spPr bwMode="auto">
                <a:xfrm>
                  <a:off x="3351509"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4" name="Freeform 298"/>
                <p:cNvSpPr>
                  <a:spLocks/>
                </p:cNvSpPr>
                <p:nvPr/>
              </p:nvSpPr>
              <p:spPr bwMode="auto">
                <a:xfrm>
                  <a:off x="3381399" y="2479989"/>
                  <a:ext cx="29890" cy="44835"/>
                </a:xfrm>
                <a:custGeom>
                  <a:avLst/>
                  <a:gdLst>
                    <a:gd name="T0" fmla="*/ 4 w 4"/>
                    <a:gd name="T1" fmla="*/ 6 h 6"/>
                    <a:gd name="T2" fmla="*/ 4 w 4"/>
                    <a:gd name="T3" fmla="*/ 4 h 6"/>
                    <a:gd name="T4" fmla="*/ 3 w 4"/>
                    <a:gd name="T5" fmla="*/ 4 h 6"/>
                    <a:gd name="T6" fmla="*/ 3 w 4"/>
                    <a:gd name="T7" fmla="*/ 4 h 6"/>
                    <a:gd name="T8" fmla="*/ 2 w 4"/>
                    <a:gd name="T9" fmla="*/ 4 h 6"/>
                    <a:gd name="T10" fmla="*/ 2 w 4"/>
                    <a:gd name="T11" fmla="*/ 2 h 6"/>
                    <a:gd name="T12" fmla="*/ 3 w 4"/>
                    <a:gd name="T13" fmla="*/ 2 h 6"/>
                    <a:gd name="T14" fmla="*/ 3 w 4"/>
                    <a:gd name="T15" fmla="*/ 2 h 6"/>
                    <a:gd name="T16" fmla="*/ 4 w 4"/>
                    <a:gd name="T17" fmla="*/ 2 h 6"/>
                    <a:gd name="T18" fmla="*/ 4 w 4"/>
                    <a:gd name="T19" fmla="*/ 0 h 6"/>
                    <a:gd name="T20" fmla="*/ 3 w 4"/>
                    <a:gd name="T21" fmla="*/ 0 h 6"/>
                    <a:gd name="T22" fmla="*/ 3 w 4"/>
                    <a:gd name="T23" fmla="*/ 2 h 6"/>
                    <a:gd name="T24" fmla="*/ 2 w 4"/>
                    <a:gd name="T25" fmla="*/ 2 h 6"/>
                    <a:gd name="T26" fmla="*/ 2 w 4"/>
                    <a:gd name="T27" fmla="*/ 2 h 6"/>
                    <a:gd name="T28" fmla="*/ 1 w 4"/>
                    <a:gd name="T29" fmla="*/ 2 h 6"/>
                    <a:gd name="T30" fmla="*/ 1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1 w 4"/>
                    <a:gd name="T45" fmla="*/ 2 h 6"/>
                    <a:gd name="T46" fmla="*/ 1 w 4"/>
                    <a:gd name="T47" fmla="*/ 4 h 6"/>
                    <a:gd name="T48" fmla="*/ 1 w 4"/>
                    <a:gd name="T49" fmla="*/ 4 h 6"/>
                    <a:gd name="T50" fmla="*/ 1 w 4"/>
                    <a:gd name="T51" fmla="*/ 4 h 6"/>
                    <a:gd name="T52" fmla="*/ 0 w 4"/>
                    <a:gd name="T53" fmla="*/ 4 h 6"/>
                    <a:gd name="T54" fmla="*/ 0 w 4"/>
                    <a:gd name="T55" fmla="*/ 6 h 6"/>
                    <a:gd name="T56" fmla="*/ 1 w 4"/>
                    <a:gd name="T57" fmla="*/ 6 h 6"/>
                    <a:gd name="T58" fmla="*/ 1 w 4"/>
                    <a:gd name="T59" fmla="*/ 4 h 6"/>
                    <a:gd name="T60" fmla="*/ 1 w 4"/>
                    <a:gd name="T61" fmla="*/ 4 h 6"/>
                    <a:gd name="T62" fmla="*/ 1 w 4"/>
                    <a:gd name="T63" fmla="*/ 4 h 6"/>
                    <a:gd name="T64" fmla="*/ 2 w 4"/>
                    <a:gd name="T65" fmla="*/ 4 h 6"/>
                    <a:gd name="T66" fmla="*/ 2 w 4"/>
                    <a:gd name="T67" fmla="*/ 4 h 6"/>
                    <a:gd name="T68" fmla="*/ 3 w 4"/>
                    <a:gd name="T69" fmla="*/ 4 h 6"/>
                    <a:gd name="T70" fmla="*/ 3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3" y="4"/>
                      </a:lnTo>
                      <a:lnTo>
                        <a:pt x="3" y="4"/>
                      </a:lnTo>
                      <a:lnTo>
                        <a:pt x="2" y="4"/>
                      </a:lnTo>
                      <a:lnTo>
                        <a:pt x="2" y="2"/>
                      </a:lnTo>
                      <a:lnTo>
                        <a:pt x="3" y="2"/>
                      </a:lnTo>
                      <a:lnTo>
                        <a:pt x="3" y="2"/>
                      </a:lnTo>
                      <a:lnTo>
                        <a:pt x="4" y="2"/>
                      </a:lnTo>
                      <a:lnTo>
                        <a:pt x="4" y="0"/>
                      </a:lnTo>
                      <a:lnTo>
                        <a:pt x="3" y="0"/>
                      </a:lnTo>
                      <a:lnTo>
                        <a:pt x="3" y="2"/>
                      </a:lnTo>
                      <a:lnTo>
                        <a:pt x="2" y="2"/>
                      </a:lnTo>
                      <a:lnTo>
                        <a:pt x="2" y="2"/>
                      </a:lnTo>
                      <a:lnTo>
                        <a:pt x="1" y="2"/>
                      </a:lnTo>
                      <a:lnTo>
                        <a:pt x="1" y="2"/>
                      </a:lnTo>
                      <a:lnTo>
                        <a:pt x="1" y="2"/>
                      </a:lnTo>
                      <a:lnTo>
                        <a:pt x="1" y="0"/>
                      </a:lnTo>
                      <a:lnTo>
                        <a:pt x="0" y="0"/>
                      </a:lnTo>
                      <a:lnTo>
                        <a:pt x="0" y="2"/>
                      </a:lnTo>
                      <a:lnTo>
                        <a:pt x="1" y="2"/>
                      </a:lnTo>
                      <a:lnTo>
                        <a:pt x="1" y="2"/>
                      </a:lnTo>
                      <a:lnTo>
                        <a:pt x="1" y="2"/>
                      </a:lnTo>
                      <a:lnTo>
                        <a:pt x="1" y="4"/>
                      </a:lnTo>
                      <a:lnTo>
                        <a:pt x="1" y="4"/>
                      </a:lnTo>
                      <a:lnTo>
                        <a:pt x="1" y="4"/>
                      </a:lnTo>
                      <a:lnTo>
                        <a:pt x="0" y="4"/>
                      </a:lnTo>
                      <a:lnTo>
                        <a:pt x="0" y="6"/>
                      </a:lnTo>
                      <a:lnTo>
                        <a:pt x="1" y="6"/>
                      </a:lnTo>
                      <a:lnTo>
                        <a:pt x="1" y="4"/>
                      </a:lnTo>
                      <a:lnTo>
                        <a:pt x="1" y="4"/>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5" name="Freeform 299"/>
                <p:cNvSpPr>
                  <a:spLocks noEditPoints="1"/>
                </p:cNvSpPr>
                <p:nvPr/>
              </p:nvSpPr>
              <p:spPr bwMode="auto">
                <a:xfrm>
                  <a:off x="3418760" y="2479989"/>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6" name="Freeform 300"/>
                <p:cNvSpPr>
                  <a:spLocks/>
                </p:cNvSpPr>
                <p:nvPr/>
              </p:nvSpPr>
              <p:spPr bwMode="auto">
                <a:xfrm>
                  <a:off x="3448650" y="247998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2 h 6"/>
                    <a:gd name="T12" fmla="*/ 2 w 4"/>
                    <a:gd name="T13" fmla="*/ 2 h 6"/>
                    <a:gd name="T14" fmla="*/ 2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2" y="5"/>
                      </a:lnTo>
                      <a:lnTo>
                        <a:pt x="2" y="4"/>
                      </a:lnTo>
                      <a:lnTo>
                        <a:pt x="3" y="4"/>
                      </a:lnTo>
                      <a:lnTo>
                        <a:pt x="3" y="2"/>
                      </a:lnTo>
                      <a:lnTo>
                        <a:pt x="2" y="2"/>
                      </a:lnTo>
                      <a:lnTo>
                        <a:pt x="2"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7" name="Freeform 301"/>
                <p:cNvSpPr>
                  <a:spLocks/>
                </p:cNvSpPr>
                <p:nvPr/>
              </p:nvSpPr>
              <p:spPr bwMode="auto">
                <a:xfrm>
                  <a:off x="3486015"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8" name="Freeform 302"/>
                <p:cNvSpPr>
                  <a:spLocks/>
                </p:cNvSpPr>
                <p:nvPr/>
              </p:nvSpPr>
              <p:spPr bwMode="auto">
                <a:xfrm>
                  <a:off x="3523375" y="2479989"/>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49" name="Freeform 303"/>
                <p:cNvSpPr>
                  <a:spLocks/>
                </p:cNvSpPr>
                <p:nvPr/>
              </p:nvSpPr>
              <p:spPr bwMode="auto">
                <a:xfrm>
                  <a:off x="3553265"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0" name="Freeform 304"/>
                <p:cNvSpPr>
                  <a:spLocks noEditPoints="1"/>
                </p:cNvSpPr>
                <p:nvPr/>
              </p:nvSpPr>
              <p:spPr bwMode="auto">
                <a:xfrm>
                  <a:off x="3590630" y="2479989"/>
                  <a:ext cx="22420" cy="44835"/>
                </a:xfrm>
                <a:custGeom>
                  <a:avLst/>
                  <a:gdLst>
                    <a:gd name="T0" fmla="*/ 3 w 3"/>
                    <a:gd name="T1" fmla="*/ 4 h 6"/>
                    <a:gd name="T2" fmla="*/ 3 w 3"/>
                    <a:gd name="T3" fmla="*/ 2 h 6"/>
                    <a:gd name="T4" fmla="*/ 3 w 3"/>
                    <a:gd name="T5" fmla="*/ 2 h 6"/>
                    <a:gd name="T6" fmla="*/ 3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3 w 3"/>
                    <a:gd name="T21" fmla="*/ 5 h 6"/>
                    <a:gd name="T22" fmla="*/ 3 w 3"/>
                    <a:gd name="T23" fmla="*/ 4 h 6"/>
                    <a:gd name="T24" fmla="*/ 3 w 3"/>
                    <a:gd name="T25" fmla="*/ 4 h 6"/>
                    <a:gd name="T26" fmla="*/ 3 w 3"/>
                    <a:gd name="T27" fmla="*/ 4 h 6"/>
                    <a:gd name="T28" fmla="*/ 3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3 w 3"/>
                    <a:gd name="T43" fmla="*/ 2 h 6"/>
                    <a:gd name="T44" fmla="*/ 3 w 3"/>
                    <a:gd name="T45" fmla="*/ 4 h 6"/>
                    <a:gd name="T46" fmla="*/ 3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3" y="2"/>
                      </a:lnTo>
                      <a:lnTo>
                        <a:pt x="3" y="1"/>
                      </a:lnTo>
                      <a:lnTo>
                        <a:pt x="2" y="1"/>
                      </a:lnTo>
                      <a:lnTo>
                        <a:pt x="2" y="0"/>
                      </a:lnTo>
                      <a:lnTo>
                        <a:pt x="0" y="0"/>
                      </a:lnTo>
                      <a:lnTo>
                        <a:pt x="0" y="6"/>
                      </a:lnTo>
                      <a:lnTo>
                        <a:pt x="2" y="6"/>
                      </a:lnTo>
                      <a:lnTo>
                        <a:pt x="2" y="5"/>
                      </a:lnTo>
                      <a:lnTo>
                        <a:pt x="3" y="5"/>
                      </a:lnTo>
                      <a:lnTo>
                        <a:pt x="3" y="4"/>
                      </a:lnTo>
                      <a:lnTo>
                        <a:pt x="3" y="4"/>
                      </a:lnTo>
                      <a:lnTo>
                        <a:pt x="3"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1" name="Freeform 305"/>
                <p:cNvSpPr>
                  <a:spLocks noEditPoints="1"/>
                </p:cNvSpPr>
                <p:nvPr/>
              </p:nvSpPr>
              <p:spPr bwMode="auto">
                <a:xfrm>
                  <a:off x="3635465"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2" name="Freeform 306"/>
                <p:cNvSpPr>
                  <a:spLocks noEditPoints="1"/>
                </p:cNvSpPr>
                <p:nvPr/>
              </p:nvSpPr>
              <p:spPr bwMode="auto">
                <a:xfrm>
                  <a:off x="3672825" y="247998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3" name="Freeform 307"/>
                <p:cNvSpPr>
                  <a:spLocks/>
                </p:cNvSpPr>
                <p:nvPr/>
              </p:nvSpPr>
              <p:spPr bwMode="auto">
                <a:xfrm>
                  <a:off x="3710190"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4" name="Freeform 308"/>
                <p:cNvSpPr>
                  <a:spLocks/>
                </p:cNvSpPr>
                <p:nvPr/>
              </p:nvSpPr>
              <p:spPr bwMode="auto">
                <a:xfrm>
                  <a:off x="3725135" y="247998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5" name="Freeform 309"/>
                <p:cNvSpPr>
                  <a:spLocks/>
                </p:cNvSpPr>
                <p:nvPr/>
              </p:nvSpPr>
              <p:spPr bwMode="auto">
                <a:xfrm>
                  <a:off x="3755025" y="2479989"/>
                  <a:ext cx="22420" cy="44835"/>
                </a:xfrm>
                <a:custGeom>
                  <a:avLst/>
                  <a:gdLst>
                    <a:gd name="T0" fmla="*/ 3 w 3"/>
                    <a:gd name="T1" fmla="*/ 6 h 6"/>
                    <a:gd name="T2" fmla="*/ 3 w 3"/>
                    <a:gd name="T3" fmla="*/ 5 h 6"/>
                    <a:gd name="T4" fmla="*/ 0 w 3"/>
                    <a:gd name="T5" fmla="*/ 5 h 6"/>
                    <a:gd name="T6" fmla="*/ 0 w 3"/>
                    <a:gd name="T7" fmla="*/ 4 h 6"/>
                    <a:gd name="T8" fmla="*/ 2 w 3"/>
                    <a:gd name="T9" fmla="*/ 4 h 6"/>
                    <a:gd name="T10" fmla="*/ 2 w 3"/>
                    <a:gd name="T11" fmla="*/ 2 h 6"/>
                    <a:gd name="T12" fmla="*/ 0 w 3"/>
                    <a:gd name="T13" fmla="*/ 2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4"/>
                      </a:lnTo>
                      <a:lnTo>
                        <a:pt x="2" y="4"/>
                      </a:lnTo>
                      <a:lnTo>
                        <a:pt x="2" y="2"/>
                      </a:lnTo>
                      <a:lnTo>
                        <a:pt x="0" y="2"/>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6" name="Freeform 310"/>
                <p:cNvSpPr>
                  <a:spLocks noEditPoints="1"/>
                </p:cNvSpPr>
                <p:nvPr/>
              </p:nvSpPr>
              <p:spPr bwMode="auto">
                <a:xfrm>
                  <a:off x="3784915" y="2479989"/>
                  <a:ext cx="29890" cy="44835"/>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4 h 6"/>
                    <a:gd name="T24" fmla="*/ 2 w 4"/>
                    <a:gd name="T25" fmla="*/ 4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4"/>
                      </a:lnTo>
                      <a:lnTo>
                        <a:pt x="2" y="4"/>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7" name="Freeform 311"/>
                <p:cNvSpPr>
                  <a:spLocks/>
                </p:cNvSpPr>
                <p:nvPr/>
              </p:nvSpPr>
              <p:spPr bwMode="auto">
                <a:xfrm>
                  <a:off x="3829750" y="2479989"/>
                  <a:ext cx="29890" cy="44835"/>
                </a:xfrm>
                <a:custGeom>
                  <a:avLst/>
                  <a:gdLst>
                    <a:gd name="T0" fmla="*/ 4 w 4"/>
                    <a:gd name="T1" fmla="*/ 6 h 6"/>
                    <a:gd name="T2" fmla="*/ 4 w 4"/>
                    <a:gd name="T3" fmla="*/ 5 h 6"/>
                    <a:gd name="T4" fmla="*/ 1 w 4"/>
                    <a:gd name="T5" fmla="*/ 5 h 6"/>
                    <a:gd name="T6" fmla="*/ 1 w 4"/>
                    <a:gd name="T7" fmla="*/ 4 h 6"/>
                    <a:gd name="T8" fmla="*/ 3 w 4"/>
                    <a:gd name="T9" fmla="*/ 4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4"/>
                      </a:lnTo>
                      <a:lnTo>
                        <a:pt x="3" y="4"/>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8" name="Freeform 312"/>
                <p:cNvSpPr>
                  <a:spLocks/>
                </p:cNvSpPr>
                <p:nvPr/>
              </p:nvSpPr>
              <p:spPr bwMode="auto">
                <a:xfrm>
                  <a:off x="3859641" y="2479989"/>
                  <a:ext cx="29890" cy="44835"/>
                </a:xfrm>
                <a:custGeom>
                  <a:avLst/>
                  <a:gdLst>
                    <a:gd name="T0" fmla="*/ 4 w 4"/>
                    <a:gd name="T1" fmla="*/ 1 h 6"/>
                    <a:gd name="T2" fmla="*/ 4 w 4"/>
                    <a:gd name="T3" fmla="*/ 0 h 6"/>
                    <a:gd name="T4" fmla="*/ 0 w 4"/>
                    <a:gd name="T5" fmla="*/ 0 h 6"/>
                    <a:gd name="T6" fmla="*/ 0 w 4"/>
                    <a:gd name="T7" fmla="*/ 6 h 6"/>
                    <a:gd name="T8" fmla="*/ 1 w 4"/>
                    <a:gd name="T9" fmla="*/ 6 h 6"/>
                    <a:gd name="T10" fmla="*/ 1 w 4"/>
                    <a:gd name="T11" fmla="*/ 4 h 6"/>
                    <a:gd name="T12" fmla="*/ 3 w 4"/>
                    <a:gd name="T13" fmla="*/ 4 h 6"/>
                    <a:gd name="T14" fmla="*/ 3 w 4"/>
                    <a:gd name="T15" fmla="*/ 2 h 6"/>
                    <a:gd name="T16" fmla="*/ 1 w 4"/>
                    <a:gd name="T17" fmla="*/ 2 h 6"/>
                    <a:gd name="T18" fmla="*/ 1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1" y="6"/>
                      </a:lnTo>
                      <a:lnTo>
                        <a:pt x="1" y="4"/>
                      </a:lnTo>
                      <a:lnTo>
                        <a:pt x="3" y="4"/>
                      </a:lnTo>
                      <a:lnTo>
                        <a:pt x="3" y="2"/>
                      </a:lnTo>
                      <a:lnTo>
                        <a:pt x="1" y="2"/>
                      </a:lnTo>
                      <a:lnTo>
                        <a:pt x="1"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59" name="Freeform 313"/>
                <p:cNvSpPr>
                  <a:spLocks/>
                </p:cNvSpPr>
                <p:nvPr/>
              </p:nvSpPr>
              <p:spPr bwMode="auto">
                <a:xfrm>
                  <a:off x="3889531" y="2479989"/>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4 h 6"/>
                    <a:gd name="T12" fmla="*/ 3 w 4"/>
                    <a:gd name="T13" fmla="*/ 4 h 6"/>
                    <a:gd name="T14" fmla="*/ 3 w 4"/>
                    <a:gd name="T15" fmla="*/ 2 h 6"/>
                    <a:gd name="T16" fmla="*/ 2 w 4"/>
                    <a:gd name="T17" fmla="*/ 2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4"/>
                      </a:lnTo>
                      <a:lnTo>
                        <a:pt x="3" y="4"/>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0" name="Freeform 314"/>
                <p:cNvSpPr>
                  <a:spLocks/>
                </p:cNvSpPr>
                <p:nvPr/>
              </p:nvSpPr>
              <p:spPr bwMode="auto">
                <a:xfrm>
                  <a:off x="3919421" y="2479989"/>
                  <a:ext cx="14945" cy="44835"/>
                </a:xfrm>
                <a:custGeom>
                  <a:avLst/>
                  <a:gdLst>
                    <a:gd name="T0" fmla="*/ 2 w 2"/>
                    <a:gd name="T1" fmla="*/ 6 h 6"/>
                    <a:gd name="T2" fmla="*/ 2 w 2"/>
                    <a:gd name="T3" fmla="*/ 0 h 6"/>
                    <a:gd name="T4" fmla="*/ 0 w 2"/>
                    <a:gd name="T5" fmla="*/ 0 h 6"/>
                    <a:gd name="T6" fmla="*/ 0 w 2"/>
                    <a:gd name="T7" fmla="*/ 6 h 6"/>
                    <a:gd name="T8" fmla="*/ 2 w 2"/>
                    <a:gd name="T9" fmla="*/ 6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1" name="Freeform 315"/>
                <p:cNvSpPr>
                  <a:spLocks/>
                </p:cNvSpPr>
                <p:nvPr/>
              </p:nvSpPr>
              <p:spPr bwMode="auto">
                <a:xfrm>
                  <a:off x="3934366" y="2479989"/>
                  <a:ext cx="29890" cy="44835"/>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2" name="Freeform 316"/>
                <p:cNvSpPr>
                  <a:spLocks/>
                </p:cNvSpPr>
                <p:nvPr/>
              </p:nvSpPr>
              <p:spPr bwMode="auto">
                <a:xfrm>
                  <a:off x="3971726" y="2479989"/>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3" name="Freeform 317"/>
                <p:cNvSpPr>
                  <a:spLocks/>
                </p:cNvSpPr>
                <p:nvPr/>
              </p:nvSpPr>
              <p:spPr bwMode="auto">
                <a:xfrm>
                  <a:off x="3986671" y="2479989"/>
                  <a:ext cx="22420"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4" name="Freeform 318"/>
                <p:cNvSpPr>
                  <a:spLocks/>
                </p:cNvSpPr>
                <p:nvPr/>
              </p:nvSpPr>
              <p:spPr bwMode="auto">
                <a:xfrm>
                  <a:off x="4016561" y="2479989"/>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2"/>
                      </a:lnTo>
                      <a:lnTo>
                        <a:pt x="2" y="2"/>
                      </a:lnTo>
                      <a:lnTo>
                        <a:pt x="2" y="2"/>
                      </a:lnTo>
                      <a:lnTo>
                        <a:pt x="1" y="2"/>
                      </a:lnTo>
                      <a:lnTo>
                        <a:pt x="1" y="0"/>
                      </a:lnTo>
                      <a:lnTo>
                        <a:pt x="0" y="0"/>
                      </a:lnTo>
                      <a:lnTo>
                        <a:pt x="0" y="6"/>
                      </a:lnTo>
                      <a:lnTo>
                        <a:pt x="1" y="6"/>
                      </a:lnTo>
                      <a:lnTo>
                        <a:pt x="1" y="2"/>
                      </a:lnTo>
                      <a:lnTo>
                        <a:pt x="2" y="2"/>
                      </a:lnTo>
                      <a:lnTo>
                        <a:pt x="2"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5" name="Freeform 319"/>
                <p:cNvSpPr>
                  <a:spLocks/>
                </p:cNvSpPr>
                <p:nvPr/>
              </p:nvSpPr>
              <p:spPr bwMode="auto">
                <a:xfrm>
                  <a:off x="4053926" y="2479989"/>
                  <a:ext cx="29890" cy="44835"/>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6" name="Freeform 320"/>
                <p:cNvSpPr>
                  <a:spLocks/>
                </p:cNvSpPr>
                <p:nvPr/>
              </p:nvSpPr>
              <p:spPr bwMode="auto">
                <a:xfrm>
                  <a:off x="4091286" y="2479989"/>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2 h 6"/>
                    <a:gd name="T28" fmla="*/ 2 w 4"/>
                    <a:gd name="T29" fmla="*/ 2 h 6"/>
                    <a:gd name="T30" fmla="*/ 2 w 4"/>
                    <a:gd name="T31" fmla="*/ 6 h 6"/>
                    <a:gd name="T32" fmla="*/ 2 w 4"/>
                    <a:gd name="T33" fmla="*/ 6 h 6"/>
                    <a:gd name="T34" fmla="*/ 2 w 4"/>
                    <a:gd name="T35" fmla="*/ 2 h 6"/>
                    <a:gd name="T36" fmla="*/ 3 w 4"/>
                    <a:gd name="T37" fmla="*/ 2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2"/>
                      </a:lnTo>
                      <a:lnTo>
                        <a:pt x="2" y="2"/>
                      </a:lnTo>
                      <a:lnTo>
                        <a:pt x="2" y="2"/>
                      </a:lnTo>
                      <a:lnTo>
                        <a:pt x="1" y="2"/>
                      </a:lnTo>
                      <a:lnTo>
                        <a:pt x="1" y="0"/>
                      </a:lnTo>
                      <a:lnTo>
                        <a:pt x="0" y="0"/>
                      </a:lnTo>
                      <a:lnTo>
                        <a:pt x="0" y="2"/>
                      </a:lnTo>
                      <a:lnTo>
                        <a:pt x="1" y="2"/>
                      </a:lnTo>
                      <a:lnTo>
                        <a:pt x="1" y="2"/>
                      </a:lnTo>
                      <a:lnTo>
                        <a:pt x="2" y="2"/>
                      </a:lnTo>
                      <a:lnTo>
                        <a:pt x="2" y="6"/>
                      </a:lnTo>
                      <a:lnTo>
                        <a:pt x="2" y="6"/>
                      </a:lnTo>
                      <a:lnTo>
                        <a:pt x="2" y="2"/>
                      </a:lnTo>
                      <a:lnTo>
                        <a:pt x="3" y="2"/>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7" name="Freeform 321"/>
                <p:cNvSpPr>
                  <a:spLocks noEditPoints="1"/>
                </p:cNvSpPr>
                <p:nvPr/>
              </p:nvSpPr>
              <p:spPr bwMode="auto">
                <a:xfrm>
                  <a:off x="4263156" y="2472519"/>
                  <a:ext cx="44835" cy="52310"/>
                </a:xfrm>
                <a:custGeom>
                  <a:avLst/>
                  <a:gdLst>
                    <a:gd name="T0" fmla="*/ 6 w 6"/>
                    <a:gd name="T1" fmla="*/ 5 h 7"/>
                    <a:gd name="T2" fmla="*/ 6 w 6"/>
                    <a:gd name="T3" fmla="*/ 3 h 7"/>
                    <a:gd name="T4" fmla="*/ 4 w 6"/>
                    <a:gd name="T5" fmla="*/ 3 h 7"/>
                    <a:gd name="T6" fmla="*/ 5 w 6"/>
                    <a:gd name="T7" fmla="*/ 2 h 7"/>
                    <a:gd name="T8" fmla="*/ 6 w 6"/>
                    <a:gd name="T9" fmla="*/ 1 h 7"/>
                    <a:gd name="T10" fmla="*/ 6 w 6"/>
                    <a:gd name="T11" fmla="*/ 0 h 7"/>
                    <a:gd name="T12" fmla="*/ 6 w 6"/>
                    <a:gd name="T13" fmla="*/ 1 h 7"/>
                    <a:gd name="T14" fmla="*/ 5 w 6"/>
                    <a:gd name="T15" fmla="*/ 2 h 7"/>
                    <a:gd name="T16" fmla="*/ 4 w 6"/>
                    <a:gd name="T17" fmla="*/ 3 h 7"/>
                    <a:gd name="T18" fmla="*/ 4 w 6"/>
                    <a:gd name="T19" fmla="*/ 1 h 7"/>
                    <a:gd name="T20" fmla="*/ 2 w 6"/>
                    <a:gd name="T21" fmla="*/ 0 h 7"/>
                    <a:gd name="T22" fmla="*/ 1 w 6"/>
                    <a:gd name="T23" fmla="*/ 1 h 7"/>
                    <a:gd name="T24" fmla="*/ 0 w 6"/>
                    <a:gd name="T25" fmla="*/ 3 h 7"/>
                    <a:gd name="T26" fmla="*/ 1 w 6"/>
                    <a:gd name="T27" fmla="*/ 3 h 7"/>
                    <a:gd name="T28" fmla="*/ 2 w 6"/>
                    <a:gd name="T29" fmla="*/ 5 h 7"/>
                    <a:gd name="T30" fmla="*/ 2 w 6"/>
                    <a:gd name="T31" fmla="*/ 5 h 7"/>
                    <a:gd name="T32" fmla="*/ 1 w 6"/>
                    <a:gd name="T33" fmla="*/ 6 h 7"/>
                    <a:gd name="T34" fmla="*/ 0 w 6"/>
                    <a:gd name="T35" fmla="*/ 7 h 7"/>
                    <a:gd name="T36" fmla="*/ 1 w 6"/>
                    <a:gd name="T37" fmla="*/ 6 h 7"/>
                    <a:gd name="T38" fmla="*/ 2 w 6"/>
                    <a:gd name="T39" fmla="*/ 5 h 7"/>
                    <a:gd name="T40" fmla="*/ 2 w 6"/>
                    <a:gd name="T41" fmla="*/ 5 h 7"/>
                    <a:gd name="T42" fmla="*/ 4 w 6"/>
                    <a:gd name="T43" fmla="*/ 6 h 7"/>
                    <a:gd name="T44" fmla="*/ 4 w 6"/>
                    <a:gd name="T45" fmla="*/ 7 h 7"/>
                    <a:gd name="T46" fmla="*/ 6 w 6"/>
                    <a:gd name="T47" fmla="*/ 6 h 7"/>
                    <a:gd name="T48" fmla="*/ 6 w 6"/>
                    <a:gd name="T49" fmla="*/ 6 h 7"/>
                    <a:gd name="T50" fmla="*/ 4 w 6"/>
                    <a:gd name="T51" fmla="*/ 5 h 7"/>
                    <a:gd name="T52" fmla="*/ 4 w 6"/>
                    <a:gd name="T53" fmla="*/ 3 h 7"/>
                    <a:gd name="T54" fmla="*/ 4 w 6"/>
                    <a:gd name="T55" fmla="*/ 5 h 7"/>
                    <a:gd name="T56" fmla="*/ 1 w 6"/>
                    <a:gd name="T57" fmla="*/ 3 h 7"/>
                    <a:gd name="T58" fmla="*/ 2 w 6"/>
                    <a:gd name="T59" fmla="*/ 1 h 7"/>
                    <a:gd name="T60" fmla="*/ 2 w 6"/>
                    <a:gd name="T61" fmla="*/ 3 h 7"/>
                    <a:gd name="T62" fmla="*/ 4 w 6"/>
                    <a:gd name="T63" fmla="*/ 6 h 7"/>
                    <a:gd name="T64" fmla="*/ 6 w 6"/>
                    <a:gd name="T65" fmla="*/ 5 h 7"/>
                    <a:gd name="T66" fmla="*/ 6 w 6"/>
                    <a:gd name="T67" fmla="*/ 6 h 7"/>
                    <a:gd name="T68" fmla="*/ 2 w 6"/>
                    <a:gd name="T69" fmla="*/ 3 h 7"/>
                    <a:gd name="T70" fmla="*/ 4 w 6"/>
                    <a:gd name="T71" fmla="*/ 3 h 7"/>
                    <a:gd name="T72" fmla="*/ 4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6" y="5"/>
                      </a:lnTo>
                      <a:lnTo>
                        <a:pt x="6" y="3"/>
                      </a:lnTo>
                      <a:lnTo>
                        <a:pt x="4" y="3"/>
                      </a:lnTo>
                      <a:lnTo>
                        <a:pt x="4" y="3"/>
                      </a:lnTo>
                      <a:lnTo>
                        <a:pt x="5" y="3"/>
                      </a:lnTo>
                      <a:lnTo>
                        <a:pt x="5" y="2"/>
                      </a:lnTo>
                      <a:lnTo>
                        <a:pt x="6" y="2"/>
                      </a:lnTo>
                      <a:lnTo>
                        <a:pt x="6" y="1"/>
                      </a:lnTo>
                      <a:lnTo>
                        <a:pt x="6" y="1"/>
                      </a:lnTo>
                      <a:lnTo>
                        <a:pt x="6" y="0"/>
                      </a:lnTo>
                      <a:lnTo>
                        <a:pt x="6" y="0"/>
                      </a:lnTo>
                      <a:lnTo>
                        <a:pt x="6" y="1"/>
                      </a:lnTo>
                      <a:lnTo>
                        <a:pt x="5" y="1"/>
                      </a:lnTo>
                      <a:lnTo>
                        <a:pt x="5" y="2"/>
                      </a:lnTo>
                      <a:lnTo>
                        <a:pt x="4" y="2"/>
                      </a:lnTo>
                      <a:lnTo>
                        <a:pt x="4" y="3"/>
                      </a:lnTo>
                      <a:lnTo>
                        <a:pt x="4" y="3"/>
                      </a:lnTo>
                      <a:lnTo>
                        <a:pt x="4" y="1"/>
                      </a:lnTo>
                      <a:lnTo>
                        <a:pt x="2" y="1"/>
                      </a:lnTo>
                      <a:lnTo>
                        <a:pt x="2" y="0"/>
                      </a:lnTo>
                      <a:lnTo>
                        <a:pt x="1" y="0"/>
                      </a:lnTo>
                      <a:lnTo>
                        <a:pt x="1" y="1"/>
                      </a:lnTo>
                      <a:lnTo>
                        <a:pt x="0" y="1"/>
                      </a:lnTo>
                      <a:lnTo>
                        <a:pt x="0" y="3"/>
                      </a:lnTo>
                      <a:lnTo>
                        <a:pt x="1" y="3"/>
                      </a:lnTo>
                      <a:lnTo>
                        <a:pt x="1" y="3"/>
                      </a:lnTo>
                      <a:lnTo>
                        <a:pt x="2" y="3"/>
                      </a:lnTo>
                      <a:lnTo>
                        <a:pt x="2" y="5"/>
                      </a:lnTo>
                      <a:lnTo>
                        <a:pt x="2" y="5"/>
                      </a:lnTo>
                      <a:lnTo>
                        <a:pt x="2" y="5"/>
                      </a:lnTo>
                      <a:lnTo>
                        <a:pt x="1" y="5"/>
                      </a:lnTo>
                      <a:lnTo>
                        <a:pt x="1" y="6"/>
                      </a:lnTo>
                      <a:lnTo>
                        <a:pt x="0" y="6"/>
                      </a:lnTo>
                      <a:lnTo>
                        <a:pt x="0" y="7"/>
                      </a:lnTo>
                      <a:lnTo>
                        <a:pt x="1" y="7"/>
                      </a:lnTo>
                      <a:lnTo>
                        <a:pt x="1" y="6"/>
                      </a:lnTo>
                      <a:lnTo>
                        <a:pt x="2" y="6"/>
                      </a:lnTo>
                      <a:lnTo>
                        <a:pt x="2" y="5"/>
                      </a:lnTo>
                      <a:lnTo>
                        <a:pt x="2" y="5"/>
                      </a:lnTo>
                      <a:lnTo>
                        <a:pt x="2" y="5"/>
                      </a:lnTo>
                      <a:lnTo>
                        <a:pt x="4" y="5"/>
                      </a:lnTo>
                      <a:lnTo>
                        <a:pt x="4" y="6"/>
                      </a:lnTo>
                      <a:lnTo>
                        <a:pt x="4" y="6"/>
                      </a:lnTo>
                      <a:lnTo>
                        <a:pt x="4" y="7"/>
                      </a:lnTo>
                      <a:lnTo>
                        <a:pt x="6" y="7"/>
                      </a:lnTo>
                      <a:lnTo>
                        <a:pt x="6" y="6"/>
                      </a:lnTo>
                      <a:lnTo>
                        <a:pt x="6" y="6"/>
                      </a:lnTo>
                      <a:lnTo>
                        <a:pt x="6" y="6"/>
                      </a:lnTo>
                      <a:close/>
                      <a:moveTo>
                        <a:pt x="4" y="5"/>
                      </a:moveTo>
                      <a:lnTo>
                        <a:pt x="4" y="5"/>
                      </a:lnTo>
                      <a:lnTo>
                        <a:pt x="4" y="3"/>
                      </a:lnTo>
                      <a:lnTo>
                        <a:pt x="4" y="3"/>
                      </a:lnTo>
                      <a:lnTo>
                        <a:pt x="4" y="5"/>
                      </a:lnTo>
                      <a:lnTo>
                        <a:pt x="4" y="5"/>
                      </a:lnTo>
                      <a:close/>
                      <a:moveTo>
                        <a:pt x="2" y="3"/>
                      </a:moveTo>
                      <a:lnTo>
                        <a:pt x="1" y="3"/>
                      </a:lnTo>
                      <a:lnTo>
                        <a:pt x="1" y="1"/>
                      </a:lnTo>
                      <a:lnTo>
                        <a:pt x="2" y="1"/>
                      </a:lnTo>
                      <a:lnTo>
                        <a:pt x="2" y="3"/>
                      </a:lnTo>
                      <a:lnTo>
                        <a:pt x="2" y="3"/>
                      </a:lnTo>
                      <a:close/>
                      <a:moveTo>
                        <a:pt x="6" y="6"/>
                      </a:moveTo>
                      <a:lnTo>
                        <a:pt x="4" y="6"/>
                      </a:lnTo>
                      <a:lnTo>
                        <a:pt x="4" y="5"/>
                      </a:lnTo>
                      <a:lnTo>
                        <a:pt x="6" y="5"/>
                      </a:lnTo>
                      <a:lnTo>
                        <a:pt x="6" y="6"/>
                      </a:lnTo>
                      <a:lnTo>
                        <a:pt x="6" y="6"/>
                      </a:lnTo>
                      <a:close/>
                      <a:moveTo>
                        <a:pt x="4" y="3"/>
                      </a:moveTo>
                      <a:lnTo>
                        <a:pt x="2" y="3"/>
                      </a:lnTo>
                      <a:lnTo>
                        <a:pt x="2" y="3"/>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8" name="Freeform 322"/>
                <p:cNvSpPr>
                  <a:spLocks noEditPoints="1"/>
                </p:cNvSpPr>
                <p:nvPr/>
              </p:nvSpPr>
              <p:spPr bwMode="auto">
                <a:xfrm>
                  <a:off x="4367772" y="2479989"/>
                  <a:ext cx="29890" cy="44835"/>
                </a:xfrm>
                <a:custGeom>
                  <a:avLst/>
                  <a:gdLst>
                    <a:gd name="T0" fmla="*/ 4 w 4"/>
                    <a:gd name="T1" fmla="*/ 5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2"/>
                      </a:lnTo>
                      <a:lnTo>
                        <a:pt x="4" y="2"/>
                      </a:lnTo>
                      <a:lnTo>
                        <a:pt x="4" y="1"/>
                      </a:lnTo>
                      <a:lnTo>
                        <a:pt x="3" y="1"/>
                      </a:lnTo>
                      <a:lnTo>
                        <a:pt x="3" y="0"/>
                      </a:lnTo>
                      <a:lnTo>
                        <a:pt x="1" y="0"/>
                      </a:lnTo>
                      <a:lnTo>
                        <a:pt x="1" y="1"/>
                      </a:lnTo>
                      <a:lnTo>
                        <a:pt x="0" y="1"/>
                      </a:lnTo>
                      <a:lnTo>
                        <a:pt x="0" y="2"/>
                      </a:lnTo>
                      <a:lnTo>
                        <a:pt x="1" y="2"/>
                      </a:lnTo>
                      <a:lnTo>
                        <a:pt x="1" y="4"/>
                      </a:lnTo>
                      <a:lnTo>
                        <a:pt x="0" y="4"/>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69" name="Freeform 323"/>
                <p:cNvSpPr>
                  <a:spLocks/>
                </p:cNvSpPr>
                <p:nvPr/>
              </p:nvSpPr>
              <p:spPr bwMode="auto">
                <a:xfrm>
                  <a:off x="4405132" y="247998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2 w 4"/>
                    <a:gd name="T13" fmla="*/ 2 h 6"/>
                    <a:gd name="T14" fmla="*/ 2 w 4"/>
                    <a:gd name="T15" fmla="*/ 4 h 6"/>
                    <a:gd name="T16" fmla="*/ 1 w 4"/>
                    <a:gd name="T17" fmla="*/ 4 h 6"/>
                    <a:gd name="T18" fmla="*/ 1 w 4"/>
                    <a:gd name="T19" fmla="*/ 6 h 6"/>
                    <a:gd name="T20" fmla="*/ 2 w 4"/>
                    <a:gd name="T21" fmla="*/ 6 h 6"/>
                    <a:gd name="T22" fmla="*/ 2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0" name="Freeform 324"/>
                <p:cNvSpPr>
                  <a:spLocks/>
                </p:cNvSpPr>
                <p:nvPr/>
              </p:nvSpPr>
              <p:spPr bwMode="auto">
                <a:xfrm>
                  <a:off x="4442497" y="251735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71" name="Freeform 325"/>
                <p:cNvSpPr>
                  <a:spLocks/>
                </p:cNvSpPr>
                <p:nvPr/>
              </p:nvSpPr>
              <p:spPr bwMode="auto">
                <a:xfrm>
                  <a:off x="4457442" y="2479989"/>
                  <a:ext cx="29890" cy="44835"/>
                </a:xfrm>
                <a:custGeom>
                  <a:avLst/>
                  <a:gdLst>
                    <a:gd name="T0" fmla="*/ 4 w 4"/>
                    <a:gd name="T1" fmla="*/ 6 h 6"/>
                    <a:gd name="T2" fmla="*/ 4 w 4"/>
                    <a:gd name="T3" fmla="*/ 5 h 6"/>
                    <a:gd name="T4" fmla="*/ 1 w 4"/>
                    <a:gd name="T5" fmla="*/ 5 h 6"/>
                    <a:gd name="T6" fmla="*/ 1 w 4"/>
                    <a:gd name="T7" fmla="*/ 4 h 6"/>
                    <a:gd name="T8" fmla="*/ 2 w 4"/>
                    <a:gd name="T9" fmla="*/ 4 h 6"/>
                    <a:gd name="T10" fmla="*/ 2 w 4"/>
                    <a:gd name="T11" fmla="*/ 4 h 6"/>
                    <a:gd name="T12" fmla="*/ 3 w 4"/>
                    <a:gd name="T13" fmla="*/ 4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2 h 6"/>
                    <a:gd name="T40" fmla="*/ 2 w 4"/>
                    <a:gd name="T41" fmla="*/ 2 h 6"/>
                    <a:gd name="T42" fmla="*/ 2 w 4"/>
                    <a:gd name="T43" fmla="*/ 4 h 6"/>
                    <a:gd name="T44" fmla="*/ 1 w 4"/>
                    <a:gd name="T45" fmla="*/ 4 h 6"/>
                    <a:gd name="T46" fmla="*/ 1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1" y="5"/>
                      </a:lnTo>
                      <a:lnTo>
                        <a:pt x="1" y="4"/>
                      </a:lnTo>
                      <a:lnTo>
                        <a:pt x="2" y="4"/>
                      </a:lnTo>
                      <a:lnTo>
                        <a:pt x="2" y="4"/>
                      </a:lnTo>
                      <a:lnTo>
                        <a:pt x="3" y="4"/>
                      </a:lnTo>
                      <a:lnTo>
                        <a:pt x="3" y="2"/>
                      </a:lnTo>
                      <a:lnTo>
                        <a:pt x="4" y="2"/>
                      </a:lnTo>
                      <a:lnTo>
                        <a:pt x="4" y="1"/>
                      </a:lnTo>
                      <a:lnTo>
                        <a:pt x="3" y="1"/>
                      </a:lnTo>
                      <a:lnTo>
                        <a:pt x="3" y="0"/>
                      </a:lnTo>
                      <a:lnTo>
                        <a:pt x="1" y="0"/>
                      </a:lnTo>
                      <a:lnTo>
                        <a:pt x="1" y="1"/>
                      </a:lnTo>
                      <a:lnTo>
                        <a:pt x="0" y="1"/>
                      </a:lnTo>
                      <a:lnTo>
                        <a:pt x="0" y="2"/>
                      </a:lnTo>
                      <a:lnTo>
                        <a:pt x="1" y="2"/>
                      </a:lnTo>
                      <a:lnTo>
                        <a:pt x="1" y="1"/>
                      </a:lnTo>
                      <a:lnTo>
                        <a:pt x="3" y="1"/>
                      </a:lnTo>
                      <a:lnTo>
                        <a:pt x="3" y="2"/>
                      </a:lnTo>
                      <a:lnTo>
                        <a:pt x="2" y="2"/>
                      </a:lnTo>
                      <a:lnTo>
                        <a:pt x="2" y="4"/>
                      </a:lnTo>
                      <a:lnTo>
                        <a:pt x="1" y="4"/>
                      </a:lnTo>
                      <a:lnTo>
                        <a:pt x="1"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2" name="Freeform 326"/>
                <p:cNvSpPr>
                  <a:spLocks noEditPoints="1"/>
                </p:cNvSpPr>
                <p:nvPr/>
              </p:nvSpPr>
              <p:spPr bwMode="auto">
                <a:xfrm>
                  <a:off x="4494802" y="2479989"/>
                  <a:ext cx="22420"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3" name="Freeform 327"/>
                <p:cNvSpPr>
                  <a:spLocks noEditPoints="1"/>
                </p:cNvSpPr>
                <p:nvPr/>
              </p:nvSpPr>
              <p:spPr bwMode="auto">
                <a:xfrm>
                  <a:off x="4524692" y="2479989"/>
                  <a:ext cx="37365" cy="44835"/>
                </a:xfrm>
                <a:custGeom>
                  <a:avLst/>
                  <a:gdLst>
                    <a:gd name="T0" fmla="*/ 5 w 5"/>
                    <a:gd name="T1" fmla="*/ 4 h 6"/>
                    <a:gd name="T2" fmla="*/ 5 w 5"/>
                    <a:gd name="T3" fmla="*/ 4 h 6"/>
                    <a:gd name="T4" fmla="*/ 4 w 5"/>
                    <a:gd name="T5" fmla="*/ 4 h 6"/>
                    <a:gd name="T6" fmla="*/ 4 w 5"/>
                    <a:gd name="T7" fmla="*/ 0 h 6"/>
                    <a:gd name="T8" fmla="*/ 4 w 5"/>
                    <a:gd name="T9" fmla="*/ 0 h 6"/>
                    <a:gd name="T10" fmla="*/ 4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4 h 6"/>
                    <a:gd name="T24" fmla="*/ 0 w 5"/>
                    <a:gd name="T25" fmla="*/ 4 h 6"/>
                    <a:gd name="T26" fmla="*/ 0 w 5"/>
                    <a:gd name="T27" fmla="*/ 4 h 6"/>
                    <a:gd name="T28" fmla="*/ 4 w 5"/>
                    <a:gd name="T29" fmla="*/ 4 h 6"/>
                    <a:gd name="T30" fmla="*/ 4 w 5"/>
                    <a:gd name="T31" fmla="*/ 6 h 6"/>
                    <a:gd name="T32" fmla="*/ 4 w 5"/>
                    <a:gd name="T33" fmla="*/ 6 h 6"/>
                    <a:gd name="T34" fmla="*/ 4 w 5"/>
                    <a:gd name="T35" fmla="*/ 4 h 6"/>
                    <a:gd name="T36" fmla="*/ 5 w 5"/>
                    <a:gd name="T37" fmla="*/ 4 h 6"/>
                    <a:gd name="T38" fmla="*/ 5 w 5"/>
                    <a:gd name="T39" fmla="*/ 4 h 6"/>
                    <a:gd name="T40" fmla="*/ 4 w 5"/>
                    <a:gd name="T41" fmla="*/ 4 h 6"/>
                    <a:gd name="T42" fmla="*/ 2 w 5"/>
                    <a:gd name="T43" fmla="*/ 4 h 6"/>
                    <a:gd name="T44" fmla="*/ 2 w 5"/>
                    <a:gd name="T45" fmla="*/ 2 h 6"/>
                    <a:gd name="T46" fmla="*/ 3 w 5"/>
                    <a:gd name="T47" fmla="*/ 2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4"/>
                      </a:lnTo>
                      <a:lnTo>
                        <a:pt x="4" y="4"/>
                      </a:lnTo>
                      <a:lnTo>
                        <a:pt x="4" y="0"/>
                      </a:lnTo>
                      <a:lnTo>
                        <a:pt x="4" y="0"/>
                      </a:lnTo>
                      <a:lnTo>
                        <a:pt x="4" y="1"/>
                      </a:lnTo>
                      <a:lnTo>
                        <a:pt x="3" y="1"/>
                      </a:lnTo>
                      <a:lnTo>
                        <a:pt x="3" y="2"/>
                      </a:lnTo>
                      <a:lnTo>
                        <a:pt x="2" y="2"/>
                      </a:lnTo>
                      <a:lnTo>
                        <a:pt x="2" y="2"/>
                      </a:lnTo>
                      <a:lnTo>
                        <a:pt x="1" y="2"/>
                      </a:lnTo>
                      <a:lnTo>
                        <a:pt x="1" y="4"/>
                      </a:lnTo>
                      <a:lnTo>
                        <a:pt x="0" y="4"/>
                      </a:lnTo>
                      <a:lnTo>
                        <a:pt x="0" y="4"/>
                      </a:lnTo>
                      <a:lnTo>
                        <a:pt x="4" y="4"/>
                      </a:lnTo>
                      <a:lnTo>
                        <a:pt x="4" y="6"/>
                      </a:lnTo>
                      <a:lnTo>
                        <a:pt x="4" y="6"/>
                      </a:lnTo>
                      <a:lnTo>
                        <a:pt x="4" y="4"/>
                      </a:lnTo>
                      <a:lnTo>
                        <a:pt x="5" y="4"/>
                      </a:lnTo>
                      <a:lnTo>
                        <a:pt x="5" y="4"/>
                      </a:lnTo>
                      <a:close/>
                      <a:moveTo>
                        <a:pt x="4" y="4"/>
                      </a:moveTo>
                      <a:lnTo>
                        <a:pt x="2" y="4"/>
                      </a:lnTo>
                      <a:lnTo>
                        <a:pt x="2" y="2"/>
                      </a:lnTo>
                      <a:lnTo>
                        <a:pt x="3" y="2"/>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4" name="Freeform 328"/>
                <p:cNvSpPr>
                  <a:spLocks/>
                </p:cNvSpPr>
                <p:nvPr/>
              </p:nvSpPr>
              <p:spPr bwMode="auto">
                <a:xfrm>
                  <a:off x="1759861" y="2338013"/>
                  <a:ext cx="29890" cy="37365"/>
                </a:xfrm>
                <a:custGeom>
                  <a:avLst/>
                  <a:gdLst>
                    <a:gd name="T0" fmla="*/ 4 w 4"/>
                    <a:gd name="T1" fmla="*/ 5 h 5"/>
                    <a:gd name="T2" fmla="*/ 4 w 4"/>
                    <a:gd name="T3" fmla="*/ 2 h 5"/>
                    <a:gd name="T4" fmla="*/ 3 w 4"/>
                    <a:gd name="T5" fmla="*/ 2 h 5"/>
                    <a:gd name="T6" fmla="*/ 3 w 4"/>
                    <a:gd name="T7" fmla="*/ 3 h 5"/>
                    <a:gd name="T8" fmla="*/ 4 w 4"/>
                    <a:gd name="T9" fmla="*/ 3 h 5"/>
                    <a:gd name="T10" fmla="*/ 4 w 4"/>
                    <a:gd name="T11" fmla="*/ 5 h 5"/>
                    <a:gd name="T12" fmla="*/ 1 w 4"/>
                    <a:gd name="T13" fmla="*/ 5 h 5"/>
                    <a:gd name="T14" fmla="*/ 1 w 4"/>
                    <a:gd name="T15" fmla="*/ 0 h 5"/>
                    <a:gd name="T16" fmla="*/ 4 w 4"/>
                    <a:gd name="T17" fmla="*/ 0 h 5"/>
                    <a:gd name="T18" fmla="*/ 4 w 4"/>
                    <a:gd name="T19" fmla="*/ 2 h 5"/>
                    <a:gd name="T20" fmla="*/ 4 w 4"/>
                    <a:gd name="T21" fmla="*/ 2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5 h 5"/>
                    <a:gd name="T36" fmla="*/ 1 w 4"/>
                    <a:gd name="T37" fmla="*/ 5 h 5"/>
                    <a:gd name="T38" fmla="*/ 1 w 4"/>
                    <a:gd name="T39" fmla="*/ 5 h 5"/>
                    <a:gd name="T40" fmla="*/ 4 w 4"/>
                    <a:gd name="T41" fmla="*/ 5 h 5"/>
                    <a:gd name="T42" fmla="*/ 4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2"/>
                      </a:lnTo>
                      <a:lnTo>
                        <a:pt x="3" y="2"/>
                      </a:lnTo>
                      <a:lnTo>
                        <a:pt x="3" y="3"/>
                      </a:lnTo>
                      <a:lnTo>
                        <a:pt x="4" y="3"/>
                      </a:lnTo>
                      <a:lnTo>
                        <a:pt x="4" y="5"/>
                      </a:lnTo>
                      <a:lnTo>
                        <a:pt x="1" y="5"/>
                      </a:lnTo>
                      <a:lnTo>
                        <a:pt x="1" y="0"/>
                      </a:lnTo>
                      <a:lnTo>
                        <a:pt x="4" y="0"/>
                      </a:lnTo>
                      <a:lnTo>
                        <a:pt x="4" y="2"/>
                      </a:lnTo>
                      <a:lnTo>
                        <a:pt x="4" y="2"/>
                      </a:ln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5" name="Freeform 329"/>
                <p:cNvSpPr>
                  <a:spLocks noEditPoints="1"/>
                </p:cNvSpPr>
                <p:nvPr/>
              </p:nvSpPr>
              <p:spPr bwMode="auto">
                <a:xfrm>
                  <a:off x="1797226" y="2338013"/>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0"/>
                      </a:lnTo>
                      <a:lnTo>
                        <a:pt x="4" y="0"/>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6" name="Freeform 330"/>
                <p:cNvSpPr>
                  <a:spLocks noEditPoints="1"/>
                </p:cNvSpPr>
                <p:nvPr/>
              </p:nvSpPr>
              <p:spPr bwMode="auto">
                <a:xfrm>
                  <a:off x="1834586" y="2338013"/>
                  <a:ext cx="29890" cy="37365"/>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7" name="Freeform 331"/>
                <p:cNvSpPr>
                  <a:spLocks/>
                </p:cNvSpPr>
                <p:nvPr/>
              </p:nvSpPr>
              <p:spPr bwMode="auto">
                <a:xfrm>
                  <a:off x="187195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8" name="Freeform 332"/>
                <p:cNvSpPr>
                  <a:spLocks/>
                </p:cNvSpPr>
                <p:nvPr/>
              </p:nvSpPr>
              <p:spPr bwMode="auto">
                <a:xfrm>
                  <a:off x="1909311" y="2338013"/>
                  <a:ext cx="29890" cy="37365"/>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2 h 5"/>
                    <a:gd name="T32" fmla="*/ 1 w 4"/>
                    <a:gd name="T33" fmla="*/ 2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2"/>
                      </a:lnTo>
                      <a:lnTo>
                        <a:pt x="1" y="2"/>
                      </a:lnTo>
                      <a:lnTo>
                        <a:pt x="1" y="0"/>
                      </a:lnTo>
                      <a:lnTo>
                        <a:pt x="3" y="0"/>
                      </a:lnTo>
                      <a:lnTo>
                        <a:pt x="3" y="2"/>
                      </a:lnTo>
                      <a:lnTo>
                        <a:pt x="4" y="2"/>
                      </a:lnTo>
                      <a:lnTo>
                        <a:pt x="4" y="0"/>
                      </a:lnTo>
                      <a:lnTo>
                        <a:pt x="3" y="0"/>
                      </a:lnTo>
                      <a:lnTo>
                        <a:pt x="3" y="0"/>
                      </a:lnTo>
                      <a:lnTo>
                        <a:pt x="1" y="0"/>
                      </a:lnTo>
                      <a:lnTo>
                        <a:pt x="1" y="0"/>
                      </a:lnTo>
                      <a:lnTo>
                        <a:pt x="0" y="0"/>
                      </a:lnTo>
                      <a:lnTo>
                        <a:pt x="0" y="2"/>
                      </a:lnTo>
                      <a:lnTo>
                        <a:pt x="1" y="2"/>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79" name="Freeform 333"/>
                <p:cNvSpPr>
                  <a:spLocks/>
                </p:cNvSpPr>
                <p:nvPr/>
              </p:nvSpPr>
              <p:spPr bwMode="auto">
                <a:xfrm>
                  <a:off x="1969092" y="2338013"/>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0" name="Freeform 334"/>
                <p:cNvSpPr>
                  <a:spLocks noEditPoints="1"/>
                </p:cNvSpPr>
                <p:nvPr/>
              </p:nvSpPr>
              <p:spPr bwMode="auto">
                <a:xfrm>
                  <a:off x="1998982"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1" name="Freeform 335"/>
                <p:cNvSpPr>
                  <a:spLocks noEditPoints="1"/>
                </p:cNvSpPr>
                <p:nvPr/>
              </p:nvSpPr>
              <p:spPr bwMode="auto">
                <a:xfrm>
                  <a:off x="2036347" y="2338013"/>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0" y="1"/>
                      </a:lnTo>
                      <a:lnTo>
                        <a:pt x="0" y="3"/>
                      </a:lnTo>
                      <a:lnTo>
                        <a:pt x="0" y="3"/>
                      </a:lnTo>
                      <a:lnTo>
                        <a:pt x="0" y="5"/>
                      </a:lnTo>
                      <a:lnTo>
                        <a:pt x="0" y="5"/>
                      </a:lnTo>
                      <a:lnTo>
                        <a:pt x="0"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2" name="Freeform 336"/>
                <p:cNvSpPr>
                  <a:spLocks noEditPoints="1"/>
                </p:cNvSpPr>
                <p:nvPr/>
              </p:nvSpPr>
              <p:spPr bwMode="auto">
                <a:xfrm>
                  <a:off x="2066237" y="2338013"/>
                  <a:ext cx="37365" cy="37365"/>
                </a:xfrm>
                <a:custGeom>
                  <a:avLst/>
                  <a:gdLst>
                    <a:gd name="T0" fmla="*/ 5 w 5"/>
                    <a:gd name="T1" fmla="*/ 4 h 5"/>
                    <a:gd name="T2" fmla="*/ 5 w 5"/>
                    <a:gd name="T3" fmla="*/ 2 h 5"/>
                    <a:gd name="T4" fmla="*/ 4 w 5"/>
                    <a:gd name="T5" fmla="*/ 2 h 5"/>
                    <a:gd name="T6" fmla="*/ 4 w 5"/>
                    <a:gd name="T7" fmla="*/ 0 h 5"/>
                    <a:gd name="T8" fmla="*/ 3 w 5"/>
                    <a:gd name="T9" fmla="*/ 0 h 5"/>
                    <a:gd name="T10" fmla="*/ 3 w 5"/>
                    <a:gd name="T11" fmla="*/ 0 h 5"/>
                    <a:gd name="T12" fmla="*/ 0 w 5"/>
                    <a:gd name="T13" fmla="*/ 0 h 5"/>
                    <a:gd name="T14" fmla="*/ 0 w 5"/>
                    <a:gd name="T15" fmla="*/ 5 h 5"/>
                    <a:gd name="T16" fmla="*/ 3 w 5"/>
                    <a:gd name="T17" fmla="*/ 5 h 5"/>
                    <a:gd name="T18" fmla="*/ 3 w 5"/>
                    <a:gd name="T19" fmla="*/ 5 h 5"/>
                    <a:gd name="T20" fmla="*/ 4 w 5"/>
                    <a:gd name="T21" fmla="*/ 5 h 5"/>
                    <a:gd name="T22" fmla="*/ 4 w 5"/>
                    <a:gd name="T23" fmla="*/ 4 h 5"/>
                    <a:gd name="T24" fmla="*/ 5 w 5"/>
                    <a:gd name="T25" fmla="*/ 4 h 5"/>
                    <a:gd name="T26" fmla="*/ 5 w 5"/>
                    <a:gd name="T27" fmla="*/ 4 h 5"/>
                    <a:gd name="T28" fmla="*/ 4 w 5"/>
                    <a:gd name="T29" fmla="*/ 4 h 5"/>
                    <a:gd name="T30" fmla="*/ 3 w 5"/>
                    <a:gd name="T31" fmla="*/ 4 h 5"/>
                    <a:gd name="T32" fmla="*/ 3 w 5"/>
                    <a:gd name="T33" fmla="*/ 5 h 5"/>
                    <a:gd name="T34" fmla="*/ 2 w 5"/>
                    <a:gd name="T35" fmla="*/ 5 h 5"/>
                    <a:gd name="T36" fmla="*/ 2 w 5"/>
                    <a:gd name="T37" fmla="*/ 0 h 5"/>
                    <a:gd name="T38" fmla="*/ 3 w 5"/>
                    <a:gd name="T39" fmla="*/ 0 h 5"/>
                    <a:gd name="T40" fmla="*/ 3 w 5"/>
                    <a:gd name="T41" fmla="*/ 2 h 5"/>
                    <a:gd name="T42" fmla="*/ 4 w 5"/>
                    <a:gd name="T43" fmla="*/ 2 h 5"/>
                    <a:gd name="T44" fmla="*/ 4 w 5"/>
                    <a:gd name="T45" fmla="*/ 4 h 5"/>
                    <a:gd name="T46" fmla="*/ 4 w 5"/>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5">
                      <a:moveTo>
                        <a:pt x="5" y="4"/>
                      </a:moveTo>
                      <a:lnTo>
                        <a:pt x="5" y="2"/>
                      </a:lnTo>
                      <a:lnTo>
                        <a:pt x="4" y="2"/>
                      </a:lnTo>
                      <a:lnTo>
                        <a:pt x="4" y="0"/>
                      </a:lnTo>
                      <a:lnTo>
                        <a:pt x="3" y="0"/>
                      </a:lnTo>
                      <a:lnTo>
                        <a:pt x="3" y="0"/>
                      </a:lnTo>
                      <a:lnTo>
                        <a:pt x="0" y="0"/>
                      </a:lnTo>
                      <a:lnTo>
                        <a:pt x="0" y="5"/>
                      </a:lnTo>
                      <a:lnTo>
                        <a:pt x="3" y="5"/>
                      </a:lnTo>
                      <a:lnTo>
                        <a:pt x="3" y="5"/>
                      </a:lnTo>
                      <a:lnTo>
                        <a:pt x="4" y="5"/>
                      </a:lnTo>
                      <a:lnTo>
                        <a:pt x="4" y="4"/>
                      </a:lnTo>
                      <a:lnTo>
                        <a:pt x="5" y="4"/>
                      </a:lnTo>
                      <a:lnTo>
                        <a:pt x="5" y="4"/>
                      </a:lnTo>
                      <a:close/>
                      <a:moveTo>
                        <a:pt x="4" y="4"/>
                      </a:moveTo>
                      <a:lnTo>
                        <a:pt x="3" y="4"/>
                      </a:lnTo>
                      <a:lnTo>
                        <a:pt x="3" y="5"/>
                      </a:lnTo>
                      <a:lnTo>
                        <a:pt x="2" y="5"/>
                      </a:lnTo>
                      <a:lnTo>
                        <a:pt x="2" y="0"/>
                      </a:lnTo>
                      <a:lnTo>
                        <a:pt x="3" y="0"/>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3" name="Freeform 337"/>
                <p:cNvSpPr>
                  <a:spLocks/>
                </p:cNvSpPr>
                <p:nvPr/>
              </p:nvSpPr>
              <p:spPr bwMode="auto">
                <a:xfrm>
                  <a:off x="2223157" y="2338013"/>
                  <a:ext cx="37365" cy="37365"/>
                </a:xfrm>
                <a:custGeom>
                  <a:avLst/>
                  <a:gdLst>
                    <a:gd name="T0" fmla="*/ 5 w 5"/>
                    <a:gd name="T1" fmla="*/ 5 h 5"/>
                    <a:gd name="T2" fmla="*/ 5 w 5"/>
                    <a:gd name="T3" fmla="*/ 0 h 5"/>
                    <a:gd name="T4" fmla="*/ 4 w 5"/>
                    <a:gd name="T5" fmla="*/ 0 h 5"/>
                    <a:gd name="T6" fmla="*/ 4 w 5"/>
                    <a:gd name="T7" fmla="*/ 0 h 5"/>
                    <a:gd name="T8" fmla="*/ 4 w 5"/>
                    <a:gd name="T9" fmla="*/ 0 h 5"/>
                    <a:gd name="T10" fmla="*/ 4 w 5"/>
                    <a:gd name="T11" fmla="*/ 2 h 5"/>
                    <a:gd name="T12" fmla="*/ 3 w 5"/>
                    <a:gd name="T13" fmla="*/ 2 h 5"/>
                    <a:gd name="T14" fmla="*/ 3 w 5"/>
                    <a:gd name="T15" fmla="*/ 2 h 5"/>
                    <a:gd name="T16" fmla="*/ 2 w 5"/>
                    <a:gd name="T17" fmla="*/ 2 h 5"/>
                    <a:gd name="T18" fmla="*/ 2 w 5"/>
                    <a:gd name="T19" fmla="*/ 2 h 5"/>
                    <a:gd name="T20" fmla="*/ 1 w 5"/>
                    <a:gd name="T21" fmla="*/ 2 h 5"/>
                    <a:gd name="T22" fmla="*/ 1 w 5"/>
                    <a:gd name="T23" fmla="*/ 0 h 5"/>
                    <a:gd name="T24" fmla="*/ 0 w 5"/>
                    <a:gd name="T25" fmla="*/ 0 h 5"/>
                    <a:gd name="T26" fmla="*/ 0 w 5"/>
                    <a:gd name="T27" fmla="*/ 0 h 5"/>
                    <a:gd name="T28" fmla="*/ 0 w 5"/>
                    <a:gd name="T29" fmla="*/ 0 h 5"/>
                    <a:gd name="T30" fmla="*/ 0 w 5"/>
                    <a:gd name="T31" fmla="*/ 5 h 5"/>
                    <a:gd name="T32" fmla="*/ 0 w 5"/>
                    <a:gd name="T33" fmla="*/ 5 h 5"/>
                    <a:gd name="T34" fmla="*/ 0 w 5"/>
                    <a:gd name="T35" fmla="*/ 2 h 5"/>
                    <a:gd name="T36" fmla="*/ 1 w 5"/>
                    <a:gd name="T37" fmla="*/ 2 h 5"/>
                    <a:gd name="T38" fmla="*/ 1 w 5"/>
                    <a:gd name="T39" fmla="*/ 2 h 5"/>
                    <a:gd name="T40" fmla="*/ 2 w 5"/>
                    <a:gd name="T41" fmla="*/ 2 h 5"/>
                    <a:gd name="T42" fmla="*/ 2 w 5"/>
                    <a:gd name="T43" fmla="*/ 3 h 5"/>
                    <a:gd name="T44" fmla="*/ 3 w 5"/>
                    <a:gd name="T45" fmla="*/ 3 h 5"/>
                    <a:gd name="T46" fmla="*/ 3 w 5"/>
                    <a:gd name="T47" fmla="*/ 2 h 5"/>
                    <a:gd name="T48" fmla="*/ 4 w 5"/>
                    <a:gd name="T49" fmla="*/ 2 h 5"/>
                    <a:gd name="T50" fmla="*/ 4 w 5"/>
                    <a:gd name="T51" fmla="*/ 2 h 5"/>
                    <a:gd name="T52" fmla="*/ 4 w 5"/>
                    <a:gd name="T53" fmla="*/ 2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0"/>
                      </a:lnTo>
                      <a:lnTo>
                        <a:pt x="4" y="0"/>
                      </a:lnTo>
                      <a:lnTo>
                        <a:pt x="4" y="2"/>
                      </a:lnTo>
                      <a:lnTo>
                        <a:pt x="3" y="2"/>
                      </a:lnTo>
                      <a:lnTo>
                        <a:pt x="3" y="2"/>
                      </a:lnTo>
                      <a:lnTo>
                        <a:pt x="2" y="2"/>
                      </a:lnTo>
                      <a:lnTo>
                        <a:pt x="2" y="2"/>
                      </a:lnTo>
                      <a:lnTo>
                        <a:pt x="1" y="2"/>
                      </a:lnTo>
                      <a:lnTo>
                        <a:pt x="1" y="0"/>
                      </a:lnTo>
                      <a:lnTo>
                        <a:pt x="0" y="0"/>
                      </a:lnTo>
                      <a:lnTo>
                        <a:pt x="0" y="0"/>
                      </a:lnTo>
                      <a:lnTo>
                        <a:pt x="0" y="0"/>
                      </a:lnTo>
                      <a:lnTo>
                        <a:pt x="0" y="5"/>
                      </a:lnTo>
                      <a:lnTo>
                        <a:pt x="0" y="5"/>
                      </a:lnTo>
                      <a:lnTo>
                        <a:pt x="0" y="2"/>
                      </a:lnTo>
                      <a:lnTo>
                        <a:pt x="1" y="2"/>
                      </a:lnTo>
                      <a:lnTo>
                        <a:pt x="1" y="2"/>
                      </a:lnTo>
                      <a:lnTo>
                        <a:pt x="2" y="2"/>
                      </a:lnTo>
                      <a:lnTo>
                        <a:pt x="2" y="3"/>
                      </a:lnTo>
                      <a:lnTo>
                        <a:pt x="3" y="3"/>
                      </a:lnTo>
                      <a:lnTo>
                        <a:pt x="3" y="2"/>
                      </a:lnTo>
                      <a:lnTo>
                        <a:pt x="4" y="2"/>
                      </a:lnTo>
                      <a:lnTo>
                        <a:pt x="4" y="2"/>
                      </a:lnTo>
                      <a:lnTo>
                        <a:pt x="4" y="2"/>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4" name="Freeform 338"/>
                <p:cNvSpPr>
                  <a:spLocks/>
                </p:cNvSpPr>
                <p:nvPr/>
              </p:nvSpPr>
              <p:spPr bwMode="auto">
                <a:xfrm>
                  <a:off x="2267992" y="2338013"/>
                  <a:ext cx="44835" cy="37365"/>
                </a:xfrm>
                <a:custGeom>
                  <a:avLst/>
                  <a:gdLst>
                    <a:gd name="T0" fmla="*/ 6 w 6"/>
                    <a:gd name="T1" fmla="*/ 2 h 5"/>
                    <a:gd name="T2" fmla="*/ 6 w 6"/>
                    <a:gd name="T3" fmla="*/ 0 h 5"/>
                    <a:gd name="T4" fmla="*/ 5 w 6"/>
                    <a:gd name="T5" fmla="*/ 0 h 5"/>
                    <a:gd name="T6" fmla="*/ 5 w 6"/>
                    <a:gd name="T7" fmla="*/ 2 h 5"/>
                    <a:gd name="T8" fmla="*/ 4 w 6"/>
                    <a:gd name="T9" fmla="*/ 2 h 5"/>
                    <a:gd name="T10" fmla="*/ 4 w 6"/>
                    <a:gd name="T11" fmla="*/ 4 h 5"/>
                    <a:gd name="T12" fmla="*/ 4 w 6"/>
                    <a:gd name="T13" fmla="*/ 4 h 5"/>
                    <a:gd name="T14" fmla="*/ 4 w 6"/>
                    <a:gd name="T15" fmla="*/ 2 h 5"/>
                    <a:gd name="T16" fmla="*/ 2 w 6"/>
                    <a:gd name="T17" fmla="*/ 2 h 5"/>
                    <a:gd name="T18" fmla="*/ 2 w 6"/>
                    <a:gd name="T19" fmla="*/ 4 h 5"/>
                    <a:gd name="T20" fmla="*/ 2 w 6"/>
                    <a:gd name="T21" fmla="*/ 4 h 5"/>
                    <a:gd name="T22" fmla="*/ 2 w 6"/>
                    <a:gd name="T23" fmla="*/ 2 h 5"/>
                    <a:gd name="T24" fmla="*/ 1 w 6"/>
                    <a:gd name="T25" fmla="*/ 2 h 5"/>
                    <a:gd name="T26" fmla="*/ 1 w 6"/>
                    <a:gd name="T27" fmla="*/ 0 h 5"/>
                    <a:gd name="T28" fmla="*/ 0 w 6"/>
                    <a:gd name="T29" fmla="*/ 0 h 5"/>
                    <a:gd name="T30" fmla="*/ 0 w 6"/>
                    <a:gd name="T31" fmla="*/ 2 h 5"/>
                    <a:gd name="T32" fmla="*/ 1 w 6"/>
                    <a:gd name="T33" fmla="*/ 2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2 h 5"/>
                    <a:gd name="T56" fmla="*/ 6 w 6"/>
                    <a:gd name="T57" fmla="*/ 2 h 5"/>
                    <a:gd name="T58" fmla="*/ 6 w 6"/>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5"/>
                      </a:lnTo>
                      <a:lnTo>
                        <a:pt x="2" y="5"/>
                      </a:lnTo>
                      <a:lnTo>
                        <a:pt x="2" y="4"/>
                      </a:lnTo>
                      <a:lnTo>
                        <a:pt x="4" y="4"/>
                      </a:lnTo>
                      <a:lnTo>
                        <a:pt x="4" y="5"/>
                      </a:lnTo>
                      <a:lnTo>
                        <a:pt x="4" y="5"/>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5" name="Freeform 339"/>
                <p:cNvSpPr>
                  <a:spLocks/>
                </p:cNvSpPr>
                <p:nvPr/>
              </p:nvSpPr>
              <p:spPr bwMode="auto">
                <a:xfrm>
                  <a:off x="1759861" y="2412739"/>
                  <a:ext cx="29890" cy="44835"/>
                </a:xfrm>
                <a:custGeom>
                  <a:avLst/>
                  <a:gdLst>
                    <a:gd name="T0" fmla="*/ 4 w 4"/>
                    <a:gd name="T1" fmla="*/ 6 h 6"/>
                    <a:gd name="T2" fmla="*/ 4 w 4"/>
                    <a:gd name="T3" fmla="*/ 0 h 6"/>
                    <a:gd name="T4" fmla="*/ 4 w 4"/>
                    <a:gd name="T5" fmla="*/ 0 h 6"/>
                    <a:gd name="T6" fmla="*/ 4 w 4"/>
                    <a:gd name="T7" fmla="*/ 3 h 6"/>
                    <a:gd name="T8" fmla="*/ 3 w 4"/>
                    <a:gd name="T9" fmla="*/ 3 h 6"/>
                    <a:gd name="T10" fmla="*/ 3 w 4"/>
                    <a:gd name="T11" fmla="*/ 2 h 6"/>
                    <a:gd name="T12" fmla="*/ 2 w 4"/>
                    <a:gd name="T13" fmla="*/ 2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2 h 6"/>
                    <a:gd name="T28" fmla="*/ 2 w 4"/>
                    <a:gd name="T29" fmla="*/ 2 h 6"/>
                    <a:gd name="T30" fmla="*/ 2 w 4"/>
                    <a:gd name="T31" fmla="*/ 3 h 6"/>
                    <a:gd name="T32" fmla="*/ 3 w 4"/>
                    <a:gd name="T33" fmla="*/ 3 h 6"/>
                    <a:gd name="T34" fmla="*/ 3 w 4"/>
                    <a:gd name="T35" fmla="*/ 4 h 6"/>
                    <a:gd name="T36" fmla="*/ 4 w 4"/>
                    <a:gd name="T37" fmla="*/ 4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3" y="3"/>
                      </a:lnTo>
                      <a:lnTo>
                        <a:pt x="3" y="2"/>
                      </a:lnTo>
                      <a:lnTo>
                        <a:pt x="2" y="2"/>
                      </a:lnTo>
                      <a:lnTo>
                        <a:pt x="2" y="2"/>
                      </a:lnTo>
                      <a:lnTo>
                        <a:pt x="1" y="2"/>
                      </a:lnTo>
                      <a:lnTo>
                        <a:pt x="1" y="0"/>
                      </a:lnTo>
                      <a:lnTo>
                        <a:pt x="0" y="0"/>
                      </a:lnTo>
                      <a:lnTo>
                        <a:pt x="0" y="6"/>
                      </a:lnTo>
                      <a:lnTo>
                        <a:pt x="1" y="6"/>
                      </a:lnTo>
                      <a:lnTo>
                        <a:pt x="1" y="2"/>
                      </a:lnTo>
                      <a:lnTo>
                        <a:pt x="2" y="2"/>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6" name="Freeform 340"/>
                <p:cNvSpPr>
                  <a:spLocks/>
                </p:cNvSpPr>
                <p:nvPr/>
              </p:nvSpPr>
              <p:spPr bwMode="auto">
                <a:xfrm>
                  <a:off x="1797226" y="2412739"/>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2 h 6"/>
                    <a:gd name="T12" fmla="*/ 1 w 4"/>
                    <a:gd name="T13" fmla="*/ 2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2"/>
                      </a:lnTo>
                      <a:lnTo>
                        <a:pt x="1" y="2"/>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7" name="Freeform 341"/>
                <p:cNvSpPr>
                  <a:spLocks/>
                </p:cNvSpPr>
                <p:nvPr/>
              </p:nvSpPr>
              <p:spPr bwMode="auto">
                <a:xfrm>
                  <a:off x="1827116" y="2412739"/>
                  <a:ext cx="29890" cy="44835"/>
                </a:xfrm>
                <a:custGeom>
                  <a:avLst/>
                  <a:gdLst>
                    <a:gd name="T0" fmla="*/ 4 w 4"/>
                    <a:gd name="T1" fmla="*/ 6 h 6"/>
                    <a:gd name="T2" fmla="*/ 4 w 4"/>
                    <a:gd name="T3" fmla="*/ 4 h 6"/>
                    <a:gd name="T4" fmla="*/ 4 w 4"/>
                    <a:gd name="T5" fmla="*/ 4 h 6"/>
                    <a:gd name="T6" fmla="*/ 4 w 4"/>
                    <a:gd name="T7" fmla="*/ 3 h 6"/>
                    <a:gd name="T8" fmla="*/ 3 w 4"/>
                    <a:gd name="T9" fmla="*/ 3 h 6"/>
                    <a:gd name="T10" fmla="*/ 3 w 4"/>
                    <a:gd name="T11" fmla="*/ 2 h 6"/>
                    <a:gd name="T12" fmla="*/ 4 w 4"/>
                    <a:gd name="T13" fmla="*/ 2 h 6"/>
                    <a:gd name="T14" fmla="*/ 4 w 4"/>
                    <a:gd name="T15" fmla="*/ 2 h 6"/>
                    <a:gd name="T16" fmla="*/ 4 w 4"/>
                    <a:gd name="T17" fmla="*/ 2 h 6"/>
                    <a:gd name="T18" fmla="*/ 4 w 4"/>
                    <a:gd name="T19" fmla="*/ 0 h 6"/>
                    <a:gd name="T20" fmla="*/ 4 w 4"/>
                    <a:gd name="T21" fmla="*/ 0 h 6"/>
                    <a:gd name="T22" fmla="*/ 4 w 4"/>
                    <a:gd name="T23" fmla="*/ 2 h 6"/>
                    <a:gd name="T24" fmla="*/ 3 w 4"/>
                    <a:gd name="T25" fmla="*/ 2 h 6"/>
                    <a:gd name="T26" fmla="*/ 3 w 4"/>
                    <a:gd name="T27" fmla="*/ 2 h 6"/>
                    <a:gd name="T28" fmla="*/ 2 w 4"/>
                    <a:gd name="T29" fmla="*/ 2 h 6"/>
                    <a:gd name="T30" fmla="*/ 2 w 4"/>
                    <a:gd name="T31" fmla="*/ 2 h 6"/>
                    <a:gd name="T32" fmla="*/ 1 w 4"/>
                    <a:gd name="T33" fmla="*/ 2 h 6"/>
                    <a:gd name="T34" fmla="*/ 1 w 4"/>
                    <a:gd name="T35" fmla="*/ 0 h 6"/>
                    <a:gd name="T36" fmla="*/ 0 w 4"/>
                    <a:gd name="T37" fmla="*/ 0 h 6"/>
                    <a:gd name="T38" fmla="*/ 0 w 4"/>
                    <a:gd name="T39" fmla="*/ 2 h 6"/>
                    <a:gd name="T40" fmla="*/ 1 w 4"/>
                    <a:gd name="T41" fmla="*/ 2 h 6"/>
                    <a:gd name="T42" fmla="*/ 1 w 4"/>
                    <a:gd name="T43" fmla="*/ 2 h 6"/>
                    <a:gd name="T44" fmla="*/ 2 w 4"/>
                    <a:gd name="T45" fmla="*/ 2 h 6"/>
                    <a:gd name="T46" fmla="*/ 2 w 4"/>
                    <a:gd name="T47" fmla="*/ 3 h 6"/>
                    <a:gd name="T48" fmla="*/ 1 w 4"/>
                    <a:gd name="T49" fmla="*/ 3 h 6"/>
                    <a:gd name="T50" fmla="*/ 1 w 4"/>
                    <a:gd name="T51" fmla="*/ 4 h 6"/>
                    <a:gd name="T52" fmla="*/ 0 w 4"/>
                    <a:gd name="T53" fmla="*/ 4 h 6"/>
                    <a:gd name="T54" fmla="*/ 0 w 4"/>
                    <a:gd name="T55" fmla="*/ 6 h 6"/>
                    <a:gd name="T56" fmla="*/ 1 w 4"/>
                    <a:gd name="T57" fmla="*/ 6 h 6"/>
                    <a:gd name="T58" fmla="*/ 1 w 4"/>
                    <a:gd name="T59" fmla="*/ 4 h 6"/>
                    <a:gd name="T60" fmla="*/ 2 w 4"/>
                    <a:gd name="T61" fmla="*/ 4 h 6"/>
                    <a:gd name="T62" fmla="*/ 2 w 4"/>
                    <a:gd name="T63" fmla="*/ 3 h 6"/>
                    <a:gd name="T64" fmla="*/ 3 w 4"/>
                    <a:gd name="T65" fmla="*/ 3 h 6"/>
                    <a:gd name="T66" fmla="*/ 3 w 4"/>
                    <a:gd name="T67" fmla="*/ 4 h 6"/>
                    <a:gd name="T68" fmla="*/ 4 w 4"/>
                    <a:gd name="T69" fmla="*/ 4 h 6"/>
                    <a:gd name="T70" fmla="*/ 4 w 4"/>
                    <a:gd name="T71" fmla="*/ 6 h 6"/>
                    <a:gd name="T72" fmla="*/ 4 w 4"/>
                    <a:gd name="T73" fmla="*/ 6 h 6"/>
                    <a:gd name="T74" fmla="*/ 4 w 4"/>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6">
                      <a:moveTo>
                        <a:pt x="4" y="6"/>
                      </a:moveTo>
                      <a:lnTo>
                        <a:pt x="4" y="4"/>
                      </a:lnTo>
                      <a:lnTo>
                        <a:pt x="4" y="4"/>
                      </a:lnTo>
                      <a:lnTo>
                        <a:pt x="4" y="3"/>
                      </a:lnTo>
                      <a:lnTo>
                        <a:pt x="3" y="3"/>
                      </a:lnTo>
                      <a:lnTo>
                        <a:pt x="3" y="2"/>
                      </a:lnTo>
                      <a:lnTo>
                        <a:pt x="4" y="2"/>
                      </a:lnTo>
                      <a:lnTo>
                        <a:pt x="4" y="2"/>
                      </a:lnTo>
                      <a:lnTo>
                        <a:pt x="4" y="2"/>
                      </a:lnTo>
                      <a:lnTo>
                        <a:pt x="4" y="0"/>
                      </a:lnTo>
                      <a:lnTo>
                        <a:pt x="4" y="0"/>
                      </a:lnTo>
                      <a:lnTo>
                        <a:pt x="4" y="2"/>
                      </a:lnTo>
                      <a:lnTo>
                        <a:pt x="3" y="2"/>
                      </a:lnTo>
                      <a:lnTo>
                        <a:pt x="3" y="2"/>
                      </a:lnTo>
                      <a:lnTo>
                        <a:pt x="2" y="2"/>
                      </a:lnTo>
                      <a:lnTo>
                        <a:pt x="2" y="2"/>
                      </a:lnTo>
                      <a:lnTo>
                        <a:pt x="1" y="2"/>
                      </a:lnTo>
                      <a:lnTo>
                        <a:pt x="1" y="0"/>
                      </a:lnTo>
                      <a:lnTo>
                        <a:pt x="0" y="0"/>
                      </a:lnTo>
                      <a:lnTo>
                        <a:pt x="0" y="2"/>
                      </a:lnTo>
                      <a:lnTo>
                        <a:pt x="1" y="2"/>
                      </a:lnTo>
                      <a:lnTo>
                        <a:pt x="1" y="2"/>
                      </a:lnTo>
                      <a:lnTo>
                        <a:pt x="2" y="2"/>
                      </a:lnTo>
                      <a:lnTo>
                        <a:pt x="2" y="3"/>
                      </a:lnTo>
                      <a:lnTo>
                        <a:pt x="1" y="3"/>
                      </a:lnTo>
                      <a:lnTo>
                        <a:pt x="1" y="4"/>
                      </a:lnTo>
                      <a:lnTo>
                        <a:pt x="0" y="4"/>
                      </a:lnTo>
                      <a:lnTo>
                        <a:pt x="0" y="6"/>
                      </a:lnTo>
                      <a:lnTo>
                        <a:pt x="1" y="6"/>
                      </a:lnTo>
                      <a:lnTo>
                        <a:pt x="1" y="4"/>
                      </a:lnTo>
                      <a:lnTo>
                        <a:pt x="2" y="4"/>
                      </a:lnTo>
                      <a:lnTo>
                        <a:pt x="2" y="3"/>
                      </a:lnTo>
                      <a:lnTo>
                        <a:pt x="3" y="3"/>
                      </a:lnTo>
                      <a:lnTo>
                        <a:pt x="3" y="4"/>
                      </a:lnTo>
                      <a:lnTo>
                        <a:pt x="4" y="4"/>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8" name="Freeform 342"/>
                <p:cNvSpPr>
                  <a:spLocks/>
                </p:cNvSpPr>
                <p:nvPr/>
              </p:nvSpPr>
              <p:spPr bwMode="auto">
                <a:xfrm>
                  <a:off x="1864476" y="2412739"/>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89" name="Freeform 343"/>
                <p:cNvSpPr>
                  <a:spLocks/>
                </p:cNvSpPr>
                <p:nvPr/>
              </p:nvSpPr>
              <p:spPr bwMode="auto">
                <a:xfrm>
                  <a:off x="1924256" y="2412739"/>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0" name="Freeform 344"/>
                <p:cNvSpPr>
                  <a:spLocks noEditPoints="1"/>
                </p:cNvSpPr>
                <p:nvPr/>
              </p:nvSpPr>
              <p:spPr bwMode="auto">
                <a:xfrm>
                  <a:off x="1954147"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1" name="Freeform 345"/>
                <p:cNvSpPr>
                  <a:spLocks noEditPoints="1"/>
                </p:cNvSpPr>
                <p:nvPr/>
              </p:nvSpPr>
              <p:spPr bwMode="auto">
                <a:xfrm>
                  <a:off x="1991511" y="2412739"/>
                  <a:ext cx="29890" cy="44835"/>
                </a:xfrm>
                <a:custGeom>
                  <a:avLst/>
                  <a:gdLst>
                    <a:gd name="T0" fmla="*/ 4 w 4"/>
                    <a:gd name="T1" fmla="*/ 6 h 6"/>
                    <a:gd name="T2" fmla="*/ 4 w 4"/>
                    <a:gd name="T3" fmla="*/ 3 h 6"/>
                    <a:gd name="T4" fmla="*/ 4 w 4"/>
                    <a:gd name="T5" fmla="*/ 3 h 6"/>
                    <a:gd name="T6" fmla="*/ 4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4 w 4"/>
                    <a:gd name="T29" fmla="*/ 4 h 6"/>
                    <a:gd name="T30" fmla="*/ 4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2" y="2"/>
                      </a:lnTo>
                      <a:lnTo>
                        <a:pt x="2" y="0"/>
                      </a:lnTo>
                      <a:lnTo>
                        <a:pt x="2" y="0"/>
                      </a:lnTo>
                      <a:lnTo>
                        <a:pt x="2" y="2"/>
                      </a:lnTo>
                      <a:lnTo>
                        <a:pt x="1" y="2"/>
                      </a:lnTo>
                      <a:lnTo>
                        <a:pt x="1" y="3"/>
                      </a:lnTo>
                      <a:lnTo>
                        <a:pt x="0" y="3"/>
                      </a:lnTo>
                      <a:lnTo>
                        <a:pt x="0" y="6"/>
                      </a:lnTo>
                      <a:lnTo>
                        <a:pt x="1" y="6"/>
                      </a:lnTo>
                      <a:lnTo>
                        <a:pt x="1" y="4"/>
                      </a:lnTo>
                      <a:lnTo>
                        <a:pt x="4" y="4"/>
                      </a:lnTo>
                      <a:lnTo>
                        <a:pt x="4"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2" name="Freeform 346"/>
                <p:cNvSpPr>
                  <a:spLocks noEditPoints="1"/>
                </p:cNvSpPr>
                <p:nvPr/>
              </p:nvSpPr>
              <p:spPr bwMode="auto">
                <a:xfrm>
                  <a:off x="2028872" y="2412739"/>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3" y="4"/>
                      </a:lnTo>
                      <a:lnTo>
                        <a:pt x="3" y="5"/>
                      </a:lnTo>
                      <a:lnTo>
                        <a:pt x="1" y="5"/>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3" name="Freeform 347"/>
                <p:cNvSpPr>
                  <a:spLocks/>
                </p:cNvSpPr>
                <p:nvPr/>
              </p:nvSpPr>
              <p:spPr bwMode="auto">
                <a:xfrm>
                  <a:off x="2223157" y="2412739"/>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2 h 6"/>
                    <a:gd name="T16" fmla="*/ 2 w 5"/>
                    <a:gd name="T17" fmla="*/ 2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2 h 6"/>
                    <a:gd name="T40" fmla="*/ 2 w 5"/>
                    <a:gd name="T41" fmla="*/ 2 h 6"/>
                    <a:gd name="T42" fmla="*/ 2 w 5"/>
                    <a:gd name="T43" fmla="*/ 3 h 6"/>
                    <a:gd name="T44" fmla="*/ 3 w 5"/>
                    <a:gd name="T45" fmla="*/ 3 h 6"/>
                    <a:gd name="T46" fmla="*/ 3 w 5"/>
                    <a:gd name="T47" fmla="*/ 2 h 6"/>
                    <a:gd name="T48" fmla="*/ 4 w 5"/>
                    <a:gd name="T49" fmla="*/ 2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2"/>
                      </a:lnTo>
                      <a:lnTo>
                        <a:pt x="2" y="2"/>
                      </a:lnTo>
                      <a:lnTo>
                        <a:pt x="2" y="2"/>
                      </a:lnTo>
                      <a:lnTo>
                        <a:pt x="1" y="2"/>
                      </a:lnTo>
                      <a:lnTo>
                        <a:pt x="1" y="1"/>
                      </a:lnTo>
                      <a:lnTo>
                        <a:pt x="0" y="1"/>
                      </a:lnTo>
                      <a:lnTo>
                        <a:pt x="0" y="0"/>
                      </a:lnTo>
                      <a:lnTo>
                        <a:pt x="0" y="0"/>
                      </a:lnTo>
                      <a:lnTo>
                        <a:pt x="0" y="6"/>
                      </a:lnTo>
                      <a:lnTo>
                        <a:pt x="0" y="6"/>
                      </a:lnTo>
                      <a:lnTo>
                        <a:pt x="0" y="2"/>
                      </a:lnTo>
                      <a:lnTo>
                        <a:pt x="1" y="2"/>
                      </a:lnTo>
                      <a:lnTo>
                        <a:pt x="1" y="2"/>
                      </a:lnTo>
                      <a:lnTo>
                        <a:pt x="2" y="2"/>
                      </a:lnTo>
                      <a:lnTo>
                        <a:pt x="2" y="3"/>
                      </a:lnTo>
                      <a:lnTo>
                        <a:pt x="3" y="3"/>
                      </a:lnTo>
                      <a:lnTo>
                        <a:pt x="3" y="2"/>
                      </a:lnTo>
                      <a:lnTo>
                        <a:pt x="4" y="2"/>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4" name="Freeform 348"/>
                <p:cNvSpPr>
                  <a:spLocks/>
                </p:cNvSpPr>
                <p:nvPr/>
              </p:nvSpPr>
              <p:spPr bwMode="auto">
                <a:xfrm>
                  <a:off x="2267992" y="2412739"/>
                  <a:ext cx="44835" cy="44835"/>
                </a:xfrm>
                <a:custGeom>
                  <a:avLst/>
                  <a:gdLst>
                    <a:gd name="T0" fmla="*/ 6 w 6"/>
                    <a:gd name="T1" fmla="*/ 2 h 6"/>
                    <a:gd name="T2" fmla="*/ 6 w 6"/>
                    <a:gd name="T3" fmla="*/ 0 h 6"/>
                    <a:gd name="T4" fmla="*/ 5 w 6"/>
                    <a:gd name="T5" fmla="*/ 0 h 6"/>
                    <a:gd name="T6" fmla="*/ 5 w 6"/>
                    <a:gd name="T7" fmla="*/ 2 h 6"/>
                    <a:gd name="T8" fmla="*/ 4 w 6"/>
                    <a:gd name="T9" fmla="*/ 2 h 6"/>
                    <a:gd name="T10" fmla="*/ 4 w 6"/>
                    <a:gd name="T11" fmla="*/ 4 h 6"/>
                    <a:gd name="T12" fmla="*/ 4 w 6"/>
                    <a:gd name="T13" fmla="*/ 4 h 6"/>
                    <a:gd name="T14" fmla="*/ 4 w 6"/>
                    <a:gd name="T15" fmla="*/ 2 h 6"/>
                    <a:gd name="T16" fmla="*/ 2 w 6"/>
                    <a:gd name="T17" fmla="*/ 2 h 6"/>
                    <a:gd name="T18" fmla="*/ 2 w 6"/>
                    <a:gd name="T19" fmla="*/ 4 h 6"/>
                    <a:gd name="T20" fmla="*/ 2 w 6"/>
                    <a:gd name="T21" fmla="*/ 4 h 6"/>
                    <a:gd name="T22" fmla="*/ 2 w 6"/>
                    <a:gd name="T23" fmla="*/ 2 h 6"/>
                    <a:gd name="T24" fmla="*/ 1 w 6"/>
                    <a:gd name="T25" fmla="*/ 2 h 6"/>
                    <a:gd name="T26" fmla="*/ 1 w 6"/>
                    <a:gd name="T27" fmla="*/ 0 h 6"/>
                    <a:gd name="T28" fmla="*/ 0 w 6"/>
                    <a:gd name="T29" fmla="*/ 0 h 6"/>
                    <a:gd name="T30" fmla="*/ 0 w 6"/>
                    <a:gd name="T31" fmla="*/ 2 h 6"/>
                    <a:gd name="T32" fmla="*/ 1 w 6"/>
                    <a:gd name="T33" fmla="*/ 2 h 6"/>
                    <a:gd name="T34" fmla="*/ 1 w 6"/>
                    <a:gd name="T35" fmla="*/ 4 h 6"/>
                    <a:gd name="T36" fmla="*/ 2 w 6"/>
                    <a:gd name="T37" fmla="*/ 4 h 6"/>
                    <a:gd name="T38" fmla="*/ 2 w 6"/>
                    <a:gd name="T39" fmla="*/ 6 h 6"/>
                    <a:gd name="T40" fmla="*/ 2 w 6"/>
                    <a:gd name="T41" fmla="*/ 6 h 6"/>
                    <a:gd name="T42" fmla="*/ 2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2 h 6"/>
                    <a:gd name="T56" fmla="*/ 6 w 6"/>
                    <a:gd name="T57" fmla="*/ 2 h 6"/>
                    <a:gd name="T58" fmla="*/ 6 w 6"/>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2"/>
                      </a:moveTo>
                      <a:lnTo>
                        <a:pt x="6" y="0"/>
                      </a:lnTo>
                      <a:lnTo>
                        <a:pt x="5" y="0"/>
                      </a:lnTo>
                      <a:lnTo>
                        <a:pt x="5" y="2"/>
                      </a:lnTo>
                      <a:lnTo>
                        <a:pt x="4" y="2"/>
                      </a:lnTo>
                      <a:lnTo>
                        <a:pt x="4" y="4"/>
                      </a:lnTo>
                      <a:lnTo>
                        <a:pt x="4" y="4"/>
                      </a:lnTo>
                      <a:lnTo>
                        <a:pt x="4" y="2"/>
                      </a:lnTo>
                      <a:lnTo>
                        <a:pt x="2" y="2"/>
                      </a:lnTo>
                      <a:lnTo>
                        <a:pt x="2" y="4"/>
                      </a:lnTo>
                      <a:lnTo>
                        <a:pt x="2" y="4"/>
                      </a:lnTo>
                      <a:lnTo>
                        <a:pt x="2" y="2"/>
                      </a:lnTo>
                      <a:lnTo>
                        <a:pt x="1" y="2"/>
                      </a:lnTo>
                      <a:lnTo>
                        <a:pt x="1" y="0"/>
                      </a:lnTo>
                      <a:lnTo>
                        <a:pt x="0" y="0"/>
                      </a:lnTo>
                      <a:lnTo>
                        <a:pt x="0" y="2"/>
                      </a:lnTo>
                      <a:lnTo>
                        <a:pt x="1" y="2"/>
                      </a:lnTo>
                      <a:lnTo>
                        <a:pt x="1" y="4"/>
                      </a:lnTo>
                      <a:lnTo>
                        <a:pt x="2" y="4"/>
                      </a:lnTo>
                      <a:lnTo>
                        <a:pt x="2" y="6"/>
                      </a:lnTo>
                      <a:lnTo>
                        <a:pt x="2" y="6"/>
                      </a:lnTo>
                      <a:lnTo>
                        <a:pt x="2" y="4"/>
                      </a:lnTo>
                      <a:lnTo>
                        <a:pt x="4" y="4"/>
                      </a:lnTo>
                      <a:lnTo>
                        <a:pt x="4" y="6"/>
                      </a:lnTo>
                      <a:lnTo>
                        <a:pt x="4" y="6"/>
                      </a:lnTo>
                      <a:lnTo>
                        <a:pt x="4" y="4"/>
                      </a:lnTo>
                      <a:lnTo>
                        <a:pt x="5" y="4"/>
                      </a:lnTo>
                      <a:lnTo>
                        <a:pt x="5" y="2"/>
                      </a:lnTo>
                      <a:lnTo>
                        <a:pt x="6" y="2"/>
                      </a:lnTo>
                      <a:lnTo>
                        <a:pt x="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5" name="Freeform 349"/>
                <p:cNvSpPr>
                  <a:spLocks noEditPoints="1"/>
                </p:cNvSpPr>
                <p:nvPr/>
              </p:nvSpPr>
              <p:spPr bwMode="auto">
                <a:xfrm>
                  <a:off x="1759861" y="2487464"/>
                  <a:ext cx="29890"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6" name="Freeform 350"/>
                <p:cNvSpPr>
                  <a:spLocks/>
                </p:cNvSpPr>
                <p:nvPr/>
              </p:nvSpPr>
              <p:spPr bwMode="auto">
                <a:xfrm>
                  <a:off x="1797226" y="2487464"/>
                  <a:ext cx="29890" cy="37365"/>
                </a:xfrm>
                <a:custGeom>
                  <a:avLst/>
                  <a:gdLst>
                    <a:gd name="T0" fmla="*/ 4 w 4"/>
                    <a:gd name="T1" fmla="*/ 5 h 5"/>
                    <a:gd name="T2" fmla="*/ 4 w 4"/>
                    <a:gd name="T3" fmla="*/ 0 h 5"/>
                    <a:gd name="T4" fmla="*/ 4 w 4"/>
                    <a:gd name="T5" fmla="*/ 0 h 5"/>
                    <a:gd name="T6" fmla="*/ 4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4" y="0"/>
                      </a:lnTo>
                      <a:lnTo>
                        <a:pt x="4" y="5"/>
                      </a:lnTo>
                      <a:lnTo>
                        <a:pt x="1" y="5"/>
                      </a:lnTo>
                      <a:lnTo>
                        <a:pt x="1" y="0"/>
                      </a:lnTo>
                      <a:lnTo>
                        <a:pt x="0" y="0"/>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7" name="Freeform 351"/>
                <p:cNvSpPr>
                  <a:spLocks/>
                </p:cNvSpPr>
                <p:nvPr/>
              </p:nvSpPr>
              <p:spPr bwMode="auto">
                <a:xfrm>
                  <a:off x="1834586" y="2487464"/>
                  <a:ext cx="29890" cy="37365"/>
                </a:xfrm>
                <a:custGeom>
                  <a:avLst/>
                  <a:gdLst>
                    <a:gd name="T0" fmla="*/ 4 w 4"/>
                    <a:gd name="T1" fmla="*/ 5 h 5"/>
                    <a:gd name="T2" fmla="*/ 4 w 4"/>
                    <a:gd name="T3" fmla="*/ 4 h 5"/>
                    <a:gd name="T4" fmla="*/ 3 w 4"/>
                    <a:gd name="T5" fmla="*/ 4 h 5"/>
                    <a:gd name="T6" fmla="*/ 3 w 4"/>
                    <a:gd name="T7" fmla="*/ 3 h 5"/>
                    <a:gd name="T8" fmla="*/ 3 w 4"/>
                    <a:gd name="T9" fmla="*/ 3 h 5"/>
                    <a:gd name="T10" fmla="*/ 3 w 4"/>
                    <a:gd name="T11" fmla="*/ 3 h 5"/>
                    <a:gd name="T12" fmla="*/ 3 w 4"/>
                    <a:gd name="T13" fmla="*/ 3 h 5"/>
                    <a:gd name="T14" fmla="*/ 3 w 4"/>
                    <a:gd name="T15" fmla="*/ 2 h 5"/>
                    <a:gd name="T16" fmla="*/ 4 w 4"/>
                    <a:gd name="T17" fmla="*/ 2 h 5"/>
                    <a:gd name="T18" fmla="*/ 4 w 4"/>
                    <a:gd name="T19" fmla="*/ 0 h 5"/>
                    <a:gd name="T20" fmla="*/ 3 w 4"/>
                    <a:gd name="T21" fmla="*/ 0 h 5"/>
                    <a:gd name="T22" fmla="*/ 3 w 4"/>
                    <a:gd name="T23" fmla="*/ 2 h 5"/>
                    <a:gd name="T24" fmla="*/ 3 w 4"/>
                    <a:gd name="T25" fmla="*/ 2 h 5"/>
                    <a:gd name="T26" fmla="*/ 3 w 4"/>
                    <a:gd name="T27" fmla="*/ 3 h 5"/>
                    <a:gd name="T28" fmla="*/ 2 w 4"/>
                    <a:gd name="T29" fmla="*/ 3 h 5"/>
                    <a:gd name="T30" fmla="*/ 2 w 4"/>
                    <a:gd name="T31" fmla="*/ 2 h 5"/>
                    <a:gd name="T32" fmla="*/ 1 w 4"/>
                    <a:gd name="T33" fmla="*/ 2 h 5"/>
                    <a:gd name="T34" fmla="*/ 1 w 4"/>
                    <a:gd name="T35" fmla="*/ 0 h 5"/>
                    <a:gd name="T36" fmla="*/ 0 w 4"/>
                    <a:gd name="T37" fmla="*/ 0 h 5"/>
                    <a:gd name="T38" fmla="*/ 0 w 4"/>
                    <a:gd name="T39" fmla="*/ 2 h 5"/>
                    <a:gd name="T40" fmla="*/ 1 w 4"/>
                    <a:gd name="T41" fmla="*/ 2 h 5"/>
                    <a:gd name="T42" fmla="*/ 1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1 w 4"/>
                    <a:gd name="T57" fmla="*/ 5 h 5"/>
                    <a:gd name="T58" fmla="*/ 1 w 4"/>
                    <a:gd name="T59" fmla="*/ 4 h 5"/>
                    <a:gd name="T60" fmla="*/ 2 w 4"/>
                    <a:gd name="T61" fmla="*/ 4 h 5"/>
                    <a:gd name="T62" fmla="*/ 2 w 4"/>
                    <a:gd name="T63" fmla="*/ 3 h 5"/>
                    <a:gd name="T64" fmla="*/ 3 w 4"/>
                    <a:gd name="T65" fmla="*/ 3 h 5"/>
                    <a:gd name="T66" fmla="*/ 3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3"/>
                      </a:lnTo>
                      <a:lnTo>
                        <a:pt x="3" y="3"/>
                      </a:lnTo>
                      <a:lnTo>
                        <a:pt x="3" y="3"/>
                      </a:lnTo>
                      <a:lnTo>
                        <a:pt x="3" y="3"/>
                      </a:lnTo>
                      <a:lnTo>
                        <a:pt x="3" y="2"/>
                      </a:lnTo>
                      <a:lnTo>
                        <a:pt x="4" y="2"/>
                      </a:lnTo>
                      <a:lnTo>
                        <a:pt x="4" y="0"/>
                      </a:lnTo>
                      <a:lnTo>
                        <a:pt x="3" y="0"/>
                      </a:lnTo>
                      <a:lnTo>
                        <a:pt x="3" y="2"/>
                      </a:lnTo>
                      <a:lnTo>
                        <a:pt x="3" y="2"/>
                      </a:lnTo>
                      <a:lnTo>
                        <a:pt x="3" y="3"/>
                      </a:lnTo>
                      <a:lnTo>
                        <a:pt x="2" y="3"/>
                      </a:lnTo>
                      <a:lnTo>
                        <a:pt x="2" y="2"/>
                      </a:lnTo>
                      <a:lnTo>
                        <a:pt x="1" y="2"/>
                      </a:lnTo>
                      <a:lnTo>
                        <a:pt x="1" y="0"/>
                      </a:lnTo>
                      <a:lnTo>
                        <a:pt x="0" y="0"/>
                      </a:lnTo>
                      <a:lnTo>
                        <a:pt x="0" y="2"/>
                      </a:lnTo>
                      <a:lnTo>
                        <a:pt x="1" y="2"/>
                      </a:lnTo>
                      <a:lnTo>
                        <a:pt x="1" y="3"/>
                      </a:lnTo>
                      <a:lnTo>
                        <a:pt x="2" y="3"/>
                      </a:lnTo>
                      <a:lnTo>
                        <a:pt x="2" y="3"/>
                      </a:lnTo>
                      <a:lnTo>
                        <a:pt x="1" y="3"/>
                      </a:lnTo>
                      <a:lnTo>
                        <a:pt x="1" y="4"/>
                      </a:lnTo>
                      <a:lnTo>
                        <a:pt x="0" y="4"/>
                      </a:lnTo>
                      <a:lnTo>
                        <a:pt x="0" y="5"/>
                      </a:lnTo>
                      <a:lnTo>
                        <a:pt x="1" y="5"/>
                      </a:lnTo>
                      <a:lnTo>
                        <a:pt x="1" y="4"/>
                      </a:lnTo>
                      <a:lnTo>
                        <a:pt x="2" y="4"/>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8" name="Freeform 352"/>
                <p:cNvSpPr>
                  <a:spLocks/>
                </p:cNvSpPr>
                <p:nvPr/>
              </p:nvSpPr>
              <p:spPr bwMode="auto">
                <a:xfrm>
                  <a:off x="1894366" y="2487464"/>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199" name="Freeform 353"/>
                <p:cNvSpPr>
                  <a:spLocks noEditPoints="1"/>
                </p:cNvSpPr>
                <p:nvPr/>
              </p:nvSpPr>
              <p:spPr bwMode="auto">
                <a:xfrm>
                  <a:off x="1924256"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0" name="Freeform 354"/>
                <p:cNvSpPr>
                  <a:spLocks noEditPoints="1"/>
                </p:cNvSpPr>
                <p:nvPr/>
              </p:nvSpPr>
              <p:spPr bwMode="auto">
                <a:xfrm>
                  <a:off x="1961621" y="2487464"/>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2 w 4"/>
                    <a:gd name="T39" fmla="*/ 3 h 5"/>
                    <a:gd name="T40" fmla="*/ 2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2" y="0"/>
                      </a:lnTo>
                      <a:lnTo>
                        <a:pt x="2" y="1"/>
                      </a:lnTo>
                      <a:lnTo>
                        <a:pt x="1" y="1"/>
                      </a:lnTo>
                      <a:lnTo>
                        <a:pt x="1" y="3"/>
                      </a:lnTo>
                      <a:lnTo>
                        <a:pt x="0" y="3"/>
                      </a:lnTo>
                      <a:lnTo>
                        <a:pt x="0" y="5"/>
                      </a:lnTo>
                      <a:lnTo>
                        <a:pt x="1" y="5"/>
                      </a:lnTo>
                      <a:lnTo>
                        <a:pt x="1" y="4"/>
                      </a:lnTo>
                      <a:lnTo>
                        <a:pt x="3" y="4"/>
                      </a:lnTo>
                      <a:lnTo>
                        <a:pt x="3" y="5"/>
                      </a:lnTo>
                      <a:lnTo>
                        <a:pt x="4" y="5"/>
                      </a:lnTo>
                      <a:lnTo>
                        <a:pt x="4"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1" name="Freeform 355"/>
                <p:cNvSpPr>
                  <a:spLocks noEditPoints="1"/>
                </p:cNvSpPr>
                <p:nvPr/>
              </p:nvSpPr>
              <p:spPr bwMode="auto">
                <a:xfrm>
                  <a:off x="1998982" y="2487464"/>
                  <a:ext cx="29890"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2" name="Freeform 356"/>
                <p:cNvSpPr>
                  <a:spLocks/>
                </p:cNvSpPr>
                <p:nvPr/>
              </p:nvSpPr>
              <p:spPr bwMode="auto">
                <a:xfrm>
                  <a:off x="2223157" y="2487464"/>
                  <a:ext cx="37365" cy="37365"/>
                </a:xfrm>
                <a:custGeom>
                  <a:avLst/>
                  <a:gdLst>
                    <a:gd name="T0" fmla="*/ 5 w 5"/>
                    <a:gd name="T1" fmla="*/ 5 h 5"/>
                    <a:gd name="T2" fmla="*/ 5 w 5"/>
                    <a:gd name="T3" fmla="*/ 0 h 5"/>
                    <a:gd name="T4" fmla="*/ 4 w 5"/>
                    <a:gd name="T5" fmla="*/ 0 h 5"/>
                    <a:gd name="T6" fmla="*/ 4 w 5"/>
                    <a:gd name="T7" fmla="*/ 1 h 5"/>
                    <a:gd name="T8" fmla="*/ 4 w 5"/>
                    <a:gd name="T9" fmla="*/ 1 h 5"/>
                    <a:gd name="T10" fmla="*/ 4 w 5"/>
                    <a:gd name="T11" fmla="*/ 1 h 5"/>
                    <a:gd name="T12" fmla="*/ 3 w 5"/>
                    <a:gd name="T13" fmla="*/ 1 h 5"/>
                    <a:gd name="T14" fmla="*/ 3 w 5"/>
                    <a:gd name="T15" fmla="*/ 3 h 5"/>
                    <a:gd name="T16" fmla="*/ 2 w 5"/>
                    <a:gd name="T17" fmla="*/ 3 h 5"/>
                    <a:gd name="T18" fmla="*/ 2 w 5"/>
                    <a:gd name="T19" fmla="*/ 1 h 5"/>
                    <a:gd name="T20" fmla="*/ 1 w 5"/>
                    <a:gd name="T21" fmla="*/ 1 h 5"/>
                    <a:gd name="T22" fmla="*/ 1 w 5"/>
                    <a:gd name="T23" fmla="*/ 1 h 5"/>
                    <a:gd name="T24" fmla="*/ 0 w 5"/>
                    <a:gd name="T25" fmla="*/ 1 h 5"/>
                    <a:gd name="T26" fmla="*/ 0 w 5"/>
                    <a:gd name="T27" fmla="*/ 0 h 5"/>
                    <a:gd name="T28" fmla="*/ 0 w 5"/>
                    <a:gd name="T29" fmla="*/ 0 h 5"/>
                    <a:gd name="T30" fmla="*/ 0 w 5"/>
                    <a:gd name="T31" fmla="*/ 5 h 5"/>
                    <a:gd name="T32" fmla="*/ 0 w 5"/>
                    <a:gd name="T33" fmla="*/ 5 h 5"/>
                    <a:gd name="T34" fmla="*/ 0 w 5"/>
                    <a:gd name="T35" fmla="*/ 1 h 5"/>
                    <a:gd name="T36" fmla="*/ 1 w 5"/>
                    <a:gd name="T37" fmla="*/ 1 h 5"/>
                    <a:gd name="T38" fmla="*/ 1 w 5"/>
                    <a:gd name="T39" fmla="*/ 3 h 5"/>
                    <a:gd name="T40" fmla="*/ 2 w 5"/>
                    <a:gd name="T41" fmla="*/ 3 h 5"/>
                    <a:gd name="T42" fmla="*/ 2 w 5"/>
                    <a:gd name="T43" fmla="*/ 3 h 5"/>
                    <a:gd name="T44" fmla="*/ 3 w 5"/>
                    <a:gd name="T45" fmla="*/ 3 h 5"/>
                    <a:gd name="T46" fmla="*/ 3 w 5"/>
                    <a:gd name="T47" fmla="*/ 3 h 5"/>
                    <a:gd name="T48" fmla="*/ 4 w 5"/>
                    <a:gd name="T49" fmla="*/ 3 h 5"/>
                    <a:gd name="T50" fmla="*/ 4 w 5"/>
                    <a:gd name="T51" fmla="*/ 1 h 5"/>
                    <a:gd name="T52" fmla="*/ 4 w 5"/>
                    <a:gd name="T53" fmla="*/ 1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0"/>
                      </a:lnTo>
                      <a:lnTo>
                        <a:pt x="4" y="0"/>
                      </a:lnTo>
                      <a:lnTo>
                        <a:pt x="4" y="1"/>
                      </a:lnTo>
                      <a:lnTo>
                        <a:pt x="4" y="1"/>
                      </a:lnTo>
                      <a:lnTo>
                        <a:pt x="4" y="1"/>
                      </a:lnTo>
                      <a:lnTo>
                        <a:pt x="3" y="1"/>
                      </a:lnTo>
                      <a:lnTo>
                        <a:pt x="3" y="3"/>
                      </a:lnTo>
                      <a:lnTo>
                        <a:pt x="2" y="3"/>
                      </a:lnTo>
                      <a:lnTo>
                        <a:pt x="2" y="1"/>
                      </a:lnTo>
                      <a:lnTo>
                        <a:pt x="1" y="1"/>
                      </a:lnTo>
                      <a:lnTo>
                        <a:pt x="1" y="1"/>
                      </a:lnTo>
                      <a:lnTo>
                        <a:pt x="0" y="1"/>
                      </a:lnTo>
                      <a:lnTo>
                        <a:pt x="0" y="0"/>
                      </a:lnTo>
                      <a:lnTo>
                        <a:pt x="0" y="0"/>
                      </a:lnTo>
                      <a:lnTo>
                        <a:pt x="0" y="5"/>
                      </a:lnTo>
                      <a:lnTo>
                        <a:pt x="0" y="5"/>
                      </a:lnTo>
                      <a:lnTo>
                        <a:pt x="0" y="1"/>
                      </a:lnTo>
                      <a:lnTo>
                        <a:pt x="1" y="1"/>
                      </a:lnTo>
                      <a:lnTo>
                        <a:pt x="1" y="3"/>
                      </a:lnTo>
                      <a:lnTo>
                        <a:pt x="2" y="3"/>
                      </a:lnTo>
                      <a:lnTo>
                        <a:pt x="2" y="3"/>
                      </a:lnTo>
                      <a:lnTo>
                        <a:pt x="3" y="3"/>
                      </a:lnTo>
                      <a:lnTo>
                        <a:pt x="3" y="3"/>
                      </a:lnTo>
                      <a:lnTo>
                        <a:pt x="4" y="3"/>
                      </a:lnTo>
                      <a:lnTo>
                        <a:pt x="4" y="1"/>
                      </a:lnTo>
                      <a:lnTo>
                        <a:pt x="4" y="1"/>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3" name="Freeform 357"/>
                <p:cNvSpPr>
                  <a:spLocks/>
                </p:cNvSpPr>
                <p:nvPr/>
              </p:nvSpPr>
              <p:spPr bwMode="auto">
                <a:xfrm>
                  <a:off x="2267992" y="2487464"/>
                  <a:ext cx="44835" cy="37365"/>
                </a:xfrm>
                <a:custGeom>
                  <a:avLst/>
                  <a:gdLst>
                    <a:gd name="T0" fmla="*/ 6 w 6"/>
                    <a:gd name="T1" fmla="*/ 3 h 5"/>
                    <a:gd name="T2" fmla="*/ 6 w 6"/>
                    <a:gd name="T3" fmla="*/ 0 h 5"/>
                    <a:gd name="T4" fmla="*/ 5 w 6"/>
                    <a:gd name="T5" fmla="*/ 0 h 5"/>
                    <a:gd name="T6" fmla="*/ 5 w 6"/>
                    <a:gd name="T7" fmla="*/ 3 h 5"/>
                    <a:gd name="T8" fmla="*/ 4 w 6"/>
                    <a:gd name="T9" fmla="*/ 3 h 5"/>
                    <a:gd name="T10" fmla="*/ 4 w 6"/>
                    <a:gd name="T11" fmla="*/ 4 h 5"/>
                    <a:gd name="T12" fmla="*/ 4 w 6"/>
                    <a:gd name="T13" fmla="*/ 4 h 5"/>
                    <a:gd name="T14" fmla="*/ 4 w 6"/>
                    <a:gd name="T15" fmla="*/ 3 h 5"/>
                    <a:gd name="T16" fmla="*/ 2 w 6"/>
                    <a:gd name="T17" fmla="*/ 3 h 5"/>
                    <a:gd name="T18" fmla="*/ 2 w 6"/>
                    <a:gd name="T19" fmla="*/ 4 h 5"/>
                    <a:gd name="T20" fmla="*/ 2 w 6"/>
                    <a:gd name="T21" fmla="*/ 4 h 5"/>
                    <a:gd name="T22" fmla="*/ 2 w 6"/>
                    <a:gd name="T23" fmla="*/ 3 h 5"/>
                    <a:gd name="T24" fmla="*/ 1 w 6"/>
                    <a:gd name="T25" fmla="*/ 3 h 5"/>
                    <a:gd name="T26" fmla="*/ 1 w 6"/>
                    <a:gd name="T27" fmla="*/ 0 h 5"/>
                    <a:gd name="T28" fmla="*/ 0 w 6"/>
                    <a:gd name="T29" fmla="*/ 0 h 5"/>
                    <a:gd name="T30" fmla="*/ 0 w 6"/>
                    <a:gd name="T31" fmla="*/ 3 h 5"/>
                    <a:gd name="T32" fmla="*/ 1 w 6"/>
                    <a:gd name="T33" fmla="*/ 3 h 5"/>
                    <a:gd name="T34" fmla="*/ 1 w 6"/>
                    <a:gd name="T35" fmla="*/ 4 h 5"/>
                    <a:gd name="T36" fmla="*/ 2 w 6"/>
                    <a:gd name="T37" fmla="*/ 4 h 5"/>
                    <a:gd name="T38" fmla="*/ 2 w 6"/>
                    <a:gd name="T39" fmla="*/ 5 h 5"/>
                    <a:gd name="T40" fmla="*/ 2 w 6"/>
                    <a:gd name="T41" fmla="*/ 5 h 5"/>
                    <a:gd name="T42" fmla="*/ 2 w 6"/>
                    <a:gd name="T43" fmla="*/ 4 h 5"/>
                    <a:gd name="T44" fmla="*/ 4 w 6"/>
                    <a:gd name="T45" fmla="*/ 4 h 5"/>
                    <a:gd name="T46" fmla="*/ 4 w 6"/>
                    <a:gd name="T47" fmla="*/ 5 h 5"/>
                    <a:gd name="T48" fmla="*/ 4 w 6"/>
                    <a:gd name="T49" fmla="*/ 5 h 5"/>
                    <a:gd name="T50" fmla="*/ 4 w 6"/>
                    <a:gd name="T51" fmla="*/ 4 h 5"/>
                    <a:gd name="T52" fmla="*/ 5 w 6"/>
                    <a:gd name="T53" fmla="*/ 4 h 5"/>
                    <a:gd name="T54" fmla="*/ 5 w 6"/>
                    <a:gd name="T55" fmla="*/ 3 h 5"/>
                    <a:gd name="T56" fmla="*/ 6 w 6"/>
                    <a:gd name="T57" fmla="*/ 3 h 5"/>
                    <a:gd name="T58" fmla="*/ 6 w 6"/>
                    <a:gd name="T5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3"/>
                      </a:moveTo>
                      <a:lnTo>
                        <a:pt x="6" y="0"/>
                      </a:lnTo>
                      <a:lnTo>
                        <a:pt x="5" y="0"/>
                      </a:lnTo>
                      <a:lnTo>
                        <a:pt x="5" y="3"/>
                      </a:lnTo>
                      <a:lnTo>
                        <a:pt x="4" y="3"/>
                      </a:lnTo>
                      <a:lnTo>
                        <a:pt x="4" y="4"/>
                      </a:lnTo>
                      <a:lnTo>
                        <a:pt x="4" y="4"/>
                      </a:lnTo>
                      <a:lnTo>
                        <a:pt x="4" y="3"/>
                      </a:lnTo>
                      <a:lnTo>
                        <a:pt x="2" y="3"/>
                      </a:lnTo>
                      <a:lnTo>
                        <a:pt x="2" y="4"/>
                      </a:lnTo>
                      <a:lnTo>
                        <a:pt x="2" y="4"/>
                      </a:lnTo>
                      <a:lnTo>
                        <a:pt x="2" y="3"/>
                      </a:lnTo>
                      <a:lnTo>
                        <a:pt x="1" y="3"/>
                      </a:lnTo>
                      <a:lnTo>
                        <a:pt x="1" y="0"/>
                      </a:lnTo>
                      <a:lnTo>
                        <a:pt x="0" y="0"/>
                      </a:lnTo>
                      <a:lnTo>
                        <a:pt x="0" y="3"/>
                      </a:lnTo>
                      <a:lnTo>
                        <a:pt x="1" y="3"/>
                      </a:lnTo>
                      <a:lnTo>
                        <a:pt x="1" y="4"/>
                      </a:lnTo>
                      <a:lnTo>
                        <a:pt x="2" y="4"/>
                      </a:lnTo>
                      <a:lnTo>
                        <a:pt x="2" y="5"/>
                      </a:lnTo>
                      <a:lnTo>
                        <a:pt x="2" y="5"/>
                      </a:lnTo>
                      <a:lnTo>
                        <a:pt x="2" y="4"/>
                      </a:lnTo>
                      <a:lnTo>
                        <a:pt x="4" y="4"/>
                      </a:lnTo>
                      <a:lnTo>
                        <a:pt x="4" y="5"/>
                      </a:lnTo>
                      <a:lnTo>
                        <a:pt x="4" y="5"/>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4" name="Freeform 358"/>
                <p:cNvSpPr>
                  <a:spLocks/>
                </p:cNvSpPr>
                <p:nvPr/>
              </p:nvSpPr>
              <p:spPr bwMode="auto">
                <a:xfrm>
                  <a:off x="2566893" y="2338013"/>
                  <a:ext cx="14945" cy="37365"/>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2 h 5"/>
                    <a:gd name="T12" fmla="*/ 0 w 2"/>
                    <a:gd name="T13" fmla="*/ 2 h 5"/>
                    <a:gd name="T14" fmla="*/ 0 w 2"/>
                    <a:gd name="T15" fmla="*/ 2 h 5"/>
                    <a:gd name="T16" fmla="*/ 1 w 2"/>
                    <a:gd name="T17" fmla="*/ 2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2"/>
                      </a:lnTo>
                      <a:lnTo>
                        <a:pt x="0" y="2"/>
                      </a:lnTo>
                      <a:lnTo>
                        <a:pt x="0" y="2"/>
                      </a:lnTo>
                      <a:lnTo>
                        <a:pt x="1" y="2"/>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5" name="Freeform 359"/>
                <p:cNvSpPr>
                  <a:spLocks/>
                </p:cNvSpPr>
                <p:nvPr/>
              </p:nvSpPr>
              <p:spPr bwMode="auto">
                <a:xfrm>
                  <a:off x="2589313" y="237537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6" name="Freeform 360"/>
                <p:cNvSpPr>
                  <a:spLocks noEditPoints="1"/>
                </p:cNvSpPr>
                <p:nvPr/>
              </p:nvSpPr>
              <p:spPr bwMode="auto">
                <a:xfrm>
                  <a:off x="260425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7" name="Freeform 361"/>
                <p:cNvSpPr>
                  <a:spLocks noEditPoints="1"/>
                </p:cNvSpPr>
                <p:nvPr/>
              </p:nvSpPr>
              <p:spPr bwMode="auto">
                <a:xfrm>
                  <a:off x="2641618"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8" name="Freeform 362"/>
                <p:cNvSpPr>
                  <a:spLocks noEditPoints="1"/>
                </p:cNvSpPr>
                <p:nvPr/>
              </p:nvSpPr>
              <p:spPr bwMode="auto">
                <a:xfrm>
                  <a:off x="2678983" y="2338013"/>
                  <a:ext cx="29890" cy="37365"/>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09" name="Freeform 363"/>
                <p:cNvSpPr>
                  <a:spLocks/>
                </p:cNvSpPr>
                <p:nvPr/>
              </p:nvSpPr>
              <p:spPr bwMode="auto">
                <a:xfrm>
                  <a:off x="2566893" y="241273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0" name="Freeform 364"/>
                <p:cNvSpPr>
                  <a:spLocks/>
                </p:cNvSpPr>
                <p:nvPr/>
              </p:nvSpPr>
              <p:spPr bwMode="auto">
                <a:xfrm>
                  <a:off x="2589313" y="2450099"/>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1" name="Freeform 365"/>
                <p:cNvSpPr>
                  <a:spLocks noEditPoints="1"/>
                </p:cNvSpPr>
                <p:nvPr/>
              </p:nvSpPr>
              <p:spPr bwMode="auto">
                <a:xfrm>
                  <a:off x="260425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2" name="Freeform 366"/>
                <p:cNvSpPr>
                  <a:spLocks noEditPoints="1"/>
                </p:cNvSpPr>
                <p:nvPr/>
              </p:nvSpPr>
              <p:spPr bwMode="auto">
                <a:xfrm>
                  <a:off x="2641618"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3" name="Freeform 367"/>
                <p:cNvSpPr>
                  <a:spLocks noEditPoints="1"/>
                </p:cNvSpPr>
                <p:nvPr/>
              </p:nvSpPr>
              <p:spPr bwMode="auto">
                <a:xfrm>
                  <a:off x="2678983" y="241273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4" name="Freeform 368"/>
                <p:cNvSpPr>
                  <a:spLocks/>
                </p:cNvSpPr>
                <p:nvPr/>
              </p:nvSpPr>
              <p:spPr bwMode="auto">
                <a:xfrm>
                  <a:off x="2566893" y="2487464"/>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1 h 5"/>
                    <a:gd name="T32" fmla="*/ 1 w 4"/>
                    <a:gd name="T33" fmla="*/ 1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1"/>
                      </a:lnTo>
                      <a:lnTo>
                        <a:pt x="1" y="1"/>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5" name="Freeform 369"/>
                <p:cNvSpPr>
                  <a:spLocks noEditPoints="1"/>
                </p:cNvSpPr>
                <p:nvPr/>
              </p:nvSpPr>
              <p:spPr bwMode="auto">
                <a:xfrm>
                  <a:off x="2604258" y="2487464"/>
                  <a:ext cx="29890"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6" name="Freeform 370"/>
                <p:cNvSpPr>
                  <a:spLocks/>
                </p:cNvSpPr>
                <p:nvPr/>
              </p:nvSpPr>
              <p:spPr bwMode="auto">
                <a:xfrm>
                  <a:off x="2641618" y="25248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7" name="Freeform 371"/>
                <p:cNvSpPr>
                  <a:spLocks noEditPoints="1"/>
                </p:cNvSpPr>
                <p:nvPr/>
              </p:nvSpPr>
              <p:spPr bwMode="auto">
                <a:xfrm>
                  <a:off x="2649093" y="2487464"/>
                  <a:ext cx="37365" cy="37365"/>
                </a:xfrm>
                <a:custGeom>
                  <a:avLst/>
                  <a:gdLst>
                    <a:gd name="T0" fmla="*/ 5 w 5"/>
                    <a:gd name="T1" fmla="*/ 5 h 5"/>
                    <a:gd name="T2" fmla="*/ 5 w 5"/>
                    <a:gd name="T3" fmla="*/ 1 h 5"/>
                    <a:gd name="T4" fmla="*/ 4 w 5"/>
                    <a:gd name="T5" fmla="*/ 1 h 5"/>
                    <a:gd name="T6" fmla="*/ 4 w 5"/>
                    <a:gd name="T7" fmla="*/ 0 h 5"/>
                    <a:gd name="T8" fmla="*/ 1 w 5"/>
                    <a:gd name="T9" fmla="*/ 0 h 5"/>
                    <a:gd name="T10" fmla="*/ 1 w 5"/>
                    <a:gd name="T11" fmla="*/ 1 h 5"/>
                    <a:gd name="T12" fmla="*/ 0 w 5"/>
                    <a:gd name="T13" fmla="*/ 1 h 5"/>
                    <a:gd name="T14" fmla="*/ 0 w 5"/>
                    <a:gd name="T15" fmla="*/ 5 h 5"/>
                    <a:gd name="T16" fmla="*/ 1 w 5"/>
                    <a:gd name="T17" fmla="*/ 5 h 5"/>
                    <a:gd name="T18" fmla="*/ 1 w 5"/>
                    <a:gd name="T19" fmla="*/ 5 h 5"/>
                    <a:gd name="T20" fmla="*/ 4 w 5"/>
                    <a:gd name="T21" fmla="*/ 5 h 5"/>
                    <a:gd name="T22" fmla="*/ 4 w 5"/>
                    <a:gd name="T23" fmla="*/ 5 h 5"/>
                    <a:gd name="T24" fmla="*/ 5 w 5"/>
                    <a:gd name="T25" fmla="*/ 5 h 5"/>
                    <a:gd name="T26" fmla="*/ 5 w 5"/>
                    <a:gd name="T27" fmla="*/ 5 h 5"/>
                    <a:gd name="T28" fmla="*/ 4 w 5"/>
                    <a:gd name="T29" fmla="*/ 5 h 5"/>
                    <a:gd name="T30" fmla="*/ 1 w 5"/>
                    <a:gd name="T31" fmla="*/ 5 h 5"/>
                    <a:gd name="T32" fmla="*/ 1 w 5"/>
                    <a:gd name="T33" fmla="*/ 1 h 5"/>
                    <a:gd name="T34" fmla="*/ 4 w 5"/>
                    <a:gd name="T35" fmla="*/ 1 h 5"/>
                    <a:gd name="T36" fmla="*/ 4 w 5"/>
                    <a:gd name="T37" fmla="*/ 5 h 5"/>
                    <a:gd name="T38" fmla="*/ 4 w 5"/>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5"/>
                      </a:moveTo>
                      <a:lnTo>
                        <a:pt x="5" y="1"/>
                      </a:lnTo>
                      <a:lnTo>
                        <a:pt x="4" y="1"/>
                      </a:lnTo>
                      <a:lnTo>
                        <a:pt x="4" y="0"/>
                      </a:lnTo>
                      <a:lnTo>
                        <a:pt x="1" y="0"/>
                      </a:lnTo>
                      <a:lnTo>
                        <a:pt x="1" y="1"/>
                      </a:lnTo>
                      <a:lnTo>
                        <a:pt x="0" y="1"/>
                      </a:lnTo>
                      <a:lnTo>
                        <a:pt x="0" y="5"/>
                      </a:lnTo>
                      <a:lnTo>
                        <a:pt x="1" y="5"/>
                      </a:lnTo>
                      <a:lnTo>
                        <a:pt x="1" y="5"/>
                      </a:lnTo>
                      <a:lnTo>
                        <a:pt x="4" y="5"/>
                      </a:lnTo>
                      <a:lnTo>
                        <a:pt x="4" y="5"/>
                      </a:lnTo>
                      <a:lnTo>
                        <a:pt x="5" y="5"/>
                      </a:lnTo>
                      <a:lnTo>
                        <a:pt x="5"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8" name="Freeform 372"/>
                <p:cNvSpPr>
                  <a:spLocks noEditPoints="1"/>
                </p:cNvSpPr>
                <p:nvPr/>
              </p:nvSpPr>
              <p:spPr bwMode="auto">
                <a:xfrm>
                  <a:off x="2686453"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19" name="Freeform 373"/>
                <p:cNvSpPr>
                  <a:spLocks noEditPoints="1"/>
                </p:cNvSpPr>
                <p:nvPr/>
              </p:nvSpPr>
              <p:spPr bwMode="auto">
                <a:xfrm>
                  <a:off x="2723818" y="2487464"/>
                  <a:ext cx="29890" cy="37365"/>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0" name="Freeform 374"/>
                <p:cNvSpPr>
                  <a:spLocks/>
                </p:cNvSpPr>
                <p:nvPr/>
              </p:nvSpPr>
              <p:spPr bwMode="auto">
                <a:xfrm>
                  <a:off x="3627990" y="2255813"/>
                  <a:ext cx="37365" cy="67255"/>
                </a:xfrm>
                <a:custGeom>
                  <a:avLst/>
                  <a:gdLst>
                    <a:gd name="T0" fmla="*/ 5 w 5"/>
                    <a:gd name="T1" fmla="*/ 7 h 9"/>
                    <a:gd name="T2" fmla="*/ 5 w 5"/>
                    <a:gd name="T3" fmla="*/ 0 h 9"/>
                    <a:gd name="T4" fmla="*/ 4 w 5"/>
                    <a:gd name="T5" fmla="*/ 0 h 9"/>
                    <a:gd name="T6" fmla="*/ 4 w 5"/>
                    <a:gd name="T7" fmla="*/ 7 h 9"/>
                    <a:gd name="T8" fmla="*/ 1 w 5"/>
                    <a:gd name="T9" fmla="*/ 7 h 9"/>
                    <a:gd name="T10" fmla="*/ 1 w 5"/>
                    <a:gd name="T11" fmla="*/ 0 h 9"/>
                    <a:gd name="T12" fmla="*/ 0 w 5"/>
                    <a:gd name="T13" fmla="*/ 0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7"/>
                      </a:moveTo>
                      <a:lnTo>
                        <a:pt x="5" y="0"/>
                      </a:lnTo>
                      <a:lnTo>
                        <a:pt x="4" y="0"/>
                      </a:lnTo>
                      <a:lnTo>
                        <a:pt x="4" y="7"/>
                      </a:lnTo>
                      <a:lnTo>
                        <a:pt x="1" y="7"/>
                      </a:lnTo>
                      <a:lnTo>
                        <a:pt x="1" y="0"/>
                      </a:lnTo>
                      <a:lnTo>
                        <a:pt x="0" y="0"/>
                      </a:lnTo>
                      <a:lnTo>
                        <a:pt x="0" y="7"/>
                      </a:lnTo>
                      <a:lnTo>
                        <a:pt x="1" y="7"/>
                      </a:lnTo>
                      <a:lnTo>
                        <a:pt x="1" y="9"/>
                      </a:lnTo>
                      <a:lnTo>
                        <a:pt x="4" y="9"/>
                      </a:lnTo>
                      <a:lnTo>
                        <a:pt x="4" y="7"/>
                      </a:lnTo>
                      <a:lnTo>
                        <a:pt x="5" y="7"/>
                      </a:lnTo>
                      <a:lnTo>
                        <a:pt x="5"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1" name="Freeform 375"/>
                <p:cNvSpPr>
                  <a:spLocks/>
                </p:cNvSpPr>
                <p:nvPr/>
              </p:nvSpPr>
              <p:spPr bwMode="auto">
                <a:xfrm>
                  <a:off x="3680300" y="2255813"/>
                  <a:ext cx="44835" cy="67255"/>
                </a:xfrm>
                <a:custGeom>
                  <a:avLst/>
                  <a:gdLst>
                    <a:gd name="T0" fmla="*/ 6 w 6"/>
                    <a:gd name="T1" fmla="*/ 9 h 9"/>
                    <a:gd name="T2" fmla="*/ 6 w 6"/>
                    <a:gd name="T3" fmla="*/ 0 h 9"/>
                    <a:gd name="T4" fmla="*/ 5 w 6"/>
                    <a:gd name="T5" fmla="*/ 0 h 9"/>
                    <a:gd name="T6" fmla="*/ 5 w 6"/>
                    <a:gd name="T7" fmla="*/ 5 h 9"/>
                    <a:gd name="T8" fmla="*/ 4 w 6"/>
                    <a:gd name="T9" fmla="*/ 5 h 9"/>
                    <a:gd name="T10" fmla="*/ 4 w 6"/>
                    <a:gd name="T11" fmla="*/ 4 h 9"/>
                    <a:gd name="T12" fmla="*/ 2 w 6"/>
                    <a:gd name="T13" fmla="*/ 4 h 9"/>
                    <a:gd name="T14" fmla="*/ 2 w 6"/>
                    <a:gd name="T15" fmla="*/ 3 h 9"/>
                    <a:gd name="T16" fmla="*/ 1 w 6"/>
                    <a:gd name="T17" fmla="*/ 3 h 9"/>
                    <a:gd name="T18" fmla="*/ 1 w 6"/>
                    <a:gd name="T19" fmla="*/ 0 h 9"/>
                    <a:gd name="T20" fmla="*/ 0 w 6"/>
                    <a:gd name="T21" fmla="*/ 0 h 9"/>
                    <a:gd name="T22" fmla="*/ 0 w 6"/>
                    <a:gd name="T23" fmla="*/ 9 h 9"/>
                    <a:gd name="T24" fmla="*/ 1 w 6"/>
                    <a:gd name="T25" fmla="*/ 9 h 9"/>
                    <a:gd name="T26" fmla="*/ 1 w 6"/>
                    <a:gd name="T27" fmla="*/ 4 h 9"/>
                    <a:gd name="T28" fmla="*/ 2 w 6"/>
                    <a:gd name="T29" fmla="*/ 4 h 9"/>
                    <a:gd name="T30" fmla="*/ 2 w 6"/>
                    <a:gd name="T31" fmla="*/ 5 h 9"/>
                    <a:gd name="T32" fmla="*/ 4 w 6"/>
                    <a:gd name="T33" fmla="*/ 5 h 9"/>
                    <a:gd name="T34" fmla="*/ 4 w 6"/>
                    <a:gd name="T35" fmla="*/ 6 h 9"/>
                    <a:gd name="T36" fmla="*/ 5 w 6"/>
                    <a:gd name="T37" fmla="*/ 6 h 9"/>
                    <a:gd name="T38" fmla="*/ 5 w 6"/>
                    <a:gd name="T39" fmla="*/ 9 h 9"/>
                    <a:gd name="T40" fmla="*/ 6 w 6"/>
                    <a:gd name="T41" fmla="*/ 9 h 9"/>
                    <a:gd name="T42" fmla="*/ 6 w 6"/>
                    <a:gd name="T4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9">
                      <a:moveTo>
                        <a:pt x="6" y="9"/>
                      </a:moveTo>
                      <a:lnTo>
                        <a:pt x="6" y="0"/>
                      </a:lnTo>
                      <a:lnTo>
                        <a:pt x="5" y="0"/>
                      </a:lnTo>
                      <a:lnTo>
                        <a:pt x="5" y="5"/>
                      </a:lnTo>
                      <a:lnTo>
                        <a:pt x="4" y="5"/>
                      </a:lnTo>
                      <a:lnTo>
                        <a:pt x="4" y="4"/>
                      </a:lnTo>
                      <a:lnTo>
                        <a:pt x="2" y="4"/>
                      </a:lnTo>
                      <a:lnTo>
                        <a:pt x="2" y="3"/>
                      </a:lnTo>
                      <a:lnTo>
                        <a:pt x="1" y="3"/>
                      </a:lnTo>
                      <a:lnTo>
                        <a:pt x="1" y="0"/>
                      </a:lnTo>
                      <a:lnTo>
                        <a:pt x="0" y="0"/>
                      </a:lnTo>
                      <a:lnTo>
                        <a:pt x="0" y="9"/>
                      </a:lnTo>
                      <a:lnTo>
                        <a:pt x="1" y="9"/>
                      </a:lnTo>
                      <a:lnTo>
                        <a:pt x="1" y="4"/>
                      </a:lnTo>
                      <a:lnTo>
                        <a:pt x="2" y="4"/>
                      </a:lnTo>
                      <a:lnTo>
                        <a:pt x="2" y="5"/>
                      </a:lnTo>
                      <a:lnTo>
                        <a:pt x="4" y="5"/>
                      </a:lnTo>
                      <a:lnTo>
                        <a:pt x="4" y="6"/>
                      </a:lnTo>
                      <a:lnTo>
                        <a:pt x="5" y="6"/>
                      </a:lnTo>
                      <a:lnTo>
                        <a:pt x="5"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2" name="Freeform 376"/>
                <p:cNvSpPr>
                  <a:spLocks/>
                </p:cNvSpPr>
                <p:nvPr/>
              </p:nvSpPr>
              <p:spPr bwMode="auto">
                <a:xfrm>
                  <a:off x="3740080" y="2255813"/>
                  <a:ext cx="7475" cy="67255"/>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3" name="Freeform 377"/>
                <p:cNvSpPr>
                  <a:spLocks/>
                </p:cNvSpPr>
                <p:nvPr/>
              </p:nvSpPr>
              <p:spPr bwMode="auto">
                <a:xfrm>
                  <a:off x="3769970" y="2255813"/>
                  <a:ext cx="37365" cy="67255"/>
                </a:xfrm>
                <a:custGeom>
                  <a:avLst/>
                  <a:gdLst>
                    <a:gd name="T0" fmla="*/ 5 w 5"/>
                    <a:gd name="T1" fmla="*/ 2 h 9"/>
                    <a:gd name="T2" fmla="*/ 5 w 5"/>
                    <a:gd name="T3" fmla="*/ 0 h 9"/>
                    <a:gd name="T4" fmla="*/ 0 w 5"/>
                    <a:gd name="T5" fmla="*/ 0 h 9"/>
                    <a:gd name="T6" fmla="*/ 0 w 5"/>
                    <a:gd name="T7" fmla="*/ 2 h 9"/>
                    <a:gd name="T8" fmla="*/ 1 w 5"/>
                    <a:gd name="T9" fmla="*/ 2 h 9"/>
                    <a:gd name="T10" fmla="*/ 1 w 5"/>
                    <a:gd name="T11" fmla="*/ 9 h 9"/>
                    <a:gd name="T12" fmla="*/ 2 w 5"/>
                    <a:gd name="T13" fmla="*/ 9 h 9"/>
                    <a:gd name="T14" fmla="*/ 2 w 5"/>
                    <a:gd name="T15" fmla="*/ 2 h 9"/>
                    <a:gd name="T16" fmla="*/ 5 w 5"/>
                    <a:gd name="T17" fmla="*/ 2 h 9"/>
                    <a:gd name="T18" fmla="*/ 5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2"/>
                      </a:moveTo>
                      <a:lnTo>
                        <a:pt x="5" y="0"/>
                      </a:lnTo>
                      <a:lnTo>
                        <a:pt x="0" y="0"/>
                      </a:lnTo>
                      <a:lnTo>
                        <a:pt x="0" y="2"/>
                      </a:lnTo>
                      <a:lnTo>
                        <a:pt x="1" y="2"/>
                      </a:lnTo>
                      <a:lnTo>
                        <a:pt x="1" y="9"/>
                      </a:lnTo>
                      <a:lnTo>
                        <a:pt x="2" y="9"/>
                      </a:lnTo>
                      <a:lnTo>
                        <a:pt x="2"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4" name="Freeform 378"/>
                <p:cNvSpPr>
                  <a:spLocks/>
                </p:cNvSpPr>
                <p:nvPr/>
              </p:nvSpPr>
              <p:spPr bwMode="auto">
                <a:xfrm>
                  <a:off x="3859641" y="2255813"/>
                  <a:ext cx="44835" cy="67255"/>
                </a:xfrm>
                <a:custGeom>
                  <a:avLst/>
                  <a:gdLst>
                    <a:gd name="T0" fmla="*/ 6 w 6"/>
                    <a:gd name="T1" fmla="*/ 9 h 9"/>
                    <a:gd name="T2" fmla="*/ 6 w 6"/>
                    <a:gd name="T3" fmla="*/ 7 h 9"/>
                    <a:gd name="T4" fmla="*/ 3 w 6"/>
                    <a:gd name="T5" fmla="*/ 7 h 9"/>
                    <a:gd name="T6" fmla="*/ 3 w 6"/>
                    <a:gd name="T7" fmla="*/ 6 h 9"/>
                    <a:gd name="T8" fmla="*/ 4 w 6"/>
                    <a:gd name="T9" fmla="*/ 6 h 9"/>
                    <a:gd name="T10" fmla="*/ 4 w 6"/>
                    <a:gd name="T11" fmla="*/ 5 h 9"/>
                    <a:gd name="T12" fmla="*/ 5 w 6"/>
                    <a:gd name="T13" fmla="*/ 5 h 9"/>
                    <a:gd name="T14" fmla="*/ 5 w 6"/>
                    <a:gd name="T15" fmla="*/ 4 h 9"/>
                    <a:gd name="T16" fmla="*/ 6 w 6"/>
                    <a:gd name="T17" fmla="*/ 4 h 9"/>
                    <a:gd name="T18" fmla="*/ 6 w 6"/>
                    <a:gd name="T19" fmla="*/ 2 h 9"/>
                    <a:gd name="T20" fmla="*/ 5 w 6"/>
                    <a:gd name="T21" fmla="*/ 2 h 9"/>
                    <a:gd name="T22" fmla="*/ 5 w 6"/>
                    <a:gd name="T23" fmla="*/ 0 h 9"/>
                    <a:gd name="T24" fmla="*/ 1 w 6"/>
                    <a:gd name="T25" fmla="*/ 0 h 9"/>
                    <a:gd name="T26" fmla="*/ 1 w 6"/>
                    <a:gd name="T27" fmla="*/ 2 h 9"/>
                    <a:gd name="T28" fmla="*/ 0 w 6"/>
                    <a:gd name="T29" fmla="*/ 2 h 9"/>
                    <a:gd name="T30" fmla="*/ 0 w 6"/>
                    <a:gd name="T31" fmla="*/ 3 h 9"/>
                    <a:gd name="T32" fmla="*/ 1 w 6"/>
                    <a:gd name="T33" fmla="*/ 3 h 9"/>
                    <a:gd name="T34" fmla="*/ 1 w 6"/>
                    <a:gd name="T35" fmla="*/ 2 h 9"/>
                    <a:gd name="T36" fmla="*/ 5 w 6"/>
                    <a:gd name="T37" fmla="*/ 2 h 9"/>
                    <a:gd name="T38" fmla="*/ 5 w 6"/>
                    <a:gd name="T39" fmla="*/ 4 h 9"/>
                    <a:gd name="T40" fmla="*/ 4 w 6"/>
                    <a:gd name="T41" fmla="*/ 4 h 9"/>
                    <a:gd name="T42" fmla="*/ 4 w 6"/>
                    <a:gd name="T43" fmla="*/ 5 h 9"/>
                    <a:gd name="T44" fmla="*/ 3 w 6"/>
                    <a:gd name="T45" fmla="*/ 5 h 9"/>
                    <a:gd name="T46" fmla="*/ 3 w 6"/>
                    <a:gd name="T47" fmla="*/ 6 h 9"/>
                    <a:gd name="T48" fmla="*/ 1 w 6"/>
                    <a:gd name="T49" fmla="*/ 6 h 9"/>
                    <a:gd name="T50" fmla="*/ 1 w 6"/>
                    <a:gd name="T51" fmla="*/ 7 h 9"/>
                    <a:gd name="T52" fmla="*/ 0 w 6"/>
                    <a:gd name="T53" fmla="*/ 7 h 9"/>
                    <a:gd name="T54" fmla="*/ 0 w 6"/>
                    <a:gd name="T55" fmla="*/ 9 h 9"/>
                    <a:gd name="T56" fmla="*/ 6 w 6"/>
                    <a:gd name="T57" fmla="*/ 9 h 9"/>
                    <a:gd name="T58" fmla="*/ 6 w 6"/>
                    <a:gd name="T5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9">
                      <a:moveTo>
                        <a:pt x="6" y="9"/>
                      </a:moveTo>
                      <a:lnTo>
                        <a:pt x="6" y="7"/>
                      </a:lnTo>
                      <a:lnTo>
                        <a:pt x="3" y="7"/>
                      </a:lnTo>
                      <a:lnTo>
                        <a:pt x="3" y="6"/>
                      </a:lnTo>
                      <a:lnTo>
                        <a:pt x="4" y="6"/>
                      </a:lnTo>
                      <a:lnTo>
                        <a:pt x="4" y="5"/>
                      </a:lnTo>
                      <a:lnTo>
                        <a:pt x="5" y="5"/>
                      </a:lnTo>
                      <a:lnTo>
                        <a:pt x="5" y="4"/>
                      </a:lnTo>
                      <a:lnTo>
                        <a:pt x="6" y="4"/>
                      </a:lnTo>
                      <a:lnTo>
                        <a:pt x="6" y="2"/>
                      </a:lnTo>
                      <a:lnTo>
                        <a:pt x="5" y="2"/>
                      </a:lnTo>
                      <a:lnTo>
                        <a:pt x="5" y="0"/>
                      </a:lnTo>
                      <a:lnTo>
                        <a:pt x="1" y="0"/>
                      </a:lnTo>
                      <a:lnTo>
                        <a:pt x="1" y="2"/>
                      </a:lnTo>
                      <a:lnTo>
                        <a:pt x="0" y="2"/>
                      </a:lnTo>
                      <a:lnTo>
                        <a:pt x="0" y="3"/>
                      </a:lnTo>
                      <a:lnTo>
                        <a:pt x="1" y="3"/>
                      </a:lnTo>
                      <a:lnTo>
                        <a:pt x="1" y="2"/>
                      </a:lnTo>
                      <a:lnTo>
                        <a:pt x="5" y="2"/>
                      </a:lnTo>
                      <a:lnTo>
                        <a:pt x="5" y="4"/>
                      </a:lnTo>
                      <a:lnTo>
                        <a:pt x="4" y="4"/>
                      </a:lnTo>
                      <a:lnTo>
                        <a:pt x="4" y="5"/>
                      </a:lnTo>
                      <a:lnTo>
                        <a:pt x="3" y="5"/>
                      </a:lnTo>
                      <a:lnTo>
                        <a:pt x="3" y="6"/>
                      </a:lnTo>
                      <a:lnTo>
                        <a:pt x="1" y="6"/>
                      </a:lnTo>
                      <a:lnTo>
                        <a:pt x="1" y="7"/>
                      </a:lnTo>
                      <a:lnTo>
                        <a:pt x="0" y="7"/>
                      </a:lnTo>
                      <a:lnTo>
                        <a:pt x="0" y="9"/>
                      </a:lnTo>
                      <a:lnTo>
                        <a:pt x="6" y="9"/>
                      </a:lnTo>
                      <a:lnTo>
                        <a:pt x="6"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5" name="Freeform 379"/>
                <p:cNvSpPr>
                  <a:spLocks noEditPoints="1"/>
                </p:cNvSpPr>
                <p:nvPr/>
              </p:nvSpPr>
              <p:spPr bwMode="auto">
                <a:xfrm>
                  <a:off x="3964256" y="2255813"/>
                  <a:ext cx="37365" cy="67255"/>
                </a:xfrm>
                <a:custGeom>
                  <a:avLst/>
                  <a:gdLst>
                    <a:gd name="T0" fmla="*/ 5 w 5"/>
                    <a:gd name="T1" fmla="*/ 7 h 9"/>
                    <a:gd name="T2" fmla="*/ 5 w 5"/>
                    <a:gd name="T3" fmla="*/ 2 h 9"/>
                    <a:gd name="T4" fmla="*/ 4 w 5"/>
                    <a:gd name="T5" fmla="*/ 2 h 9"/>
                    <a:gd name="T6" fmla="*/ 4 w 5"/>
                    <a:gd name="T7" fmla="*/ 0 h 9"/>
                    <a:gd name="T8" fmla="*/ 1 w 5"/>
                    <a:gd name="T9" fmla="*/ 0 h 9"/>
                    <a:gd name="T10" fmla="*/ 1 w 5"/>
                    <a:gd name="T11" fmla="*/ 2 h 9"/>
                    <a:gd name="T12" fmla="*/ 0 w 5"/>
                    <a:gd name="T13" fmla="*/ 2 h 9"/>
                    <a:gd name="T14" fmla="*/ 0 w 5"/>
                    <a:gd name="T15" fmla="*/ 7 h 9"/>
                    <a:gd name="T16" fmla="*/ 1 w 5"/>
                    <a:gd name="T17" fmla="*/ 7 h 9"/>
                    <a:gd name="T18" fmla="*/ 1 w 5"/>
                    <a:gd name="T19" fmla="*/ 9 h 9"/>
                    <a:gd name="T20" fmla="*/ 4 w 5"/>
                    <a:gd name="T21" fmla="*/ 9 h 9"/>
                    <a:gd name="T22" fmla="*/ 4 w 5"/>
                    <a:gd name="T23" fmla="*/ 7 h 9"/>
                    <a:gd name="T24" fmla="*/ 5 w 5"/>
                    <a:gd name="T25" fmla="*/ 7 h 9"/>
                    <a:gd name="T26" fmla="*/ 5 w 5"/>
                    <a:gd name="T27" fmla="*/ 7 h 9"/>
                    <a:gd name="T28" fmla="*/ 4 w 5"/>
                    <a:gd name="T29" fmla="*/ 7 h 9"/>
                    <a:gd name="T30" fmla="*/ 1 w 5"/>
                    <a:gd name="T31" fmla="*/ 7 h 9"/>
                    <a:gd name="T32" fmla="*/ 1 w 5"/>
                    <a:gd name="T33" fmla="*/ 2 h 9"/>
                    <a:gd name="T34" fmla="*/ 4 w 5"/>
                    <a:gd name="T35" fmla="*/ 2 h 9"/>
                    <a:gd name="T36" fmla="*/ 4 w 5"/>
                    <a:gd name="T37" fmla="*/ 7 h 9"/>
                    <a:gd name="T38" fmla="*/ 4 w 5"/>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5" y="7"/>
                      </a:moveTo>
                      <a:lnTo>
                        <a:pt x="5" y="2"/>
                      </a:lnTo>
                      <a:lnTo>
                        <a:pt x="4" y="2"/>
                      </a:lnTo>
                      <a:lnTo>
                        <a:pt x="4" y="0"/>
                      </a:lnTo>
                      <a:lnTo>
                        <a:pt x="1" y="0"/>
                      </a:lnTo>
                      <a:lnTo>
                        <a:pt x="1" y="2"/>
                      </a:lnTo>
                      <a:lnTo>
                        <a:pt x="0" y="2"/>
                      </a:lnTo>
                      <a:lnTo>
                        <a:pt x="0" y="7"/>
                      </a:lnTo>
                      <a:lnTo>
                        <a:pt x="1" y="7"/>
                      </a:lnTo>
                      <a:lnTo>
                        <a:pt x="1" y="9"/>
                      </a:lnTo>
                      <a:lnTo>
                        <a:pt x="4" y="9"/>
                      </a:lnTo>
                      <a:lnTo>
                        <a:pt x="4" y="7"/>
                      </a:lnTo>
                      <a:lnTo>
                        <a:pt x="5" y="7"/>
                      </a:lnTo>
                      <a:lnTo>
                        <a:pt x="5" y="7"/>
                      </a:lnTo>
                      <a:close/>
                      <a:moveTo>
                        <a:pt x="4" y="7"/>
                      </a:moveTo>
                      <a:lnTo>
                        <a:pt x="1" y="7"/>
                      </a:lnTo>
                      <a:lnTo>
                        <a:pt x="1" y="2"/>
                      </a:lnTo>
                      <a:lnTo>
                        <a:pt x="4" y="2"/>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6" name="Freeform 380"/>
                <p:cNvSpPr>
                  <a:spLocks/>
                </p:cNvSpPr>
                <p:nvPr/>
              </p:nvSpPr>
              <p:spPr bwMode="auto">
                <a:xfrm>
                  <a:off x="4024036" y="2255813"/>
                  <a:ext cx="37365" cy="67255"/>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7" name="Freeform 382"/>
                <p:cNvSpPr>
                  <a:spLocks/>
                </p:cNvSpPr>
                <p:nvPr/>
              </p:nvSpPr>
              <p:spPr bwMode="auto">
                <a:xfrm>
                  <a:off x="4078108" y="2256924"/>
                  <a:ext cx="37365" cy="67257"/>
                </a:xfrm>
                <a:custGeom>
                  <a:avLst/>
                  <a:gdLst>
                    <a:gd name="T0" fmla="*/ 5 w 5"/>
                    <a:gd name="T1" fmla="*/ 9 h 9"/>
                    <a:gd name="T2" fmla="*/ 5 w 5"/>
                    <a:gd name="T3" fmla="*/ 7 h 9"/>
                    <a:gd name="T4" fmla="*/ 1 w 5"/>
                    <a:gd name="T5" fmla="*/ 7 h 9"/>
                    <a:gd name="T6" fmla="*/ 1 w 5"/>
                    <a:gd name="T7" fmla="*/ 5 h 9"/>
                    <a:gd name="T8" fmla="*/ 4 w 5"/>
                    <a:gd name="T9" fmla="*/ 5 h 9"/>
                    <a:gd name="T10" fmla="*/ 4 w 5"/>
                    <a:gd name="T11" fmla="*/ 4 h 9"/>
                    <a:gd name="T12" fmla="*/ 1 w 5"/>
                    <a:gd name="T13" fmla="*/ 4 h 9"/>
                    <a:gd name="T14" fmla="*/ 1 w 5"/>
                    <a:gd name="T15" fmla="*/ 2 h 9"/>
                    <a:gd name="T16" fmla="*/ 5 w 5"/>
                    <a:gd name="T17" fmla="*/ 2 h 9"/>
                    <a:gd name="T18" fmla="*/ 5 w 5"/>
                    <a:gd name="T19" fmla="*/ 0 h 9"/>
                    <a:gd name="T20" fmla="*/ 0 w 5"/>
                    <a:gd name="T21" fmla="*/ 0 h 9"/>
                    <a:gd name="T22" fmla="*/ 0 w 5"/>
                    <a:gd name="T23" fmla="*/ 9 h 9"/>
                    <a:gd name="T24" fmla="*/ 5 w 5"/>
                    <a:gd name="T25" fmla="*/ 9 h 9"/>
                    <a:gd name="T26" fmla="*/ 5 w 5"/>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5" y="9"/>
                      </a:moveTo>
                      <a:lnTo>
                        <a:pt x="5" y="7"/>
                      </a:lnTo>
                      <a:lnTo>
                        <a:pt x="1" y="7"/>
                      </a:lnTo>
                      <a:lnTo>
                        <a:pt x="1" y="5"/>
                      </a:lnTo>
                      <a:lnTo>
                        <a:pt x="4" y="5"/>
                      </a:lnTo>
                      <a:lnTo>
                        <a:pt x="4" y="4"/>
                      </a:lnTo>
                      <a:lnTo>
                        <a:pt x="1" y="4"/>
                      </a:lnTo>
                      <a:lnTo>
                        <a:pt x="1" y="2"/>
                      </a:lnTo>
                      <a:lnTo>
                        <a:pt x="5" y="2"/>
                      </a:lnTo>
                      <a:lnTo>
                        <a:pt x="5" y="0"/>
                      </a:lnTo>
                      <a:lnTo>
                        <a:pt x="0" y="0"/>
                      </a:lnTo>
                      <a:lnTo>
                        <a:pt x="0" y="9"/>
                      </a:lnTo>
                      <a:lnTo>
                        <a:pt x="5" y="9"/>
                      </a:lnTo>
                      <a:lnTo>
                        <a:pt x="5"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8" name="Freeform 383"/>
                <p:cNvSpPr>
                  <a:spLocks noEditPoints="1"/>
                </p:cNvSpPr>
                <p:nvPr/>
              </p:nvSpPr>
              <p:spPr bwMode="auto">
                <a:xfrm>
                  <a:off x="4130419" y="2256924"/>
                  <a:ext cx="37365" cy="67257"/>
                </a:xfrm>
                <a:custGeom>
                  <a:avLst/>
                  <a:gdLst>
                    <a:gd name="T0" fmla="*/ 5 w 5"/>
                    <a:gd name="T1" fmla="*/ 9 h 9"/>
                    <a:gd name="T2" fmla="*/ 5 w 5"/>
                    <a:gd name="T3" fmla="*/ 6 h 9"/>
                    <a:gd name="T4" fmla="*/ 4 w 5"/>
                    <a:gd name="T5" fmla="*/ 6 h 9"/>
                    <a:gd name="T6" fmla="*/ 4 w 5"/>
                    <a:gd name="T7" fmla="*/ 4 h 9"/>
                    <a:gd name="T8" fmla="*/ 5 w 5"/>
                    <a:gd name="T9" fmla="*/ 4 h 9"/>
                    <a:gd name="T10" fmla="*/ 5 w 5"/>
                    <a:gd name="T11" fmla="*/ 2 h 9"/>
                    <a:gd name="T12" fmla="*/ 4 w 5"/>
                    <a:gd name="T13" fmla="*/ 2 h 9"/>
                    <a:gd name="T14" fmla="*/ 4 w 5"/>
                    <a:gd name="T15" fmla="*/ 0 h 9"/>
                    <a:gd name="T16" fmla="*/ 0 w 5"/>
                    <a:gd name="T17" fmla="*/ 0 h 9"/>
                    <a:gd name="T18" fmla="*/ 0 w 5"/>
                    <a:gd name="T19" fmla="*/ 9 h 9"/>
                    <a:gd name="T20" fmla="*/ 1 w 5"/>
                    <a:gd name="T21" fmla="*/ 9 h 9"/>
                    <a:gd name="T22" fmla="*/ 1 w 5"/>
                    <a:gd name="T23" fmla="*/ 5 h 9"/>
                    <a:gd name="T24" fmla="*/ 3 w 5"/>
                    <a:gd name="T25" fmla="*/ 5 h 9"/>
                    <a:gd name="T26" fmla="*/ 3 w 5"/>
                    <a:gd name="T27" fmla="*/ 6 h 9"/>
                    <a:gd name="T28" fmla="*/ 4 w 5"/>
                    <a:gd name="T29" fmla="*/ 6 h 9"/>
                    <a:gd name="T30" fmla="*/ 4 w 5"/>
                    <a:gd name="T31" fmla="*/ 9 h 9"/>
                    <a:gd name="T32" fmla="*/ 5 w 5"/>
                    <a:gd name="T33" fmla="*/ 9 h 9"/>
                    <a:gd name="T34" fmla="*/ 5 w 5"/>
                    <a:gd name="T35" fmla="*/ 9 h 9"/>
                    <a:gd name="T36" fmla="*/ 4 w 5"/>
                    <a:gd name="T37" fmla="*/ 4 h 9"/>
                    <a:gd name="T38" fmla="*/ 1 w 5"/>
                    <a:gd name="T39" fmla="*/ 4 h 9"/>
                    <a:gd name="T40" fmla="*/ 1 w 5"/>
                    <a:gd name="T41" fmla="*/ 2 h 9"/>
                    <a:gd name="T42" fmla="*/ 4 w 5"/>
                    <a:gd name="T43" fmla="*/ 2 h 9"/>
                    <a:gd name="T44" fmla="*/ 4 w 5"/>
                    <a:gd name="T45" fmla="*/ 4 h 9"/>
                    <a:gd name="T46" fmla="*/ 4 w 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9">
                      <a:moveTo>
                        <a:pt x="5" y="9"/>
                      </a:moveTo>
                      <a:lnTo>
                        <a:pt x="5" y="6"/>
                      </a:lnTo>
                      <a:lnTo>
                        <a:pt x="4" y="6"/>
                      </a:lnTo>
                      <a:lnTo>
                        <a:pt x="4" y="4"/>
                      </a:lnTo>
                      <a:lnTo>
                        <a:pt x="5" y="4"/>
                      </a:lnTo>
                      <a:lnTo>
                        <a:pt x="5" y="2"/>
                      </a:lnTo>
                      <a:lnTo>
                        <a:pt x="4" y="2"/>
                      </a:lnTo>
                      <a:lnTo>
                        <a:pt x="4" y="0"/>
                      </a:lnTo>
                      <a:lnTo>
                        <a:pt x="0" y="0"/>
                      </a:lnTo>
                      <a:lnTo>
                        <a:pt x="0" y="9"/>
                      </a:lnTo>
                      <a:lnTo>
                        <a:pt x="1" y="9"/>
                      </a:lnTo>
                      <a:lnTo>
                        <a:pt x="1" y="5"/>
                      </a:lnTo>
                      <a:lnTo>
                        <a:pt x="3" y="5"/>
                      </a:lnTo>
                      <a:lnTo>
                        <a:pt x="3" y="6"/>
                      </a:lnTo>
                      <a:lnTo>
                        <a:pt x="4" y="6"/>
                      </a:lnTo>
                      <a:lnTo>
                        <a:pt x="4" y="9"/>
                      </a:lnTo>
                      <a:lnTo>
                        <a:pt x="5" y="9"/>
                      </a:lnTo>
                      <a:lnTo>
                        <a:pt x="5" y="9"/>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29" name="Freeform 384"/>
                <p:cNvSpPr>
                  <a:spLocks/>
                </p:cNvSpPr>
                <p:nvPr/>
              </p:nvSpPr>
              <p:spPr bwMode="auto">
                <a:xfrm>
                  <a:off x="4190203" y="2256924"/>
                  <a:ext cx="37365" cy="67257"/>
                </a:xfrm>
                <a:custGeom>
                  <a:avLst/>
                  <a:gdLst>
                    <a:gd name="T0" fmla="*/ 5 w 5"/>
                    <a:gd name="T1" fmla="*/ 4 h 9"/>
                    <a:gd name="T2" fmla="*/ 5 w 5"/>
                    <a:gd name="T3" fmla="*/ 0 h 9"/>
                    <a:gd name="T4" fmla="*/ 4 w 5"/>
                    <a:gd name="T5" fmla="*/ 0 h 9"/>
                    <a:gd name="T6" fmla="*/ 4 w 5"/>
                    <a:gd name="T7" fmla="*/ 4 h 9"/>
                    <a:gd name="T8" fmla="*/ 3 w 5"/>
                    <a:gd name="T9" fmla="*/ 4 h 9"/>
                    <a:gd name="T10" fmla="*/ 3 w 5"/>
                    <a:gd name="T11" fmla="*/ 6 h 9"/>
                    <a:gd name="T12" fmla="*/ 2 w 5"/>
                    <a:gd name="T13" fmla="*/ 6 h 9"/>
                    <a:gd name="T14" fmla="*/ 2 w 5"/>
                    <a:gd name="T15" fmla="*/ 4 h 9"/>
                    <a:gd name="T16" fmla="*/ 1 w 5"/>
                    <a:gd name="T17" fmla="*/ 4 h 9"/>
                    <a:gd name="T18" fmla="*/ 1 w 5"/>
                    <a:gd name="T19" fmla="*/ 0 h 9"/>
                    <a:gd name="T20" fmla="*/ 0 w 5"/>
                    <a:gd name="T21" fmla="*/ 0 h 9"/>
                    <a:gd name="T22" fmla="*/ 0 w 5"/>
                    <a:gd name="T23" fmla="*/ 4 h 9"/>
                    <a:gd name="T24" fmla="*/ 1 w 5"/>
                    <a:gd name="T25" fmla="*/ 4 h 9"/>
                    <a:gd name="T26" fmla="*/ 1 w 5"/>
                    <a:gd name="T27" fmla="*/ 6 h 9"/>
                    <a:gd name="T28" fmla="*/ 2 w 5"/>
                    <a:gd name="T29" fmla="*/ 6 h 9"/>
                    <a:gd name="T30" fmla="*/ 2 w 5"/>
                    <a:gd name="T31" fmla="*/ 9 h 9"/>
                    <a:gd name="T32" fmla="*/ 3 w 5"/>
                    <a:gd name="T33" fmla="*/ 9 h 9"/>
                    <a:gd name="T34" fmla="*/ 3 w 5"/>
                    <a:gd name="T35" fmla="*/ 6 h 9"/>
                    <a:gd name="T36" fmla="*/ 4 w 5"/>
                    <a:gd name="T37" fmla="*/ 6 h 9"/>
                    <a:gd name="T38" fmla="*/ 4 w 5"/>
                    <a:gd name="T39" fmla="*/ 4 h 9"/>
                    <a:gd name="T40" fmla="*/ 5 w 5"/>
                    <a:gd name="T41" fmla="*/ 4 h 9"/>
                    <a:gd name="T42" fmla="*/ 5 w 5"/>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9">
                      <a:moveTo>
                        <a:pt x="5" y="4"/>
                      </a:moveTo>
                      <a:lnTo>
                        <a:pt x="5" y="0"/>
                      </a:lnTo>
                      <a:lnTo>
                        <a:pt x="4" y="0"/>
                      </a:lnTo>
                      <a:lnTo>
                        <a:pt x="4"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4" y="6"/>
                      </a:lnTo>
                      <a:lnTo>
                        <a:pt x="4" y="4"/>
                      </a:lnTo>
                      <a:lnTo>
                        <a:pt x="5" y="4"/>
                      </a:lnTo>
                      <a:lnTo>
                        <a:pt x="5"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0" name="Freeform 385"/>
                <p:cNvSpPr>
                  <a:spLocks/>
                </p:cNvSpPr>
                <p:nvPr/>
              </p:nvSpPr>
              <p:spPr bwMode="auto">
                <a:xfrm>
                  <a:off x="4242514" y="2256924"/>
                  <a:ext cx="7473" cy="67257"/>
                </a:xfrm>
                <a:custGeom>
                  <a:avLst/>
                  <a:gdLst>
                    <a:gd name="T0" fmla="*/ 1 w 1"/>
                    <a:gd name="T1" fmla="*/ 9 h 9"/>
                    <a:gd name="T2" fmla="*/ 1 w 1"/>
                    <a:gd name="T3" fmla="*/ 0 h 9"/>
                    <a:gd name="T4" fmla="*/ 0 w 1"/>
                    <a:gd name="T5" fmla="*/ 0 h 9"/>
                    <a:gd name="T6" fmla="*/ 0 w 1"/>
                    <a:gd name="T7" fmla="*/ 9 h 9"/>
                    <a:gd name="T8" fmla="*/ 1 w 1"/>
                    <a:gd name="T9" fmla="*/ 9 h 9"/>
                    <a:gd name="T10" fmla="*/ 1 w 1"/>
                    <a:gd name="T11" fmla="*/ 9 h 9"/>
                  </a:gdLst>
                  <a:ahLst/>
                  <a:cxnLst>
                    <a:cxn ang="0">
                      <a:pos x="T0" y="T1"/>
                    </a:cxn>
                    <a:cxn ang="0">
                      <a:pos x="T2" y="T3"/>
                    </a:cxn>
                    <a:cxn ang="0">
                      <a:pos x="T4" y="T5"/>
                    </a:cxn>
                    <a:cxn ang="0">
                      <a:pos x="T6" y="T7"/>
                    </a:cxn>
                    <a:cxn ang="0">
                      <a:pos x="T8" y="T9"/>
                    </a:cxn>
                    <a:cxn ang="0">
                      <a:pos x="T10" y="T11"/>
                    </a:cxn>
                  </a:cxnLst>
                  <a:rect l="0" t="0" r="r" b="b"/>
                  <a:pathLst>
                    <a:path w="1" h="9">
                      <a:moveTo>
                        <a:pt x="1" y="9"/>
                      </a:moveTo>
                      <a:lnTo>
                        <a:pt x="1" y="0"/>
                      </a:lnTo>
                      <a:lnTo>
                        <a:pt x="0" y="0"/>
                      </a:lnTo>
                      <a:lnTo>
                        <a:pt x="0" y="9"/>
                      </a:lnTo>
                      <a:lnTo>
                        <a:pt x="1" y="9"/>
                      </a:lnTo>
                      <a:lnTo>
                        <a:pt x="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1" name="Freeform 386"/>
                <p:cNvSpPr>
                  <a:spLocks/>
                </p:cNvSpPr>
                <p:nvPr/>
              </p:nvSpPr>
              <p:spPr bwMode="auto">
                <a:xfrm>
                  <a:off x="4272406" y="2256924"/>
                  <a:ext cx="29892" cy="67257"/>
                </a:xfrm>
                <a:custGeom>
                  <a:avLst/>
                  <a:gdLst>
                    <a:gd name="T0" fmla="*/ 4 w 4"/>
                    <a:gd name="T1" fmla="*/ 9 h 9"/>
                    <a:gd name="T2" fmla="*/ 4 w 4"/>
                    <a:gd name="T3" fmla="*/ 7 h 9"/>
                    <a:gd name="T4" fmla="*/ 1 w 4"/>
                    <a:gd name="T5" fmla="*/ 7 h 9"/>
                    <a:gd name="T6" fmla="*/ 1 w 4"/>
                    <a:gd name="T7" fmla="*/ 5 h 9"/>
                    <a:gd name="T8" fmla="*/ 3 w 4"/>
                    <a:gd name="T9" fmla="*/ 5 h 9"/>
                    <a:gd name="T10" fmla="*/ 3 w 4"/>
                    <a:gd name="T11" fmla="*/ 4 h 9"/>
                    <a:gd name="T12" fmla="*/ 1 w 4"/>
                    <a:gd name="T13" fmla="*/ 4 h 9"/>
                    <a:gd name="T14" fmla="*/ 1 w 4"/>
                    <a:gd name="T15" fmla="*/ 2 h 9"/>
                    <a:gd name="T16" fmla="*/ 4 w 4"/>
                    <a:gd name="T17" fmla="*/ 2 h 9"/>
                    <a:gd name="T18" fmla="*/ 4 w 4"/>
                    <a:gd name="T19" fmla="*/ 0 h 9"/>
                    <a:gd name="T20" fmla="*/ 0 w 4"/>
                    <a:gd name="T21" fmla="*/ 0 h 9"/>
                    <a:gd name="T22" fmla="*/ 0 w 4"/>
                    <a:gd name="T23" fmla="*/ 9 h 9"/>
                    <a:gd name="T24" fmla="*/ 4 w 4"/>
                    <a:gd name="T25" fmla="*/ 9 h 9"/>
                    <a:gd name="T26" fmla="*/ 4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9"/>
                      </a:moveTo>
                      <a:lnTo>
                        <a:pt x="4" y="7"/>
                      </a:lnTo>
                      <a:lnTo>
                        <a:pt x="1" y="7"/>
                      </a:lnTo>
                      <a:lnTo>
                        <a:pt x="1" y="5"/>
                      </a:lnTo>
                      <a:lnTo>
                        <a:pt x="3" y="5"/>
                      </a:lnTo>
                      <a:lnTo>
                        <a:pt x="3" y="4"/>
                      </a:lnTo>
                      <a:lnTo>
                        <a:pt x="1" y="4"/>
                      </a:lnTo>
                      <a:lnTo>
                        <a:pt x="1" y="2"/>
                      </a:lnTo>
                      <a:lnTo>
                        <a:pt x="4" y="2"/>
                      </a:lnTo>
                      <a:lnTo>
                        <a:pt x="4" y="0"/>
                      </a:lnTo>
                      <a:lnTo>
                        <a:pt x="0" y="0"/>
                      </a:lnTo>
                      <a:lnTo>
                        <a:pt x="0" y="9"/>
                      </a:lnTo>
                      <a:lnTo>
                        <a:pt x="4" y="9"/>
                      </a:lnTo>
                      <a:lnTo>
                        <a:pt x="4"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2" name="Freeform 387"/>
                <p:cNvSpPr>
                  <a:spLocks/>
                </p:cNvSpPr>
                <p:nvPr/>
              </p:nvSpPr>
              <p:spPr bwMode="auto">
                <a:xfrm>
                  <a:off x="4317244" y="2256924"/>
                  <a:ext cx="59784" cy="67257"/>
                </a:xfrm>
                <a:custGeom>
                  <a:avLst/>
                  <a:gdLst>
                    <a:gd name="T0" fmla="*/ 8 w 8"/>
                    <a:gd name="T1" fmla="*/ 4 h 9"/>
                    <a:gd name="T2" fmla="*/ 8 w 8"/>
                    <a:gd name="T3" fmla="*/ 0 h 9"/>
                    <a:gd name="T4" fmla="*/ 7 w 8"/>
                    <a:gd name="T5" fmla="*/ 0 h 9"/>
                    <a:gd name="T6" fmla="*/ 7 w 8"/>
                    <a:gd name="T7" fmla="*/ 4 h 9"/>
                    <a:gd name="T8" fmla="*/ 6 w 8"/>
                    <a:gd name="T9" fmla="*/ 4 h 9"/>
                    <a:gd name="T10" fmla="*/ 6 w 8"/>
                    <a:gd name="T11" fmla="*/ 6 h 9"/>
                    <a:gd name="T12" fmla="*/ 5 w 8"/>
                    <a:gd name="T13" fmla="*/ 6 h 9"/>
                    <a:gd name="T14" fmla="*/ 5 w 8"/>
                    <a:gd name="T15" fmla="*/ 4 h 9"/>
                    <a:gd name="T16" fmla="*/ 3 w 8"/>
                    <a:gd name="T17" fmla="*/ 4 h 9"/>
                    <a:gd name="T18" fmla="*/ 3 w 8"/>
                    <a:gd name="T19" fmla="*/ 6 h 9"/>
                    <a:gd name="T20" fmla="*/ 2 w 8"/>
                    <a:gd name="T21" fmla="*/ 6 h 9"/>
                    <a:gd name="T22" fmla="*/ 2 w 8"/>
                    <a:gd name="T23" fmla="*/ 4 h 9"/>
                    <a:gd name="T24" fmla="*/ 1 w 8"/>
                    <a:gd name="T25" fmla="*/ 4 h 9"/>
                    <a:gd name="T26" fmla="*/ 1 w 8"/>
                    <a:gd name="T27" fmla="*/ 0 h 9"/>
                    <a:gd name="T28" fmla="*/ 0 w 8"/>
                    <a:gd name="T29" fmla="*/ 0 h 9"/>
                    <a:gd name="T30" fmla="*/ 0 w 8"/>
                    <a:gd name="T31" fmla="*/ 4 h 9"/>
                    <a:gd name="T32" fmla="*/ 1 w 8"/>
                    <a:gd name="T33" fmla="*/ 4 h 9"/>
                    <a:gd name="T34" fmla="*/ 1 w 8"/>
                    <a:gd name="T35" fmla="*/ 6 h 9"/>
                    <a:gd name="T36" fmla="*/ 2 w 8"/>
                    <a:gd name="T37" fmla="*/ 6 h 9"/>
                    <a:gd name="T38" fmla="*/ 2 w 8"/>
                    <a:gd name="T39" fmla="*/ 9 h 9"/>
                    <a:gd name="T40" fmla="*/ 3 w 8"/>
                    <a:gd name="T41" fmla="*/ 9 h 9"/>
                    <a:gd name="T42" fmla="*/ 3 w 8"/>
                    <a:gd name="T43" fmla="*/ 6 h 9"/>
                    <a:gd name="T44" fmla="*/ 5 w 8"/>
                    <a:gd name="T45" fmla="*/ 6 h 9"/>
                    <a:gd name="T46" fmla="*/ 5 w 8"/>
                    <a:gd name="T47" fmla="*/ 9 h 9"/>
                    <a:gd name="T48" fmla="*/ 6 w 8"/>
                    <a:gd name="T49" fmla="*/ 9 h 9"/>
                    <a:gd name="T50" fmla="*/ 6 w 8"/>
                    <a:gd name="T51" fmla="*/ 6 h 9"/>
                    <a:gd name="T52" fmla="*/ 7 w 8"/>
                    <a:gd name="T53" fmla="*/ 6 h 9"/>
                    <a:gd name="T54" fmla="*/ 7 w 8"/>
                    <a:gd name="T55" fmla="*/ 4 h 9"/>
                    <a:gd name="T56" fmla="*/ 8 w 8"/>
                    <a:gd name="T57" fmla="*/ 4 h 9"/>
                    <a:gd name="T58" fmla="*/ 8 w 8"/>
                    <a:gd name="T5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9">
                      <a:moveTo>
                        <a:pt x="8" y="4"/>
                      </a:moveTo>
                      <a:lnTo>
                        <a:pt x="8" y="0"/>
                      </a:lnTo>
                      <a:lnTo>
                        <a:pt x="7" y="0"/>
                      </a:lnTo>
                      <a:lnTo>
                        <a:pt x="7" y="4"/>
                      </a:lnTo>
                      <a:lnTo>
                        <a:pt x="6" y="4"/>
                      </a:lnTo>
                      <a:lnTo>
                        <a:pt x="6" y="6"/>
                      </a:lnTo>
                      <a:lnTo>
                        <a:pt x="5" y="6"/>
                      </a:lnTo>
                      <a:lnTo>
                        <a:pt x="5" y="4"/>
                      </a:lnTo>
                      <a:lnTo>
                        <a:pt x="3" y="4"/>
                      </a:lnTo>
                      <a:lnTo>
                        <a:pt x="3" y="6"/>
                      </a:lnTo>
                      <a:lnTo>
                        <a:pt x="2" y="6"/>
                      </a:lnTo>
                      <a:lnTo>
                        <a:pt x="2" y="4"/>
                      </a:lnTo>
                      <a:lnTo>
                        <a:pt x="1" y="4"/>
                      </a:lnTo>
                      <a:lnTo>
                        <a:pt x="1" y="0"/>
                      </a:lnTo>
                      <a:lnTo>
                        <a:pt x="0" y="0"/>
                      </a:lnTo>
                      <a:lnTo>
                        <a:pt x="0" y="4"/>
                      </a:lnTo>
                      <a:lnTo>
                        <a:pt x="1" y="4"/>
                      </a:lnTo>
                      <a:lnTo>
                        <a:pt x="1" y="6"/>
                      </a:lnTo>
                      <a:lnTo>
                        <a:pt x="2" y="6"/>
                      </a:lnTo>
                      <a:lnTo>
                        <a:pt x="2" y="9"/>
                      </a:lnTo>
                      <a:lnTo>
                        <a:pt x="3" y="9"/>
                      </a:lnTo>
                      <a:lnTo>
                        <a:pt x="3" y="6"/>
                      </a:lnTo>
                      <a:lnTo>
                        <a:pt x="5" y="6"/>
                      </a:lnTo>
                      <a:lnTo>
                        <a:pt x="5" y="9"/>
                      </a:lnTo>
                      <a:lnTo>
                        <a:pt x="6" y="9"/>
                      </a:lnTo>
                      <a:lnTo>
                        <a:pt x="6" y="6"/>
                      </a:lnTo>
                      <a:lnTo>
                        <a:pt x="7" y="6"/>
                      </a:lnTo>
                      <a:lnTo>
                        <a:pt x="7" y="4"/>
                      </a:lnTo>
                      <a:lnTo>
                        <a:pt x="8" y="4"/>
                      </a:lnTo>
                      <a:lnTo>
                        <a:pt x="8"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33" name="Freeform 388"/>
                <p:cNvSpPr>
                  <a:spLocks noEditPoints="1"/>
                </p:cNvSpPr>
                <p:nvPr/>
              </p:nvSpPr>
              <p:spPr bwMode="auto">
                <a:xfrm>
                  <a:off x="1813789" y="2780034"/>
                  <a:ext cx="1255464" cy="1255464"/>
                </a:xfrm>
                <a:custGeom>
                  <a:avLst/>
                  <a:gdLst>
                    <a:gd name="T0" fmla="*/ 151 w 290"/>
                    <a:gd name="T1" fmla="*/ 10 h 290"/>
                    <a:gd name="T2" fmla="*/ 149 w 290"/>
                    <a:gd name="T3" fmla="*/ 37 h 290"/>
                    <a:gd name="T4" fmla="*/ 143 w 290"/>
                    <a:gd name="T5" fmla="*/ 18 h 290"/>
                    <a:gd name="T6" fmla="*/ 147 w 290"/>
                    <a:gd name="T7" fmla="*/ 14 h 290"/>
                    <a:gd name="T8" fmla="*/ 149 w 290"/>
                    <a:gd name="T9" fmla="*/ 28 h 290"/>
                    <a:gd name="T10" fmla="*/ 177 w 290"/>
                    <a:gd name="T11" fmla="*/ 11 h 290"/>
                    <a:gd name="T12" fmla="*/ 177 w 290"/>
                    <a:gd name="T13" fmla="*/ 16 h 290"/>
                    <a:gd name="T14" fmla="*/ 172 w 290"/>
                    <a:gd name="T15" fmla="*/ 26 h 290"/>
                    <a:gd name="T16" fmla="*/ 177 w 290"/>
                    <a:gd name="T17" fmla="*/ 16 h 290"/>
                    <a:gd name="T18" fmla="*/ 186 w 290"/>
                    <a:gd name="T19" fmla="*/ 12 h 290"/>
                    <a:gd name="T20" fmla="*/ 124 w 290"/>
                    <a:gd name="T21" fmla="*/ 11 h 290"/>
                    <a:gd name="T22" fmla="*/ 127 w 290"/>
                    <a:gd name="T23" fmla="*/ 37 h 290"/>
                    <a:gd name="T24" fmla="*/ 130 w 290"/>
                    <a:gd name="T25" fmla="*/ 13 h 290"/>
                    <a:gd name="T26" fmla="*/ 121 w 290"/>
                    <a:gd name="T27" fmla="*/ 16 h 290"/>
                    <a:gd name="T28" fmla="*/ 124 w 290"/>
                    <a:gd name="T29" fmla="*/ 37 h 290"/>
                    <a:gd name="T30" fmla="*/ 192 w 290"/>
                    <a:gd name="T31" fmla="*/ 19 h 290"/>
                    <a:gd name="T32" fmla="*/ 203 w 290"/>
                    <a:gd name="T33" fmla="*/ 34 h 290"/>
                    <a:gd name="T34" fmla="*/ 201 w 290"/>
                    <a:gd name="T35" fmla="*/ 16 h 290"/>
                    <a:gd name="T36" fmla="*/ 200 w 290"/>
                    <a:gd name="T37" fmla="*/ 19 h 290"/>
                    <a:gd name="T38" fmla="*/ 206 w 290"/>
                    <a:gd name="T39" fmla="*/ 34 h 290"/>
                    <a:gd name="T40" fmla="*/ 208 w 290"/>
                    <a:gd name="T41" fmla="*/ 16 h 290"/>
                    <a:gd name="T42" fmla="*/ 137 w 290"/>
                    <a:gd name="T43" fmla="*/ 8 h 290"/>
                    <a:gd name="T44" fmla="*/ 192 w 290"/>
                    <a:gd name="T45" fmla="*/ 8 h 290"/>
                    <a:gd name="T46" fmla="*/ 84 w 290"/>
                    <a:gd name="T47" fmla="*/ 22 h 290"/>
                    <a:gd name="T48" fmla="*/ 81 w 290"/>
                    <a:gd name="T49" fmla="*/ 25 h 290"/>
                    <a:gd name="T50" fmla="*/ 80 w 290"/>
                    <a:gd name="T51" fmla="*/ 13 h 290"/>
                    <a:gd name="T52" fmla="*/ 88 w 290"/>
                    <a:gd name="T53" fmla="*/ 8 h 290"/>
                    <a:gd name="T54" fmla="*/ 86 w 290"/>
                    <a:gd name="T55" fmla="*/ 11 h 290"/>
                    <a:gd name="T56" fmla="*/ 82 w 290"/>
                    <a:gd name="T57" fmla="*/ 11 h 290"/>
                    <a:gd name="T58" fmla="*/ 204 w 290"/>
                    <a:gd name="T59" fmla="*/ 12 h 290"/>
                    <a:gd name="T60" fmla="*/ 96 w 290"/>
                    <a:gd name="T61" fmla="*/ 4 h 290"/>
                    <a:gd name="T62" fmla="*/ 194 w 290"/>
                    <a:gd name="T63" fmla="*/ 12 h 290"/>
                    <a:gd name="T64" fmla="*/ 194 w 290"/>
                    <a:gd name="T65" fmla="*/ 17 h 290"/>
                    <a:gd name="T66" fmla="*/ 206 w 290"/>
                    <a:gd name="T67" fmla="*/ 12 h 290"/>
                    <a:gd name="T68" fmla="*/ 277 w 290"/>
                    <a:gd name="T69" fmla="*/ 7 h 290"/>
                    <a:gd name="T70" fmla="*/ 272 w 290"/>
                    <a:gd name="T71" fmla="*/ 10 h 290"/>
                    <a:gd name="T72" fmla="*/ 281 w 290"/>
                    <a:gd name="T73" fmla="*/ 7 h 290"/>
                    <a:gd name="T74" fmla="*/ 281 w 290"/>
                    <a:gd name="T75" fmla="*/ 10 h 290"/>
                    <a:gd name="T76" fmla="*/ 275 w 290"/>
                    <a:gd name="T77" fmla="*/ 17 h 290"/>
                    <a:gd name="T78" fmla="*/ 278 w 290"/>
                    <a:gd name="T79" fmla="*/ 20 h 290"/>
                    <a:gd name="T80" fmla="*/ 284 w 290"/>
                    <a:gd name="T81" fmla="*/ 11 h 290"/>
                    <a:gd name="T82" fmla="*/ 288 w 290"/>
                    <a:gd name="T83" fmla="*/ 13 h 290"/>
                    <a:gd name="T84" fmla="*/ 285 w 290"/>
                    <a:gd name="T85" fmla="*/ 23 h 290"/>
                    <a:gd name="T86" fmla="*/ 272 w 290"/>
                    <a:gd name="T87" fmla="*/ 26 h 290"/>
                    <a:gd name="T88" fmla="*/ 270 w 290"/>
                    <a:gd name="T89" fmla="*/ 21 h 290"/>
                    <a:gd name="T90" fmla="*/ 268 w 290"/>
                    <a:gd name="T91" fmla="*/ 13 h 290"/>
                    <a:gd name="T92" fmla="*/ 272 w 290"/>
                    <a:gd name="T93" fmla="*/ 10 h 290"/>
                    <a:gd name="T94" fmla="*/ 280 w 290"/>
                    <a:gd name="T95" fmla="*/ 62 h 290"/>
                    <a:gd name="T96" fmla="*/ 275 w 290"/>
                    <a:gd name="T97" fmla="*/ 33 h 290"/>
                    <a:gd name="T98" fmla="*/ 281 w 290"/>
                    <a:gd name="T99" fmla="*/ 33 h 290"/>
                    <a:gd name="T100" fmla="*/ 45 w 290"/>
                    <a:gd name="T101" fmla="*/ 273 h 290"/>
                    <a:gd name="T102" fmla="*/ 45 w 290"/>
                    <a:gd name="T103" fmla="*/ 237 h 290"/>
                    <a:gd name="T104" fmla="*/ 45 w 290"/>
                    <a:gd name="T105" fmla="*/ 250 h 290"/>
                    <a:gd name="T106" fmla="*/ 45 w 290"/>
                    <a:gd name="T107" fmla="*/ 273 h 290"/>
                    <a:gd name="T108" fmla="*/ 0 w 290"/>
                    <a:gd name="T109" fmla="*/ 235 h 290"/>
                    <a:gd name="T110" fmla="*/ 0 w 290"/>
                    <a:gd name="T111" fmla="*/ 250 h 290"/>
                    <a:gd name="T112" fmla="*/ 34 w 290"/>
                    <a:gd name="T113" fmla="*/ 207 h 290"/>
                    <a:gd name="T114" fmla="*/ 31 w 290"/>
                    <a:gd name="T115" fmla="*/ 199 h 290"/>
                    <a:gd name="T116" fmla="*/ 117 w 290"/>
                    <a:gd name="T117" fmla="*/ 16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90">
                      <a:moveTo>
                        <a:pt x="147" y="14"/>
                      </a:moveTo>
                      <a:cubicBezTo>
                        <a:pt x="147" y="10"/>
                        <a:pt x="147" y="10"/>
                        <a:pt x="147" y="10"/>
                      </a:cubicBezTo>
                      <a:cubicBezTo>
                        <a:pt x="151" y="10"/>
                        <a:pt x="151" y="10"/>
                        <a:pt x="151" y="10"/>
                      </a:cubicBezTo>
                      <a:cubicBezTo>
                        <a:pt x="151" y="14"/>
                        <a:pt x="151" y="14"/>
                        <a:pt x="151" y="14"/>
                      </a:cubicBezTo>
                      <a:cubicBezTo>
                        <a:pt x="147" y="14"/>
                        <a:pt x="147" y="14"/>
                        <a:pt x="147" y="14"/>
                      </a:cubicBezTo>
                      <a:close/>
                      <a:moveTo>
                        <a:pt x="149" y="37"/>
                      </a:moveTo>
                      <a:cubicBezTo>
                        <a:pt x="145" y="37"/>
                        <a:pt x="145" y="37"/>
                        <a:pt x="145" y="37"/>
                      </a:cubicBezTo>
                      <a:cubicBezTo>
                        <a:pt x="145" y="18"/>
                        <a:pt x="145" y="18"/>
                        <a:pt x="145" y="18"/>
                      </a:cubicBezTo>
                      <a:cubicBezTo>
                        <a:pt x="143" y="18"/>
                        <a:pt x="143" y="18"/>
                        <a:pt x="143" y="18"/>
                      </a:cubicBezTo>
                      <a:cubicBezTo>
                        <a:pt x="143" y="11"/>
                        <a:pt x="143" y="11"/>
                        <a:pt x="143" y="11"/>
                      </a:cubicBezTo>
                      <a:cubicBezTo>
                        <a:pt x="147" y="11"/>
                        <a:pt x="147" y="11"/>
                        <a:pt x="147" y="11"/>
                      </a:cubicBezTo>
                      <a:cubicBezTo>
                        <a:pt x="147" y="14"/>
                        <a:pt x="147" y="14"/>
                        <a:pt x="147" y="14"/>
                      </a:cubicBezTo>
                      <a:cubicBezTo>
                        <a:pt x="153" y="14"/>
                        <a:pt x="153" y="14"/>
                        <a:pt x="153" y="14"/>
                      </a:cubicBezTo>
                      <a:cubicBezTo>
                        <a:pt x="153" y="26"/>
                        <a:pt x="153" y="26"/>
                        <a:pt x="153" y="26"/>
                      </a:cubicBezTo>
                      <a:cubicBezTo>
                        <a:pt x="149" y="28"/>
                        <a:pt x="149" y="28"/>
                        <a:pt x="149" y="28"/>
                      </a:cubicBezTo>
                      <a:cubicBezTo>
                        <a:pt x="149" y="37"/>
                        <a:pt x="149" y="37"/>
                        <a:pt x="149" y="37"/>
                      </a:cubicBezTo>
                      <a:close/>
                      <a:moveTo>
                        <a:pt x="177" y="16"/>
                      </a:moveTo>
                      <a:cubicBezTo>
                        <a:pt x="177" y="11"/>
                        <a:pt x="177" y="11"/>
                        <a:pt x="177" y="11"/>
                      </a:cubicBezTo>
                      <a:cubicBezTo>
                        <a:pt x="181" y="11"/>
                        <a:pt x="181" y="11"/>
                        <a:pt x="181" y="11"/>
                      </a:cubicBezTo>
                      <a:cubicBezTo>
                        <a:pt x="181" y="16"/>
                        <a:pt x="181" y="16"/>
                        <a:pt x="181" y="16"/>
                      </a:cubicBezTo>
                      <a:cubicBezTo>
                        <a:pt x="177" y="16"/>
                        <a:pt x="177" y="16"/>
                        <a:pt x="177" y="16"/>
                      </a:cubicBezTo>
                      <a:close/>
                      <a:moveTo>
                        <a:pt x="186" y="36"/>
                      </a:moveTo>
                      <a:cubicBezTo>
                        <a:pt x="177" y="36"/>
                        <a:pt x="177" y="36"/>
                        <a:pt x="177" y="36"/>
                      </a:cubicBezTo>
                      <a:cubicBezTo>
                        <a:pt x="177" y="27"/>
                        <a:pt x="172" y="26"/>
                        <a:pt x="172" y="26"/>
                      </a:cubicBezTo>
                      <a:cubicBezTo>
                        <a:pt x="172" y="12"/>
                        <a:pt x="172" y="12"/>
                        <a:pt x="172" y="12"/>
                      </a:cubicBezTo>
                      <a:cubicBezTo>
                        <a:pt x="177" y="12"/>
                        <a:pt x="177" y="12"/>
                        <a:pt x="177" y="12"/>
                      </a:cubicBezTo>
                      <a:cubicBezTo>
                        <a:pt x="177" y="16"/>
                        <a:pt x="177" y="16"/>
                        <a:pt x="177" y="16"/>
                      </a:cubicBezTo>
                      <a:cubicBezTo>
                        <a:pt x="181" y="16"/>
                        <a:pt x="181" y="16"/>
                        <a:pt x="181" y="16"/>
                      </a:cubicBezTo>
                      <a:cubicBezTo>
                        <a:pt x="181" y="12"/>
                        <a:pt x="181" y="12"/>
                        <a:pt x="181" y="12"/>
                      </a:cubicBezTo>
                      <a:cubicBezTo>
                        <a:pt x="186" y="12"/>
                        <a:pt x="186" y="12"/>
                        <a:pt x="186" y="12"/>
                      </a:cubicBezTo>
                      <a:cubicBezTo>
                        <a:pt x="186" y="36"/>
                        <a:pt x="186" y="36"/>
                        <a:pt x="186" y="36"/>
                      </a:cubicBezTo>
                      <a:close/>
                      <a:moveTo>
                        <a:pt x="124" y="16"/>
                      </a:moveTo>
                      <a:cubicBezTo>
                        <a:pt x="124" y="11"/>
                        <a:pt x="124" y="11"/>
                        <a:pt x="124" y="11"/>
                      </a:cubicBezTo>
                      <a:cubicBezTo>
                        <a:pt x="128" y="11"/>
                        <a:pt x="128" y="11"/>
                        <a:pt x="128" y="11"/>
                      </a:cubicBezTo>
                      <a:cubicBezTo>
                        <a:pt x="128" y="14"/>
                        <a:pt x="128" y="14"/>
                        <a:pt x="128" y="14"/>
                      </a:cubicBezTo>
                      <a:moveTo>
                        <a:pt x="127" y="37"/>
                      </a:moveTo>
                      <a:cubicBezTo>
                        <a:pt x="127" y="19"/>
                        <a:pt x="127" y="19"/>
                        <a:pt x="127" y="19"/>
                      </a:cubicBezTo>
                      <a:cubicBezTo>
                        <a:pt x="130" y="19"/>
                        <a:pt x="130" y="19"/>
                        <a:pt x="130" y="19"/>
                      </a:cubicBezTo>
                      <a:cubicBezTo>
                        <a:pt x="130" y="13"/>
                        <a:pt x="130" y="13"/>
                        <a:pt x="130" y="13"/>
                      </a:cubicBezTo>
                      <a:cubicBezTo>
                        <a:pt x="127" y="13"/>
                        <a:pt x="127" y="13"/>
                        <a:pt x="127" y="13"/>
                      </a:cubicBezTo>
                      <a:cubicBezTo>
                        <a:pt x="127" y="16"/>
                        <a:pt x="127" y="16"/>
                        <a:pt x="127" y="16"/>
                      </a:cubicBezTo>
                      <a:cubicBezTo>
                        <a:pt x="121" y="16"/>
                        <a:pt x="121" y="16"/>
                        <a:pt x="121" y="16"/>
                      </a:cubicBezTo>
                      <a:cubicBezTo>
                        <a:pt x="121" y="19"/>
                        <a:pt x="121" y="19"/>
                        <a:pt x="121" y="19"/>
                      </a:cubicBezTo>
                      <a:cubicBezTo>
                        <a:pt x="124" y="19"/>
                        <a:pt x="124" y="19"/>
                        <a:pt x="124" y="19"/>
                      </a:cubicBezTo>
                      <a:cubicBezTo>
                        <a:pt x="124" y="37"/>
                        <a:pt x="124" y="37"/>
                        <a:pt x="124" y="37"/>
                      </a:cubicBezTo>
                      <a:moveTo>
                        <a:pt x="194" y="16"/>
                      </a:moveTo>
                      <a:cubicBezTo>
                        <a:pt x="192" y="16"/>
                        <a:pt x="192" y="16"/>
                        <a:pt x="192" y="16"/>
                      </a:cubicBezTo>
                      <a:cubicBezTo>
                        <a:pt x="192" y="19"/>
                        <a:pt x="192" y="19"/>
                        <a:pt x="192" y="19"/>
                      </a:cubicBezTo>
                      <a:cubicBezTo>
                        <a:pt x="194" y="19"/>
                        <a:pt x="194" y="19"/>
                        <a:pt x="194" y="19"/>
                      </a:cubicBezTo>
                      <a:cubicBezTo>
                        <a:pt x="194" y="36"/>
                        <a:pt x="194" y="36"/>
                        <a:pt x="194" y="36"/>
                      </a:cubicBezTo>
                      <a:moveTo>
                        <a:pt x="203" y="34"/>
                      </a:moveTo>
                      <a:cubicBezTo>
                        <a:pt x="203" y="20"/>
                        <a:pt x="203" y="20"/>
                        <a:pt x="203" y="20"/>
                      </a:cubicBezTo>
                      <a:cubicBezTo>
                        <a:pt x="201" y="20"/>
                        <a:pt x="201" y="20"/>
                        <a:pt x="201" y="20"/>
                      </a:cubicBezTo>
                      <a:cubicBezTo>
                        <a:pt x="201" y="16"/>
                        <a:pt x="201" y="16"/>
                        <a:pt x="201" y="16"/>
                      </a:cubicBezTo>
                      <a:moveTo>
                        <a:pt x="197" y="36"/>
                      </a:moveTo>
                      <a:cubicBezTo>
                        <a:pt x="197" y="19"/>
                        <a:pt x="197" y="19"/>
                        <a:pt x="197" y="19"/>
                      </a:cubicBezTo>
                      <a:cubicBezTo>
                        <a:pt x="200" y="19"/>
                        <a:pt x="200" y="19"/>
                        <a:pt x="200" y="19"/>
                      </a:cubicBezTo>
                      <a:cubicBezTo>
                        <a:pt x="200" y="15"/>
                        <a:pt x="200" y="15"/>
                        <a:pt x="200" y="15"/>
                      </a:cubicBezTo>
                      <a:cubicBezTo>
                        <a:pt x="199" y="15"/>
                        <a:pt x="199" y="15"/>
                        <a:pt x="199" y="15"/>
                      </a:cubicBezTo>
                      <a:moveTo>
                        <a:pt x="206" y="34"/>
                      </a:moveTo>
                      <a:cubicBezTo>
                        <a:pt x="206" y="20"/>
                        <a:pt x="206" y="20"/>
                        <a:pt x="206" y="20"/>
                      </a:cubicBezTo>
                      <a:cubicBezTo>
                        <a:pt x="208" y="20"/>
                        <a:pt x="208" y="20"/>
                        <a:pt x="208" y="20"/>
                      </a:cubicBezTo>
                      <a:cubicBezTo>
                        <a:pt x="208" y="16"/>
                        <a:pt x="208" y="16"/>
                        <a:pt x="208" y="16"/>
                      </a:cubicBezTo>
                      <a:cubicBezTo>
                        <a:pt x="206" y="16"/>
                        <a:pt x="206" y="16"/>
                        <a:pt x="206" y="16"/>
                      </a:cubicBezTo>
                      <a:moveTo>
                        <a:pt x="145" y="8"/>
                      </a:moveTo>
                      <a:cubicBezTo>
                        <a:pt x="137" y="8"/>
                        <a:pt x="137" y="8"/>
                        <a:pt x="137" y="8"/>
                      </a:cubicBezTo>
                      <a:cubicBezTo>
                        <a:pt x="137" y="36"/>
                        <a:pt x="137" y="36"/>
                        <a:pt x="137" y="36"/>
                      </a:cubicBezTo>
                      <a:moveTo>
                        <a:pt x="196" y="12"/>
                      </a:moveTo>
                      <a:cubicBezTo>
                        <a:pt x="196" y="12"/>
                        <a:pt x="197" y="8"/>
                        <a:pt x="192" y="8"/>
                      </a:cubicBezTo>
                      <a:cubicBezTo>
                        <a:pt x="187" y="8"/>
                        <a:pt x="152" y="8"/>
                        <a:pt x="152" y="8"/>
                      </a:cubicBezTo>
                      <a:moveTo>
                        <a:pt x="81" y="25"/>
                      </a:moveTo>
                      <a:cubicBezTo>
                        <a:pt x="81" y="23"/>
                        <a:pt x="82" y="22"/>
                        <a:pt x="84" y="22"/>
                      </a:cubicBezTo>
                      <a:cubicBezTo>
                        <a:pt x="85" y="22"/>
                        <a:pt x="87" y="23"/>
                        <a:pt x="87" y="25"/>
                      </a:cubicBezTo>
                      <a:cubicBezTo>
                        <a:pt x="87" y="27"/>
                        <a:pt x="85" y="28"/>
                        <a:pt x="84" y="28"/>
                      </a:cubicBezTo>
                      <a:cubicBezTo>
                        <a:pt x="82" y="28"/>
                        <a:pt x="81" y="27"/>
                        <a:pt x="81" y="25"/>
                      </a:cubicBezTo>
                      <a:close/>
                      <a:moveTo>
                        <a:pt x="88" y="13"/>
                      </a:moveTo>
                      <a:cubicBezTo>
                        <a:pt x="84" y="21"/>
                        <a:pt x="84" y="21"/>
                        <a:pt x="84" y="21"/>
                      </a:cubicBezTo>
                      <a:moveTo>
                        <a:pt x="80" y="13"/>
                      </a:moveTo>
                      <a:cubicBezTo>
                        <a:pt x="84" y="21"/>
                        <a:pt x="84" y="21"/>
                        <a:pt x="84" y="21"/>
                      </a:cubicBezTo>
                      <a:moveTo>
                        <a:pt x="86" y="11"/>
                      </a:moveTo>
                      <a:cubicBezTo>
                        <a:pt x="86" y="10"/>
                        <a:pt x="87" y="8"/>
                        <a:pt x="88" y="8"/>
                      </a:cubicBezTo>
                      <a:cubicBezTo>
                        <a:pt x="89" y="8"/>
                        <a:pt x="90" y="10"/>
                        <a:pt x="90" y="11"/>
                      </a:cubicBezTo>
                      <a:cubicBezTo>
                        <a:pt x="90" y="12"/>
                        <a:pt x="89" y="13"/>
                        <a:pt x="88" y="13"/>
                      </a:cubicBezTo>
                      <a:cubicBezTo>
                        <a:pt x="87" y="13"/>
                        <a:pt x="86" y="12"/>
                        <a:pt x="86" y="11"/>
                      </a:cubicBezTo>
                      <a:close/>
                      <a:moveTo>
                        <a:pt x="77" y="11"/>
                      </a:moveTo>
                      <a:cubicBezTo>
                        <a:pt x="77" y="10"/>
                        <a:pt x="78" y="8"/>
                        <a:pt x="79" y="8"/>
                      </a:cubicBezTo>
                      <a:cubicBezTo>
                        <a:pt x="81" y="8"/>
                        <a:pt x="82" y="10"/>
                        <a:pt x="82" y="11"/>
                      </a:cubicBezTo>
                      <a:cubicBezTo>
                        <a:pt x="82" y="12"/>
                        <a:pt x="81" y="13"/>
                        <a:pt x="79" y="13"/>
                      </a:cubicBezTo>
                      <a:cubicBezTo>
                        <a:pt x="78" y="13"/>
                        <a:pt x="77" y="12"/>
                        <a:pt x="77" y="11"/>
                      </a:cubicBezTo>
                      <a:close/>
                      <a:moveTo>
                        <a:pt x="204" y="12"/>
                      </a:moveTo>
                      <a:cubicBezTo>
                        <a:pt x="204" y="12"/>
                        <a:pt x="204" y="12"/>
                        <a:pt x="204" y="10"/>
                      </a:cubicBezTo>
                      <a:cubicBezTo>
                        <a:pt x="204" y="7"/>
                        <a:pt x="203" y="4"/>
                        <a:pt x="197" y="4"/>
                      </a:cubicBezTo>
                      <a:cubicBezTo>
                        <a:pt x="189" y="4"/>
                        <a:pt x="104" y="4"/>
                        <a:pt x="96" y="4"/>
                      </a:cubicBezTo>
                      <a:cubicBezTo>
                        <a:pt x="90" y="4"/>
                        <a:pt x="88" y="5"/>
                        <a:pt x="88" y="8"/>
                      </a:cubicBezTo>
                      <a:moveTo>
                        <a:pt x="194" y="17"/>
                      </a:moveTo>
                      <a:cubicBezTo>
                        <a:pt x="194" y="12"/>
                        <a:pt x="194" y="12"/>
                        <a:pt x="194" y="12"/>
                      </a:cubicBezTo>
                      <a:cubicBezTo>
                        <a:pt x="199" y="12"/>
                        <a:pt x="199" y="12"/>
                        <a:pt x="199" y="12"/>
                      </a:cubicBezTo>
                      <a:cubicBezTo>
                        <a:pt x="199" y="17"/>
                        <a:pt x="199" y="17"/>
                        <a:pt x="199" y="17"/>
                      </a:cubicBezTo>
                      <a:cubicBezTo>
                        <a:pt x="194" y="17"/>
                        <a:pt x="194" y="17"/>
                        <a:pt x="194" y="17"/>
                      </a:cubicBezTo>
                      <a:close/>
                      <a:moveTo>
                        <a:pt x="201" y="17"/>
                      </a:moveTo>
                      <a:cubicBezTo>
                        <a:pt x="201" y="12"/>
                        <a:pt x="201" y="12"/>
                        <a:pt x="201" y="12"/>
                      </a:cubicBezTo>
                      <a:cubicBezTo>
                        <a:pt x="206" y="12"/>
                        <a:pt x="206" y="12"/>
                        <a:pt x="206" y="12"/>
                      </a:cubicBezTo>
                      <a:cubicBezTo>
                        <a:pt x="206" y="17"/>
                        <a:pt x="206" y="17"/>
                        <a:pt x="206" y="17"/>
                      </a:cubicBezTo>
                      <a:cubicBezTo>
                        <a:pt x="201" y="17"/>
                        <a:pt x="201" y="17"/>
                        <a:pt x="201" y="17"/>
                      </a:cubicBezTo>
                      <a:close/>
                      <a:moveTo>
                        <a:pt x="277" y="7"/>
                      </a:moveTo>
                      <a:cubicBezTo>
                        <a:pt x="223" y="7"/>
                        <a:pt x="223" y="7"/>
                        <a:pt x="223" y="7"/>
                      </a:cubicBezTo>
                      <a:cubicBezTo>
                        <a:pt x="217" y="10"/>
                        <a:pt x="217" y="10"/>
                        <a:pt x="217" y="10"/>
                      </a:cubicBezTo>
                      <a:cubicBezTo>
                        <a:pt x="272" y="10"/>
                        <a:pt x="272" y="10"/>
                        <a:pt x="272" y="10"/>
                      </a:cubicBezTo>
                      <a:moveTo>
                        <a:pt x="288" y="13"/>
                      </a:moveTo>
                      <a:cubicBezTo>
                        <a:pt x="288" y="8"/>
                        <a:pt x="288" y="8"/>
                        <a:pt x="288" y="8"/>
                      </a:cubicBezTo>
                      <a:cubicBezTo>
                        <a:pt x="288" y="8"/>
                        <a:pt x="290" y="6"/>
                        <a:pt x="281" y="7"/>
                      </a:cubicBezTo>
                      <a:moveTo>
                        <a:pt x="271" y="2"/>
                      </a:moveTo>
                      <a:cubicBezTo>
                        <a:pt x="279" y="5"/>
                        <a:pt x="277" y="10"/>
                        <a:pt x="277" y="10"/>
                      </a:cubicBezTo>
                      <a:cubicBezTo>
                        <a:pt x="281" y="10"/>
                        <a:pt x="281" y="10"/>
                        <a:pt x="281" y="10"/>
                      </a:cubicBezTo>
                      <a:cubicBezTo>
                        <a:pt x="281" y="10"/>
                        <a:pt x="283" y="3"/>
                        <a:pt x="275" y="0"/>
                      </a:cubicBezTo>
                      <a:cubicBezTo>
                        <a:pt x="271" y="2"/>
                        <a:pt x="271" y="2"/>
                        <a:pt x="271" y="2"/>
                      </a:cubicBezTo>
                      <a:close/>
                      <a:moveTo>
                        <a:pt x="275" y="17"/>
                      </a:moveTo>
                      <a:cubicBezTo>
                        <a:pt x="275" y="16"/>
                        <a:pt x="277" y="15"/>
                        <a:pt x="278" y="15"/>
                      </a:cubicBezTo>
                      <a:cubicBezTo>
                        <a:pt x="279" y="15"/>
                        <a:pt x="280" y="16"/>
                        <a:pt x="280" y="17"/>
                      </a:cubicBezTo>
                      <a:cubicBezTo>
                        <a:pt x="280" y="19"/>
                        <a:pt x="279" y="20"/>
                        <a:pt x="278" y="20"/>
                      </a:cubicBezTo>
                      <a:cubicBezTo>
                        <a:pt x="277" y="20"/>
                        <a:pt x="275" y="19"/>
                        <a:pt x="275" y="17"/>
                      </a:cubicBezTo>
                      <a:close/>
                      <a:moveTo>
                        <a:pt x="284" y="10"/>
                      </a:moveTo>
                      <a:cubicBezTo>
                        <a:pt x="284" y="11"/>
                        <a:pt x="284" y="11"/>
                        <a:pt x="284" y="11"/>
                      </a:cubicBezTo>
                      <a:cubicBezTo>
                        <a:pt x="287" y="11"/>
                        <a:pt x="287" y="11"/>
                        <a:pt x="287" y="11"/>
                      </a:cubicBezTo>
                      <a:cubicBezTo>
                        <a:pt x="287" y="13"/>
                        <a:pt x="287" y="13"/>
                        <a:pt x="287" y="13"/>
                      </a:cubicBezTo>
                      <a:cubicBezTo>
                        <a:pt x="288" y="13"/>
                        <a:pt x="288" y="13"/>
                        <a:pt x="288" y="13"/>
                      </a:cubicBezTo>
                      <a:cubicBezTo>
                        <a:pt x="288" y="21"/>
                        <a:pt x="288" y="21"/>
                        <a:pt x="288" y="21"/>
                      </a:cubicBezTo>
                      <a:cubicBezTo>
                        <a:pt x="285" y="21"/>
                        <a:pt x="285" y="21"/>
                        <a:pt x="285" y="21"/>
                      </a:cubicBezTo>
                      <a:cubicBezTo>
                        <a:pt x="285" y="23"/>
                        <a:pt x="285" y="23"/>
                        <a:pt x="285" y="23"/>
                      </a:cubicBezTo>
                      <a:cubicBezTo>
                        <a:pt x="284" y="23"/>
                        <a:pt x="284" y="23"/>
                        <a:pt x="284" y="23"/>
                      </a:cubicBezTo>
                      <a:cubicBezTo>
                        <a:pt x="284" y="26"/>
                        <a:pt x="284" y="26"/>
                        <a:pt x="284" y="26"/>
                      </a:cubicBezTo>
                      <a:cubicBezTo>
                        <a:pt x="272" y="26"/>
                        <a:pt x="272" y="26"/>
                        <a:pt x="272" y="26"/>
                      </a:cubicBezTo>
                      <a:cubicBezTo>
                        <a:pt x="271" y="23"/>
                        <a:pt x="271" y="23"/>
                        <a:pt x="271" y="23"/>
                      </a:cubicBezTo>
                      <a:cubicBezTo>
                        <a:pt x="270" y="23"/>
                        <a:pt x="270" y="23"/>
                        <a:pt x="270" y="23"/>
                      </a:cubicBezTo>
                      <a:cubicBezTo>
                        <a:pt x="270" y="21"/>
                        <a:pt x="270" y="21"/>
                        <a:pt x="270" y="21"/>
                      </a:cubicBezTo>
                      <a:cubicBezTo>
                        <a:pt x="267" y="21"/>
                        <a:pt x="267" y="21"/>
                        <a:pt x="267" y="21"/>
                      </a:cubicBezTo>
                      <a:cubicBezTo>
                        <a:pt x="267" y="13"/>
                        <a:pt x="267" y="13"/>
                        <a:pt x="267" y="13"/>
                      </a:cubicBezTo>
                      <a:cubicBezTo>
                        <a:pt x="268" y="13"/>
                        <a:pt x="268" y="13"/>
                        <a:pt x="268" y="13"/>
                      </a:cubicBezTo>
                      <a:cubicBezTo>
                        <a:pt x="268" y="11"/>
                        <a:pt x="268" y="11"/>
                        <a:pt x="268" y="11"/>
                      </a:cubicBezTo>
                      <a:cubicBezTo>
                        <a:pt x="272" y="11"/>
                        <a:pt x="272" y="11"/>
                        <a:pt x="272" y="11"/>
                      </a:cubicBezTo>
                      <a:cubicBezTo>
                        <a:pt x="272" y="10"/>
                        <a:pt x="272" y="10"/>
                        <a:pt x="272" y="10"/>
                      </a:cubicBezTo>
                      <a:cubicBezTo>
                        <a:pt x="284" y="10"/>
                        <a:pt x="284" y="10"/>
                        <a:pt x="284" y="10"/>
                      </a:cubicBezTo>
                      <a:close/>
                      <a:moveTo>
                        <a:pt x="280" y="33"/>
                      </a:moveTo>
                      <a:cubicBezTo>
                        <a:pt x="280" y="62"/>
                        <a:pt x="280" y="62"/>
                        <a:pt x="280" y="62"/>
                      </a:cubicBezTo>
                      <a:moveTo>
                        <a:pt x="277" y="33"/>
                      </a:moveTo>
                      <a:cubicBezTo>
                        <a:pt x="277" y="56"/>
                        <a:pt x="277" y="56"/>
                        <a:pt x="277" y="56"/>
                      </a:cubicBezTo>
                      <a:moveTo>
                        <a:pt x="275" y="33"/>
                      </a:moveTo>
                      <a:cubicBezTo>
                        <a:pt x="275" y="26"/>
                        <a:pt x="275" y="26"/>
                        <a:pt x="275" y="26"/>
                      </a:cubicBezTo>
                      <a:cubicBezTo>
                        <a:pt x="281" y="26"/>
                        <a:pt x="281" y="26"/>
                        <a:pt x="281" y="26"/>
                      </a:cubicBezTo>
                      <a:cubicBezTo>
                        <a:pt x="281" y="33"/>
                        <a:pt x="281" y="33"/>
                        <a:pt x="281" y="33"/>
                      </a:cubicBezTo>
                      <a:cubicBezTo>
                        <a:pt x="275" y="33"/>
                        <a:pt x="275" y="33"/>
                        <a:pt x="275" y="33"/>
                      </a:cubicBezTo>
                      <a:close/>
                      <a:moveTo>
                        <a:pt x="45" y="290"/>
                      </a:moveTo>
                      <a:cubicBezTo>
                        <a:pt x="45" y="273"/>
                        <a:pt x="45" y="273"/>
                        <a:pt x="45" y="273"/>
                      </a:cubicBezTo>
                      <a:cubicBezTo>
                        <a:pt x="79" y="273"/>
                        <a:pt x="79" y="273"/>
                        <a:pt x="79" y="273"/>
                      </a:cubicBezTo>
                      <a:cubicBezTo>
                        <a:pt x="79" y="290"/>
                        <a:pt x="79" y="290"/>
                        <a:pt x="79" y="290"/>
                      </a:cubicBezTo>
                      <a:moveTo>
                        <a:pt x="45" y="237"/>
                      </a:moveTo>
                      <a:cubicBezTo>
                        <a:pt x="80" y="237"/>
                        <a:pt x="80" y="237"/>
                        <a:pt x="80" y="237"/>
                      </a:cubicBezTo>
                      <a:cubicBezTo>
                        <a:pt x="80" y="250"/>
                        <a:pt x="80" y="250"/>
                        <a:pt x="80" y="250"/>
                      </a:cubicBezTo>
                      <a:cubicBezTo>
                        <a:pt x="45" y="250"/>
                        <a:pt x="45" y="250"/>
                        <a:pt x="45" y="250"/>
                      </a:cubicBezTo>
                      <a:cubicBezTo>
                        <a:pt x="45" y="237"/>
                        <a:pt x="45" y="237"/>
                        <a:pt x="45" y="237"/>
                      </a:cubicBezTo>
                      <a:close/>
                      <a:moveTo>
                        <a:pt x="0" y="273"/>
                      </a:moveTo>
                      <a:cubicBezTo>
                        <a:pt x="45" y="273"/>
                        <a:pt x="45" y="273"/>
                        <a:pt x="45" y="273"/>
                      </a:cubicBezTo>
                      <a:cubicBezTo>
                        <a:pt x="45" y="290"/>
                        <a:pt x="45" y="290"/>
                        <a:pt x="45" y="290"/>
                      </a:cubicBezTo>
                      <a:cubicBezTo>
                        <a:pt x="0" y="290"/>
                        <a:pt x="0" y="290"/>
                        <a:pt x="0" y="290"/>
                      </a:cubicBezTo>
                      <a:moveTo>
                        <a:pt x="0" y="235"/>
                      </a:moveTo>
                      <a:cubicBezTo>
                        <a:pt x="45" y="235"/>
                        <a:pt x="45" y="235"/>
                        <a:pt x="45" y="235"/>
                      </a:cubicBezTo>
                      <a:cubicBezTo>
                        <a:pt x="45" y="250"/>
                        <a:pt x="45" y="250"/>
                        <a:pt x="45" y="250"/>
                      </a:cubicBezTo>
                      <a:cubicBezTo>
                        <a:pt x="0" y="250"/>
                        <a:pt x="0" y="250"/>
                        <a:pt x="0" y="250"/>
                      </a:cubicBezTo>
                      <a:moveTo>
                        <a:pt x="1" y="231"/>
                      </a:moveTo>
                      <a:cubicBezTo>
                        <a:pt x="44" y="231"/>
                        <a:pt x="44" y="231"/>
                        <a:pt x="44" y="231"/>
                      </a:cubicBezTo>
                      <a:cubicBezTo>
                        <a:pt x="34" y="207"/>
                        <a:pt x="34" y="207"/>
                        <a:pt x="34" y="207"/>
                      </a:cubicBezTo>
                      <a:cubicBezTo>
                        <a:pt x="2" y="207"/>
                        <a:pt x="2" y="207"/>
                        <a:pt x="2" y="207"/>
                      </a:cubicBezTo>
                      <a:moveTo>
                        <a:pt x="3" y="199"/>
                      </a:moveTo>
                      <a:cubicBezTo>
                        <a:pt x="31" y="199"/>
                        <a:pt x="31" y="199"/>
                        <a:pt x="31" y="199"/>
                      </a:cubicBezTo>
                      <a:cubicBezTo>
                        <a:pt x="31" y="199"/>
                        <a:pt x="30" y="193"/>
                        <a:pt x="34" y="193"/>
                      </a:cubicBezTo>
                      <a:cubicBezTo>
                        <a:pt x="79" y="193"/>
                        <a:pt x="79" y="193"/>
                        <a:pt x="79" y="193"/>
                      </a:cubicBezTo>
                      <a:moveTo>
                        <a:pt x="117" y="164"/>
                      </a:moveTo>
                      <a:cubicBezTo>
                        <a:pt x="47" y="164"/>
                        <a:pt x="47" y="164"/>
                        <a:pt x="47" y="164"/>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4" name="Freeform 389"/>
                <p:cNvSpPr>
                  <a:spLocks/>
                </p:cNvSpPr>
                <p:nvPr/>
              </p:nvSpPr>
              <p:spPr bwMode="auto">
                <a:xfrm>
                  <a:off x="2060398" y="4035498"/>
                  <a:ext cx="59784" cy="14946"/>
                </a:xfrm>
                <a:custGeom>
                  <a:avLst/>
                  <a:gdLst>
                    <a:gd name="T0" fmla="*/ 0 w 8"/>
                    <a:gd name="T1" fmla="*/ 0 h 2"/>
                    <a:gd name="T2" fmla="*/ 8 w 8"/>
                    <a:gd name="T3" fmla="*/ 0 h 2"/>
                    <a:gd name="T4" fmla="*/ 8 w 8"/>
                    <a:gd name="T5" fmla="*/ 2 h 2"/>
                    <a:gd name="T6" fmla="*/ 0 w 8"/>
                    <a:gd name="T7" fmla="*/ 2 h 2"/>
                    <a:gd name="T8" fmla="*/ 0 w 8"/>
                    <a:gd name="T9" fmla="*/ 0 h 2"/>
                    <a:gd name="T10" fmla="*/ 0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0" y="0"/>
                      </a:moveTo>
                      <a:lnTo>
                        <a:pt x="8" y="0"/>
                      </a:lnTo>
                      <a:lnTo>
                        <a:pt x="8" y="2"/>
                      </a:lnTo>
                      <a:lnTo>
                        <a:pt x="0" y="2"/>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5" name="Freeform 390"/>
                <p:cNvSpPr>
                  <a:spLocks noEditPoints="1"/>
                </p:cNvSpPr>
                <p:nvPr/>
              </p:nvSpPr>
              <p:spPr bwMode="auto">
                <a:xfrm>
                  <a:off x="1813789" y="2884656"/>
                  <a:ext cx="1098531" cy="1165788"/>
                </a:xfrm>
                <a:custGeom>
                  <a:avLst/>
                  <a:gdLst>
                    <a:gd name="T0" fmla="*/ 47 w 254"/>
                    <a:gd name="T1" fmla="*/ 12 h 269"/>
                    <a:gd name="T2" fmla="*/ 165 w 254"/>
                    <a:gd name="T3" fmla="*/ 11 h 269"/>
                    <a:gd name="T4" fmla="*/ 199 w 254"/>
                    <a:gd name="T5" fmla="*/ 9 h 269"/>
                    <a:gd name="T6" fmla="*/ 221 w 254"/>
                    <a:gd name="T7" fmla="*/ 7 h 269"/>
                    <a:gd name="T8" fmla="*/ 254 w 254"/>
                    <a:gd name="T9" fmla="*/ 10 h 269"/>
                    <a:gd name="T10" fmla="*/ 46 w 254"/>
                    <a:gd name="T11" fmla="*/ 207 h 269"/>
                    <a:gd name="T12" fmla="*/ 0 w 254"/>
                    <a:gd name="T13" fmla="*/ 210 h 269"/>
                    <a:gd name="T14" fmla="*/ 35 w 254"/>
                    <a:gd name="T15" fmla="*/ 182 h 269"/>
                    <a:gd name="T16" fmla="*/ 30 w 254"/>
                    <a:gd name="T17" fmla="*/ 174 h 269"/>
                    <a:gd name="T18" fmla="*/ 46 w 254"/>
                    <a:gd name="T19" fmla="*/ 265 h 269"/>
                    <a:gd name="T20" fmla="*/ 79 w 254"/>
                    <a:gd name="T21" fmla="*/ 168 h 269"/>
                    <a:gd name="T22" fmla="*/ 184 w 254"/>
                    <a:gd name="T23" fmla="*/ 73 h 269"/>
                    <a:gd name="T24" fmla="*/ 117 w 254"/>
                    <a:gd name="T25" fmla="*/ 12 h 269"/>
                    <a:gd name="T26" fmla="*/ 101 w 254"/>
                    <a:gd name="T27" fmla="*/ 0 h 269"/>
                    <a:gd name="T28" fmla="*/ 65 w 254"/>
                    <a:gd name="T29" fmla="*/ 69 h 269"/>
                    <a:gd name="T30" fmla="*/ 61 w 254"/>
                    <a:gd name="T31" fmla="*/ 69 h 269"/>
                    <a:gd name="T32" fmla="*/ 61 w 254"/>
                    <a:gd name="T33" fmla="*/ 0 h 269"/>
                    <a:gd name="T34" fmla="*/ 106 w 254"/>
                    <a:gd name="T35" fmla="*/ 69 h 269"/>
                    <a:gd name="T36" fmla="*/ 45 w 254"/>
                    <a:gd name="T37" fmla="*/ 168 h 269"/>
                    <a:gd name="T38" fmla="*/ 58 w 254"/>
                    <a:gd name="T39" fmla="*/ 192 h 269"/>
                    <a:gd name="T40" fmla="*/ 125 w 254"/>
                    <a:gd name="T41" fmla="*/ 203 h 269"/>
                    <a:gd name="T42" fmla="*/ 125 w 254"/>
                    <a:gd name="T43" fmla="*/ 166 h 269"/>
                    <a:gd name="T44" fmla="*/ 80 w 254"/>
                    <a:gd name="T45" fmla="*/ 203 h 269"/>
                    <a:gd name="T46" fmla="*/ 83 w 254"/>
                    <a:gd name="T47" fmla="*/ 166 h 269"/>
                    <a:gd name="T48" fmla="*/ 80 w 254"/>
                    <a:gd name="T49" fmla="*/ 206 h 269"/>
                    <a:gd name="T50" fmla="*/ 125 w 254"/>
                    <a:gd name="T51" fmla="*/ 203 h 269"/>
                    <a:gd name="T52" fmla="*/ 80 w 254"/>
                    <a:gd name="T53" fmla="*/ 210 h 269"/>
                    <a:gd name="T54" fmla="*/ 125 w 254"/>
                    <a:gd name="T55" fmla="*/ 206 h 269"/>
                    <a:gd name="T56" fmla="*/ 79 w 254"/>
                    <a:gd name="T57" fmla="*/ 265 h 269"/>
                    <a:gd name="T58" fmla="*/ 133 w 254"/>
                    <a:gd name="T59" fmla="*/ 248 h 269"/>
                    <a:gd name="T60" fmla="*/ 79 w 254"/>
                    <a:gd name="T61" fmla="*/ 269 h 269"/>
                    <a:gd name="T62" fmla="*/ 124 w 254"/>
                    <a:gd name="T63" fmla="*/ 265 h 269"/>
                    <a:gd name="T64" fmla="*/ 46 w 254"/>
                    <a:gd name="T65"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 h="269">
                      <a:moveTo>
                        <a:pt x="47" y="14"/>
                      </a:moveTo>
                      <a:cubicBezTo>
                        <a:pt x="47" y="12"/>
                        <a:pt x="47" y="12"/>
                        <a:pt x="47" y="12"/>
                      </a:cubicBezTo>
                      <a:cubicBezTo>
                        <a:pt x="165" y="12"/>
                        <a:pt x="165" y="12"/>
                        <a:pt x="165" y="12"/>
                      </a:cubicBezTo>
                      <a:cubicBezTo>
                        <a:pt x="165" y="11"/>
                        <a:pt x="165" y="11"/>
                        <a:pt x="165" y="11"/>
                      </a:cubicBezTo>
                      <a:cubicBezTo>
                        <a:pt x="199" y="11"/>
                        <a:pt x="199" y="11"/>
                        <a:pt x="199" y="11"/>
                      </a:cubicBezTo>
                      <a:cubicBezTo>
                        <a:pt x="199" y="9"/>
                        <a:pt x="199" y="9"/>
                        <a:pt x="199" y="9"/>
                      </a:cubicBezTo>
                      <a:cubicBezTo>
                        <a:pt x="221" y="9"/>
                        <a:pt x="221" y="9"/>
                        <a:pt x="221" y="9"/>
                      </a:cubicBezTo>
                      <a:cubicBezTo>
                        <a:pt x="221" y="7"/>
                        <a:pt x="221" y="7"/>
                        <a:pt x="221" y="7"/>
                      </a:cubicBezTo>
                      <a:cubicBezTo>
                        <a:pt x="254" y="7"/>
                        <a:pt x="254" y="7"/>
                        <a:pt x="254" y="7"/>
                      </a:cubicBezTo>
                      <a:cubicBezTo>
                        <a:pt x="254" y="10"/>
                        <a:pt x="254" y="10"/>
                        <a:pt x="254" y="10"/>
                      </a:cubicBezTo>
                      <a:moveTo>
                        <a:pt x="1" y="207"/>
                      </a:moveTo>
                      <a:cubicBezTo>
                        <a:pt x="46" y="207"/>
                        <a:pt x="46" y="207"/>
                        <a:pt x="46" y="207"/>
                      </a:cubicBezTo>
                      <a:cubicBezTo>
                        <a:pt x="46" y="210"/>
                        <a:pt x="46" y="210"/>
                        <a:pt x="46" y="210"/>
                      </a:cubicBezTo>
                      <a:cubicBezTo>
                        <a:pt x="0" y="210"/>
                        <a:pt x="0" y="210"/>
                        <a:pt x="0" y="210"/>
                      </a:cubicBezTo>
                      <a:moveTo>
                        <a:pt x="2" y="182"/>
                      </a:moveTo>
                      <a:cubicBezTo>
                        <a:pt x="35" y="182"/>
                        <a:pt x="35" y="182"/>
                        <a:pt x="35" y="182"/>
                      </a:cubicBezTo>
                      <a:cubicBezTo>
                        <a:pt x="35" y="179"/>
                        <a:pt x="35" y="179"/>
                        <a:pt x="35" y="179"/>
                      </a:cubicBezTo>
                      <a:cubicBezTo>
                        <a:pt x="35" y="173"/>
                        <a:pt x="30" y="174"/>
                        <a:pt x="30" y="174"/>
                      </a:cubicBezTo>
                      <a:cubicBezTo>
                        <a:pt x="5" y="174"/>
                        <a:pt x="5" y="174"/>
                        <a:pt x="5" y="174"/>
                      </a:cubicBezTo>
                      <a:moveTo>
                        <a:pt x="46" y="265"/>
                      </a:moveTo>
                      <a:cubicBezTo>
                        <a:pt x="45" y="265"/>
                        <a:pt x="45" y="265"/>
                        <a:pt x="45" y="265"/>
                      </a:cubicBezTo>
                      <a:moveTo>
                        <a:pt x="79" y="168"/>
                      </a:moveTo>
                      <a:cubicBezTo>
                        <a:pt x="83" y="166"/>
                        <a:pt x="83" y="166"/>
                        <a:pt x="83" y="166"/>
                      </a:cubicBezTo>
                      <a:moveTo>
                        <a:pt x="184" y="73"/>
                      </a:moveTo>
                      <a:cubicBezTo>
                        <a:pt x="184" y="89"/>
                        <a:pt x="184" y="89"/>
                        <a:pt x="184" y="89"/>
                      </a:cubicBezTo>
                      <a:moveTo>
                        <a:pt x="117" y="12"/>
                      </a:moveTo>
                      <a:cubicBezTo>
                        <a:pt x="117" y="72"/>
                        <a:pt x="117" y="72"/>
                        <a:pt x="117" y="72"/>
                      </a:cubicBezTo>
                      <a:moveTo>
                        <a:pt x="101" y="0"/>
                      </a:moveTo>
                      <a:cubicBezTo>
                        <a:pt x="101" y="69"/>
                        <a:pt x="101" y="69"/>
                        <a:pt x="101" y="69"/>
                      </a:cubicBezTo>
                      <a:moveTo>
                        <a:pt x="65" y="69"/>
                      </a:moveTo>
                      <a:cubicBezTo>
                        <a:pt x="65" y="0"/>
                        <a:pt x="65" y="0"/>
                        <a:pt x="65" y="0"/>
                      </a:cubicBezTo>
                      <a:moveTo>
                        <a:pt x="61" y="69"/>
                      </a:moveTo>
                      <a:cubicBezTo>
                        <a:pt x="61" y="0"/>
                        <a:pt x="61" y="0"/>
                        <a:pt x="61" y="0"/>
                      </a:cubicBezTo>
                      <a:moveTo>
                        <a:pt x="61" y="0"/>
                      </a:moveTo>
                      <a:cubicBezTo>
                        <a:pt x="106" y="0"/>
                        <a:pt x="106" y="0"/>
                        <a:pt x="106" y="0"/>
                      </a:cubicBezTo>
                      <a:cubicBezTo>
                        <a:pt x="106" y="69"/>
                        <a:pt x="106" y="69"/>
                        <a:pt x="106" y="69"/>
                      </a:cubicBezTo>
                      <a:cubicBezTo>
                        <a:pt x="61" y="69"/>
                        <a:pt x="61" y="69"/>
                        <a:pt x="61" y="69"/>
                      </a:cubicBezTo>
                      <a:moveTo>
                        <a:pt x="45" y="168"/>
                      </a:moveTo>
                      <a:cubicBezTo>
                        <a:pt x="78" y="168"/>
                        <a:pt x="78" y="168"/>
                        <a:pt x="78" y="168"/>
                      </a:cubicBezTo>
                      <a:cubicBezTo>
                        <a:pt x="58" y="192"/>
                        <a:pt x="58" y="192"/>
                        <a:pt x="58" y="192"/>
                      </a:cubicBezTo>
                      <a:cubicBezTo>
                        <a:pt x="45" y="168"/>
                        <a:pt x="45" y="168"/>
                        <a:pt x="45" y="168"/>
                      </a:cubicBezTo>
                      <a:close/>
                      <a:moveTo>
                        <a:pt x="125" y="203"/>
                      </a:moveTo>
                      <a:cubicBezTo>
                        <a:pt x="125" y="166"/>
                        <a:pt x="125" y="166"/>
                        <a:pt x="125" y="166"/>
                      </a:cubicBezTo>
                      <a:moveTo>
                        <a:pt x="125" y="166"/>
                      </a:moveTo>
                      <a:cubicBezTo>
                        <a:pt x="125" y="203"/>
                        <a:pt x="125" y="203"/>
                        <a:pt x="125" y="203"/>
                      </a:cubicBezTo>
                      <a:cubicBezTo>
                        <a:pt x="80" y="203"/>
                        <a:pt x="80" y="203"/>
                        <a:pt x="80" y="203"/>
                      </a:cubicBezTo>
                      <a:cubicBezTo>
                        <a:pt x="80" y="168"/>
                        <a:pt x="80" y="168"/>
                        <a:pt x="80" y="168"/>
                      </a:cubicBezTo>
                      <a:cubicBezTo>
                        <a:pt x="83" y="166"/>
                        <a:pt x="83" y="166"/>
                        <a:pt x="83" y="166"/>
                      </a:cubicBezTo>
                      <a:moveTo>
                        <a:pt x="125" y="206"/>
                      </a:moveTo>
                      <a:cubicBezTo>
                        <a:pt x="80" y="206"/>
                        <a:pt x="80" y="206"/>
                        <a:pt x="80" y="206"/>
                      </a:cubicBezTo>
                      <a:cubicBezTo>
                        <a:pt x="80" y="203"/>
                        <a:pt x="80" y="203"/>
                        <a:pt x="80" y="203"/>
                      </a:cubicBezTo>
                      <a:cubicBezTo>
                        <a:pt x="125" y="203"/>
                        <a:pt x="125" y="203"/>
                        <a:pt x="125" y="203"/>
                      </a:cubicBezTo>
                      <a:moveTo>
                        <a:pt x="125" y="210"/>
                      </a:moveTo>
                      <a:cubicBezTo>
                        <a:pt x="80" y="210"/>
                        <a:pt x="80" y="210"/>
                        <a:pt x="80" y="210"/>
                      </a:cubicBezTo>
                      <a:cubicBezTo>
                        <a:pt x="80" y="206"/>
                        <a:pt x="80" y="206"/>
                        <a:pt x="80" y="206"/>
                      </a:cubicBezTo>
                      <a:cubicBezTo>
                        <a:pt x="125" y="206"/>
                        <a:pt x="125" y="206"/>
                        <a:pt x="125" y="206"/>
                      </a:cubicBezTo>
                      <a:moveTo>
                        <a:pt x="124" y="265"/>
                      </a:moveTo>
                      <a:cubicBezTo>
                        <a:pt x="79" y="265"/>
                        <a:pt x="79" y="265"/>
                        <a:pt x="79" y="265"/>
                      </a:cubicBezTo>
                      <a:cubicBezTo>
                        <a:pt x="79" y="248"/>
                        <a:pt x="79" y="248"/>
                        <a:pt x="79" y="248"/>
                      </a:cubicBezTo>
                      <a:cubicBezTo>
                        <a:pt x="133" y="248"/>
                        <a:pt x="133" y="248"/>
                        <a:pt x="133" y="248"/>
                      </a:cubicBezTo>
                      <a:moveTo>
                        <a:pt x="124" y="269"/>
                      </a:moveTo>
                      <a:cubicBezTo>
                        <a:pt x="79" y="269"/>
                        <a:pt x="79" y="269"/>
                        <a:pt x="79" y="269"/>
                      </a:cubicBezTo>
                      <a:moveTo>
                        <a:pt x="79" y="265"/>
                      </a:moveTo>
                      <a:cubicBezTo>
                        <a:pt x="124" y="265"/>
                        <a:pt x="124" y="265"/>
                        <a:pt x="124" y="265"/>
                      </a:cubicBezTo>
                      <a:moveTo>
                        <a:pt x="0" y="265"/>
                      </a:moveTo>
                      <a:cubicBezTo>
                        <a:pt x="46" y="265"/>
                        <a:pt x="46" y="265"/>
                        <a:pt x="46" y="265"/>
                      </a:cubicBez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6" name="Freeform 391"/>
                <p:cNvSpPr>
                  <a:spLocks noEditPoints="1"/>
                </p:cNvSpPr>
                <p:nvPr/>
              </p:nvSpPr>
              <p:spPr bwMode="auto">
                <a:xfrm>
                  <a:off x="1776424" y="2765088"/>
                  <a:ext cx="1307775" cy="1576803"/>
                </a:xfrm>
                <a:custGeom>
                  <a:avLst/>
                  <a:gdLst>
                    <a:gd name="T0" fmla="*/ 10 w 304"/>
                    <a:gd name="T1" fmla="*/ 276 h 364"/>
                    <a:gd name="T2" fmla="*/ 0 w 304"/>
                    <a:gd name="T3" fmla="*/ 276 h 364"/>
                    <a:gd name="T4" fmla="*/ 0 w 304"/>
                    <a:gd name="T5" fmla="*/ 253 h 364"/>
                    <a:gd name="T6" fmla="*/ 10 w 304"/>
                    <a:gd name="T7" fmla="*/ 253 h 364"/>
                    <a:gd name="T8" fmla="*/ 10 w 304"/>
                    <a:gd name="T9" fmla="*/ 238 h 364"/>
                    <a:gd name="T10" fmla="*/ 7 w 304"/>
                    <a:gd name="T11" fmla="*/ 238 h 364"/>
                    <a:gd name="T12" fmla="*/ 7 w 304"/>
                    <a:gd name="T13" fmla="*/ 235 h 364"/>
                    <a:gd name="T14" fmla="*/ 11 w 304"/>
                    <a:gd name="T15" fmla="*/ 235 h 364"/>
                    <a:gd name="T16" fmla="*/ 11 w 304"/>
                    <a:gd name="T17" fmla="*/ 223 h 364"/>
                    <a:gd name="T18" fmla="*/ 12 w 304"/>
                    <a:gd name="T19" fmla="*/ 223 h 364"/>
                    <a:gd name="T20" fmla="*/ 12 w 304"/>
                    <a:gd name="T21" fmla="*/ 210 h 364"/>
                    <a:gd name="T22" fmla="*/ 10 w 304"/>
                    <a:gd name="T23" fmla="*/ 210 h 364"/>
                    <a:gd name="T24" fmla="*/ 10 w 304"/>
                    <a:gd name="T25" fmla="*/ 207 h 364"/>
                    <a:gd name="T26" fmla="*/ 13 w 304"/>
                    <a:gd name="T27" fmla="*/ 202 h 364"/>
                    <a:gd name="T28" fmla="*/ 13 w 304"/>
                    <a:gd name="T29" fmla="*/ 202 h 364"/>
                    <a:gd name="T30" fmla="*/ 24 w 304"/>
                    <a:gd name="T31" fmla="*/ 182 h 364"/>
                    <a:gd name="T32" fmla="*/ 46 w 304"/>
                    <a:gd name="T33" fmla="*/ 173 h 364"/>
                    <a:gd name="T34" fmla="*/ 57 w 304"/>
                    <a:gd name="T35" fmla="*/ 173 h 364"/>
                    <a:gd name="T36" fmla="*/ 57 w 304"/>
                    <a:gd name="T37" fmla="*/ 167 h 364"/>
                    <a:gd name="T38" fmla="*/ 57 w 304"/>
                    <a:gd name="T39" fmla="*/ 42 h 364"/>
                    <a:gd name="T40" fmla="*/ 53 w 304"/>
                    <a:gd name="T41" fmla="*/ 42 h 364"/>
                    <a:gd name="T42" fmla="*/ 53 w 304"/>
                    <a:gd name="T43" fmla="*/ 0 h 364"/>
                    <a:gd name="T44" fmla="*/ 304 w 304"/>
                    <a:gd name="T45" fmla="*/ 0 h 364"/>
                    <a:gd name="T46" fmla="*/ 304 w 304"/>
                    <a:gd name="T47" fmla="*/ 38 h 364"/>
                    <a:gd name="T48" fmla="*/ 264 w 304"/>
                    <a:gd name="T49" fmla="*/ 38 h 364"/>
                    <a:gd name="T50" fmla="*/ 264 w 304"/>
                    <a:gd name="T51" fmla="*/ 44 h 364"/>
                    <a:gd name="T52" fmla="*/ 275 w 304"/>
                    <a:gd name="T53" fmla="*/ 44 h 364"/>
                    <a:gd name="T54" fmla="*/ 275 w 304"/>
                    <a:gd name="T55" fmla="*/ 140 h 364"/>
                    <a:gd name="T56" fmla="*/ 275 w 304"/>
                    <a:gd name="T57" fmla="*/ 314 h 364"/>
                    <a:gd name="T58" fmla="*/ 226 w 304"/>
                    <a:gd name="T59" fmla="*/ 364 h 364"/>
                    <a:gd name="T60" fmla="*/ 177 w 304"/>
                    <a:gd name="T61" fmla="*/ 314 h 364"/>
                    <a:gd name="T62" fmla="*/ 177 w 304"/>
                    <a:gd name="T63" fmla="*/ 231 h 364"/>
                    <a:gd name="T64" fmla="*/ 135 w 304"/>
                    <a:gd name="T65" fmla="*/ 231 h 364"/>
                    <a:gd name="T66" fmla="*/ 135 w 304"/>
                    <a:gd name="T67" fmla="*/ 238 h 364"/>
                    <a:gd name="T68" fmla="*/ 138 w 304"/>
                    <a:gd name="T69" fmla="*/ 253 h 364"/>
                    <a:gd name="T70" fmla="*/ 143 w 304"/>
                    <a:gd name="T71" fmla="*/ 253 h 364"/>
                    <a:gd name="T72" fmla="*/ 143 w 304"/>
                    <a:gd name="T73" fmla="*/ 276 h 364"/>
                    <a:gd name="T74" fmla="*/ 134 w 304"/>
                    <a:gd name="T75" fmla="*/ 293 h 364"/>
                    <a:gd name="T76" fmla="*/ 134 w 304"/>
                    <a:gd name="T77" fmla="*/ 301 h 364"/>
                    <a:gd name="T78" fmla="*/ 89 w 304"/>
                    <a:gd name="T79" fmla="*/ 301 h 364"/>
                    <a:gd name="T80" fmla="*/ 89 w 304"/>
                    <a:gd name="T81" fmla="*/ 293 h 364"/>
                    <a:gd name="T82" fmla="*/ 56 w 304"/>
                    <a:gd name="T83" fmla="*/ 293 h 364"/>
                    <a:gd name="T84" fmla="*/ 53 w 304"/>
                    <a:gd name="T85" fmla="*/ 301 h 364"/>
                    <a:gd name="T86" fmla="*/ 10 w 304"/>
                    <a:gd name="T87" fmla="*/ 301 h 364"/>
                    <a:gd name="T88" fmla="*/ 10 w 304"/>
                    <a:gd name="T89" fmla="*/ 293 h 364"/>
                    <a:gd name="T90" fmla="*/ 10 w 304"/>
                    <a:gd name="T91" fmla="*/ 276 h 364"/>
                    <a:gd name="T92" fmla="*/ 177 w 304"/>
                    <a:gd name="T93" fmla="*/ 140 h 364"/>
                    <a:gd name="T94" fmla="*/ 198 w 304"/>
                    <a:gd name="T95" fmla="*/ 123 h 364"/>
                    <a:gd name="T96" fmla="*/ 198 w 304"/>
                    <a:gd name="T97" fmla="*/ 119 h 364"/>
                    <a:gd name="T98" fmla="*/ 149 w 304"/>
                    <a:gd name="T99" fmla="*/ 94 h 364"/>
                    <a:gd name="T100" fmla="*/ 140 w 304"/>
                    <a:gd name="T101" fmla="*/ 94 h 364"/>
                    <a:gd name="T102" fmla="*/ 135 w 304"/>
                    <a:gd name="T103" fmla="*/ 97 h 364"/>
                    <a:gd name="T104" fmla="*/ 127 w 304"/>
                    <a:gd name="T105" fmla="*/ 100 h 364"/>
                    <a:gd name="T106" fmla="*/ 127 w 304"/>
                    <a:gd name="T107" fmla="*/ 171 h 364"/>
                    <a:gd name="T108" fmla="*/ 93 w 304"/>
                    <a:gd name="T109" fmla="*/ 194 h 364"/>
                    <a:gd name="T110" fmla="*/ 93 w 304"/>
                    <a:gd name="T111" fmla="*/ 194 h 364"/>
                    <a:gd name="T112" fmla="*/ 177 w 304"/>
                    <a:gd name="T113" fmla="*/ 194 h 364"/>
                    <a:gd name="T114" fmla="*/ 177 w 304"/>
                    <a:gd name="T115" fmla="*/ 14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64">
                      <a:moveTo>
                        <a:pt x="10" y="276"/>
                      </a:moveTo>
                      <a:cubicBezTo>
                        <a:pt x="0" y="276"/>
                        <a:pt x="0" y="276"/>
                        <a:pt x="0" y="276"/>
                      </a:cubicBezTo>
                      <a:cubicBezTo>
                        <a:pt x="0" y="253"/>
                        <a:pt x="0" y="253"/>
                        <a:pt x="0" y="253"/>
                      </a:cubicBezTo>
                      <a:cubicBezTo>
                        <a:pt x="10" y="253"/>
                        <a:pt x="10" y="253"/>
                        <a:pt x="10" y="253"/>
                      </a:cubicBezTo>
                      <a:cubicBezTo>
                        <a:pt x="10" y="238"/>
                        <a:pt x="10" y="238"/>
                        <a:pt x="10" y="238"/>
                      </a:cubicBezTo>
                      <a:cubicBezTo>
                        <a:pt x="7" y="238"/>
                        <a:pt x="7" y="238"/>
                        <a:pt x="7" y="238"/>
                      </a:cubicBezTo>
                      <a:cubicBezTo>
                        <a:pt x="7" y="235"/>
                        <a:pt x="7" y="235"/>
                        <a:pt x="7" y="235"/>
                      </a:cubicBezTo>
                      <a:cubicBezTo>
                        <a:pt x="11" y="235"/>
                        <a:pt x="11" y="235"/>
                        <a:pt x="11" y="235"/>
                      </a:cubicBezTo>
                      <a:cubicBezTo>
                        <a:pt x="11" y="223"/>
                        <a:pt x="11" y="223"/>
                        <a:pt x="11" y="223"/>
                      </a:cubicBezTo>
                      <a:cubicBezTo>
                        <a:pt x="12" y="223"/>
                        <a:pt x="12" y="223"/>
                        <a:pt x="12" y="223"/>
                      </a:cubicBezTo>
                      <a:cubicBezTo>
                        <a:pt x="12" y="210"/>
                        <a:pt x="12" y="210"/>
                        <a:pt x="12" y="210"/>
                      </a:cubicBezTo>
                      <a:cubicBezTo>
                        <a:pt x="10" y="210"/>
                        <a:pt x="10" y="210"/>
                        <a:pt x="10" y="210"/>
                      </a:cubicBezTo>
                      <a:cubicBezTo>
                        <a:pt x="10" y="207"/>
                        <a:pt x="10" y="207"/>
                        <a:pt x="10" y="207"/>
                      </a:cubicBezTo>
                      <a:cubicBezTo>
                        <a:pt x="10" y="204"/>
                        <a:pt x="12" y="203"/>
                        <a:pt x="13" y="202"/>
                      </a:cubicBezTo>
                      <a:cubicBezTo>
                        <a:pt x="13" y="202"/>
                        <a:pt x="13" y="202"/>
                        <a:pt x="13" y="202"/>
                      </a:cubicBezTo>
                      <a:cubicBezTo>
                        <a:pt x="13" y="202"/>
                        <a:pt x="11" y="193"/>
                        <a:pt x="24" y="182"/>
                      </a:cubicBezTo>
                      <a:cubicBezTo>
                        <a:pt x="32" y="176"/>
                        <a:pt x="40" y="174"/>
                        <a:pt x="46" y="173"/>
                      </a:cubicBezTo>
                      <a:cubicBezTo>
                        <a:pt x="57" y="173"/>
                        <a:pt x="57" y="173"/>
                        <a:pt x="57" y="173"/>
                      </a:cubicBezTo>
                      <a:cubicBezTo>
                        <a:pt x="57" y="167"/>
                        <a:pt x="57" y="167"/>
                        <a:pt x="57" y="167"/>
                      </a:cubicBezTo>
                      <a:cubicBezTo>
                        <a:pt x="57" y="42"/>
                        <a:pt x="57" y="42"/>
                        <a:pt x="57" y="42"/>
                      </a:cubicBezTo>
                      <a:cubicBezTo>
                        <a:pt x="53" y="42"/>
                        <a:pt x="53" y="42"/>
                        <a:pt x="53" y="42"/>
                      </a:cubicBezTo>
                      <a:cubicBezTo>
                        <a:pt x="53" y="0"/>
                        <a:pt x="53" y="0"/>
                        <a:pt x="53" y="0"/>
                      </a:cubicBezTo>
                      <a:cubicBezTo>
                        <a:pt x="304" y="0"/>
                        <a:pt x="304" y="0"/>
                        <a:pt x="304" y="0"/>
                      </a:cubicBezTo>
                      <a:cubicBezTo>
                        <a:pt x="304" y="38"/>
                        <a:pt x="304" y="38"/>
                        <a:pt x="304" y="38"/>
                      </a:cubicBezTo>
                      <a:cubicBezTo>
                        <a:pt x="264" y="38"/>
                        <a:pt x="264" y="38"/>
                        <a:pt x="264" y="38"/>
                      </a:cubicBezTo>
                      <a:cubicBezTo>
                        <a:pt x="264" y="44"/>
                        <a:pt x="264" y="44"/>
                        <a:pt x="264" y="44"/>
                      </a:cubicBezTo>
                      <a:cubicBezTo>
                        <a:pt x="275" y="44"/>
                        <a:pt x="275" y="44"/>
                        <a:pt x="275" y="44"/>
                      </a:cubicBezTo>
                      <a:cubicBezTo>
                        <a:pt x="275" y="140"/>
                        <a:pt x="275" y="140"/>
                        <a:pt x="275" y="140"/>
                      </a:cubicBezTo>
                      <a:cubicBezTo>
                        <a:pt x="275" y="314"/>
                        <a:pt x="275" y="314"/>
                        <a:pt x="275" y="314"/>
                      </a:cubicBezTo>
                      <a:cubicBezTo>
                        <a:pt x="226" y="364"/>
                        <a:pt x="226" y="364"/>
                        <a:pt x="226" y="364"/>
                      </a:cubicBezTo>
                      <a:cubicBezTo>
                        <a:pt x="177" y="314"/>
                        <a:pt x="177" y="314"/>
                        <a:pt x="177" y="314"/>
                      </a:cubicBezTo>
                      <a:cubicBezTo>
                        <a:pt x="177" y="231"/>
                        <a:pt x="177" y="231"/>
                        <a:pt x="177" y="231"/>
                      </a:cubicBezTo>
                      <a:cubicBezTo>
                        <a:pt x="135" y="231"/>
                        <a:pt x="135" y="231"/>
                        <a:pt x="135" y="231"/>
                      </a:cubicBezTo>
                      <a:cubicBezTo>
                        <a:pt x="135" y="238"/>
                        <a:pt x="135" y="238"/>
                        <a:pt x="135" y="238"/>
                      </a:cubicBezTo>
                      <a:cubicBezTo>
                        <a:pt x="138" y="253"/>
                        <a:pt x="138" y="253"/>
                        <a:pt x="138" y="253"/>
                      </a:cubicBezTo>
                      <a:cubicBezTo>
                        <a:pt x="143" y="253"/>
                        <a:pt x="143" y="253"/>
                        <a:pt x="143" y="253"/>
                      </a:cubicBezTo>
                      <a:cubicBezTo>
                        <a:pt x="143" y="276"/>
                        <a:pt x="143" y="276"/>
                        <a:pt x="143" y="276"/>
                      </a:cubicBezTo>
                      <a:cubicBezTo>
                        <a:pt x="134" y="293"/>
                        <a:pt x="134" y="293"/>
                        <a:pt x="134" y="293"/>
                      </a:cubicBezTo>
                      <a:cubicBezTo>
                        <a:pt x="134" y="301"/>
                        <a:pt x="134" y="301"/>
                        <a:pt x="134" y="301"/>
                      </a:cubicBezTo>
                      <a:cubicBezTo>
                        <a:pt x="89" y="301"/>
                        <a:pt x="89" y="301"/>
                        <a:pt x="89" y="301"/>
                      </a:cubicBezTo>
                      <a:cubicBezTo>
                        <a:pt x="89" y="293"/>
                        <a:pt x="89" y="293"/>
                        <a:pt x="89" y="293"/>
                      </a:cubicBezTo>
                      <a:cubicBezTo>
                        <a:pt x="56" y="293"/>
                        <a:pt x="56" y="293"/>
                        <a:pt x="56" y="293"/>
                      </a:cubicBezTo>
                      <a:cubicBezTo>
                        <a:pt x="53" y="301"/>
                        <a:pt x="53" y="301"/>
                        <a:pt x="53" y="301"/>
                      </a:cubicBezTo>
                      <a:cubicBezTo>
                        <a:pt x="10" y="301"/>
                        <a:pt x="10" y="301"/>
                        <a:pt x="10" y="301"/>
                      </a:cubicBezTo>
                      <a:cubicBezTo>
                        <a:pt x="10" y="293"/>
                        <a:pt x="10" y="293"/>
                        <a:pt x="10" y="293"/>
                      </a:cubicBezTo>
                      <a:cubicBezTo>
                        <a:pt x="10" y="276"/>
                        <a:pt x="10" y="276"/>
                        <a:pt x="10" y="276"/>
                      </a:cubicBezTo>
                      <a:close/>
                      <a:moveTo>
                        <a:pt x="177" y="140"/>
                      </a:moveTo>
                      <a:cubicBezTo>
                        <a:pt x="198" y="123"/>
                        <a:pt x="198" y="123"/>
                        <a:pt x="198" y="123"/>
                      </a:cubicBezTo>
                      <a:cubicBezTo>
                        <a:pt x="198" y="119"/>
                        <a:pt x="198" y="119"/>
                        <a:pt x="198" y="119"/>
                      </a:cubicBezTo>
                      <a:cubicBezTo>
                        <a:pt x="149" y="94"/>
                        <a:pt x="149" y="94"/>
                        <a:pt x="149" y="94"/>
                      </a:cubicBezTo>
                      <a:cubicBezTo>
                        <a:pt x="140" y="94"/>
                        <a:pt x="140" y="94"/>
                        <a:pt x="140" y="94"/>
                      </a:cubicBezTo>
                      <a:cubicBezTo>
                        <a:pt x="135" y="97"/>
                        <a:pt x="135" y="97"/>
                        <a:pt x="135" y="97"/>
                      </a:cubicBezTo>
                      <a:cubicBezTo>
                        <a:pt x="127" y="100"/>
                        <a:pt x="127" y="100"/>
                        <a:pt x="127" y="100"/>
                      </a:cubicBezTo>
                      <a:cubicBezTo>
                        <a:pt x="127" y="171"/>
                        <a:pt x="127" y="171"/>
                        <a:pt x="127" y="171"/>
                      </a:cubicBezTo>
                      <a:cubicBezTo>
                        <a:pt x="93" y="194"/>
                        <a:pt x="93" y="194"/>
                        <a:pt x="93" y="194"/>
                      </a:cubicBezTo>
                      <a:cubicBezTo>
                        <a:pt x="93" y="194"/>
                        <a:pt x="93" y="194"/>
                        <a:pt x="93" y="194"/>
                      </a:cubicBezTo>
                      <a:cubicBezTo>
                        <a:pt x="177" y="194"/>
                        <a:pt x="177" y="194"/>
                        <a:pt x="177" y="194"/>
                      </a:cubicBezTo>
                      <a:cubicBezTo>
                        <a:pt x="177" y="140"/>
                        <a:pt x="177" y="140"/>
                        <a:pt x="177" y="14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7" name="Freeform 392"/>
                <p:cNvSpPr>
                  <a:spLocks noEditPoints="1"/>
                </p:cNvSpPr>
                <p:nvPr/>
              </p:nvSpPr>
              <p:spPr bwMode="auto">
                <a:xfrm>
                  <a:off x="1776424" y="2929494"/>
                  <a:ext cx="1188207" cy="1195680"/>
                </a:xfrm>
                <a:custGeom>
                  <a:avLst/>
                  <a:gdLst>
                    <a:gd name="T0" fmla="*/ 78 w 159"/>
                    <a:gd name="T1" fmla="*/ 1 h 160"/>
                    <a:gd name="T2" fmla="*/ 86 w 159"/>
                    <a:gd name="T3" fmla="*/ 1 h 160"/>
                    <a:gd name="T4" fmla="*/ 86 w 159"/>
                    <a:gd name="T5" fmla="*/ 33 h 160"/>
                    <a:gd name="T6" fmla="*/ 78 w 159"/>
                    <a:gd name="T7" fmla="*/ 33 h 160"/>
                    <a:gd name="T8" fmla="*/ 78 w 159"/>
                    <a:gd name="T9" fmla="*/ 1 h 160"/>
                    <a:gd name="T10" fmla="*/ 78 w 159"/>
                    <a:gd name="T11" fmla="*/ 1 h 160"/>
                    <a:gd name="T12" fmla="*/ 33 w 159"/>
                    <a:gd name="T13" fmla="*/ 75 h 160"/>
                    <a:gd name="T14" fmla="*/ 33 w 159"/>
                    <a:gd name="T15" fmla="*/ 61 h 160"/>
                    <a:gd name="T16" fmla="*/ 73 w 159"/>
                    <a:gd name="T17" fmla="*/ 61 h 160"/>
                    <a:gd name="T18" fmla="*/ 73 w 159"/>
                    <a:gd name="T19" fmla="*/ 75 h 160"/>
                    <a:gd name="T20" fmla="*/ 33 w 159"/>
                    <a:gd name="T21" fmla="*/ 75 h 160"/>
                    <a:gd name="T22" fmla="*/ 33 w 159"/>
                    <a:gd name="T23" fmla="*/ 75 h 160"/>
                    <a:gd name="T24" fmla="*/ 33 w 159"/>
                    <a:gd name="T25" fmla="*/ 51 h 160"/>
                    <a:gd name="T26" fmla="*/ 33 w 159"/>
                    <a:gd name="T27" fmla="*/ 34 h 160"/>
                    <a:gd name="T28" fmla="*/ 73 w 159"/>
                    <a:gd name="T29" fmla="*/ 34 h 160"/>
                    <a:gd name="T30" fmla="*/ 73 w 159"/>
                    <a:gd name="T31" fmla="*/ 51 h 160"/>
                    <a:gd name="T32" fmla="*/ 33 w 159"/>
                    <a:gd name="T33" fmla="*/ 51 h 160"/>
                    <a:gd name="T34" fmla="*/ 33 w 159"/>
                    <a:gd name="T35" fmla="*/ 51 h 160"/>
                    <a:gd name="T36" fmla="*/ 115 w 159"/>
                    <a:gd name="T37" fmla="*/ 1 h 160"/>
                    <a:gd name="T38" fmla="*/ 120 w 159"/>
                    <a:gd name="T39" fmla="*/ 1 h 160"/>
                    <a:gd name="T40" fmla="*/ 120 w 159"/>
                    <a:gd name="T41" fmla="*/ 0 h 160"/>
                    <a:gd name="T42" fmla="*/ 124 w 159"/>
                    <a:gd name="T43" fmla="*/ 0 h 160"/>
                    <a:gd name="T44" fmla="*/ 124 w 159"/>
                    <a:gd name="T45" fmla="*/ 48 h 160"/>
                    <a:gd name="T46" fmla="*/ 115 w 159"/>
                    <a:gd name="T47" fmla="*/ 48 h 160"/>
                    <a:gd name="T48" fmla="*/ 115 w 159"/>
                    <a:gd name="T49" fmla="*/ 1 h 160"/>
                    <a:gd name="T50" fmla="*/ 115 w 159"/>
                    <a:gd name="T51" fmla="*/ 1 h 160"/>
                    <a:gd name="T52" fmla="*/ 89 w 159"/>
                    <a:gd name="T53" fmla="*/ 1 h 160"/>
                    <a:gd name="T54" fmla="*/ 101 w 159"/>
                    <a:gd name="T55" fmla="*/ 1 h 160"/>
                    <a:gd name="T56" fmla="*/ 101 w 159"/>
                    <a:gd name="T57" fmla="*/ 1 h 160"/>
                    <a:gd name="T58" fmla="*/ 112 w 159"/>
                    <a:gd name="T59" fmla="*/ 1 h 160"/>
                    <a:gd name="T60" fmla="*/ 112 w 159"/>
                    <a:gd name="T61" fmla="*/ 37 h 160"/>
                    <a:gd name="T62" fmla="*/ 94 w 159"/>
                    <a:gd name="T63" fmla="*/ 37 h 160"/>
                    <a:gd name="T64" fmla="*/ 94 w 159"/>
                    <a:gd name="T65" fmla="*/ 12 h 160"/>
                    <a:gd name="T66" fmla="*/ 89 w 159"/>
                    <a:gd name="T67" fmla="*/ 12 h 160"/>
                    <a:gd name="T68" fmla="*/ 89 w 159"/>
                    <a:gd name="T69" fmla="*/ 1 h 160"/>
                    <a:gd name="T70" fmla="*/ 89 w 159"/>
                    <a:gd name="T71" fmla="*/ 1 h 160"/>
                    <a:gd name="T72" fmla="*/ 0 w 159"/>
                    <a:gd name="T73" fmla="*/ 125 h 160"/>
                    <a:gd name="T74" fmla="*/ 82 w 159"/>
                    <a:gd name="T75" fmla="*/ 125 h 160"/>
                    <a:gd name="T76" fmla="*/ 82 w 159"/>
                    <a:gd name="T77" fmla="*/ 138 h 160"/>
                    <a:gd name="T78" fmla="*/ 0 w 159"/>
                    <a:gd name="T79" fmla="*/ 138 h 160"/>
                    <a:gd name="T80" fmla="*/ 0 w 159"/>
                    <a:gd name="T81" fmla="*/ 125 h 160"/>
                    <a:gd name="T82" fmla="*/ 0 w 159"/>
                    <a:gd name="T83" fmla="*/ 125 h 160"/>
                    <a:gd name="T84" fmla="*/ 102 w 159"/>
                    <a:gd name="T85" fmla="*/ 59 h 160"/>
                    <a:gd name="T86" fmla="*/ 159 w 159"/>
                    <a:gd name="T87" fmla="*/ 59 h 160"/>
                    <a:gd name="T88" fmla="*/ 159 w 159"/>
                    <a:gd name="T89" fmla="*/ 160 h 160"/>
                    <a:gd name="T90" fmla="*/ 102 w 159"/>
                    <a:gd name="T91" fmla="*/ 160 h 160"/>
                    <a:gd name="T92" fmla="*/ 102 w 159"/>
                    <a:gd name="T93" fmla="*/ 59 h 160"/>
                    <a:gd name="T94" fmla="*/ 102 w 159"/>
                    <a:gd name="T95"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160">
                      <a:moveTo>
                        <a:pt x="78" y="1"/>
                      </a:moveTo>
                      <a:lnTo>
                        <a:pt x="86" y="1"/>
                      </a:lnTo>
                      <a:lnTo>
                        <a:pt x="86" y="33"/>
                      </a:lnTo>
                      <a:lnTo>
                        <a:pt x="78" y="33"/>
                      </a:lnTo>
                      <a:lnTo>
                        <a:pt x="78" y="1"/>
                      </a:lnTo>
                      <a:lnTo>
                        <a:pt x="78" y="1"/>
                      </a:lnTo>
                      <a:close/>
                      <a:moveTo>
                        <a:pt x="33" y="75"/>
                      </a:moveTo>
                      <a:lnTo>
                        <a:pt x="33" y="61"/>
                      </a:lnTo>
                      <a:lnTo>
                        <a:pt x="73" y="61"/>
                      </a:lnTo>
                      <a:lnTo>
                        <a:pt x="73" y="75"/>
                      </a:lnTo>
                      <a:lnTo>
                        <a:pt x="33" y="75"/>
                      </a:lnTo>
                      <a:lnTo>
                        <a:pt x="33" y="75"/>
                      </a:lnTo>
                      <a:close/>
                      <a:moveTo>
                        <a:pt x="33" y="51"/>
                      </a:moveTo>
                      <a:lnTo>
                        <a:pt x="33" y="34"/>
                      </a:lnTo>
                      <a:lnTo>
                        <a:pt x="73" y="34"/>
                      </a:lnTo>
                      <a:lnTo>
                        <a:pt x="73" y="51"/>
                      </a:lnTo>
                      <a:lnTo>
                        <a:pt x="33" y="51"/>
                      </a:lnTo>
                      <a:lnTo>
                        <a:pt x="33" y="51"/>
                      </a:lnTo>
                      <a:close/>
                      <a:moveTo>
                        <a:pt x="115" y="1"/>
                      </a:moveTo>
                      <a:lnTo>
                        <a:pt x="120" y="1"/>
                      </a:lnTo>
                      <a:lnTo>
                        <a:pt x="120" y="0"/>
                      </a:lnTo>
                      <a:lnTo>
                        <a:pt x="124" y="0"/>
                      </a:lnTo>
                      <a:lnTo>
                        <a:pt x="124" y="48"/>
                      </a:lnTo>
                      <a:lnTo>
                        <a:pt x="115" y="48"/>
                      </a:lnTo>
                      <a:lnTo>
                        <a:pt x="115" y="1"/>
                      </a:lnTo>
                      <a:lnTo>
                        <a:pt x="115" y="1"/>
                      </a:lnTo>
                      <a:close/>
                      <a:moveTo>
                        <a:pt x="89" y="1"/>
                      </a:moveTo>
                      <a:lnTo>
                        <a:pt x="101" y="1"/>
                      </a:lnTo>
                      <a:lnTo>
                        <a:pt x="101" y="1"/>
                      </a:lnTo>
                      <a:lnTo>
                        <a:pt x="112" y="1"/>
                      </a:lnTo>
                      <a:lnTo>
                        <a:pt x="112" y="37"/>
                      </a:lnTo>
                      <a:lnTo>
                        <a:pt x="94" y="37"/>
                      </a:lnTo>
                      <a:lnTo>
                        <a:pt x="94" y="12"/>
                      </a:lnTo>
                      <a:lnTo>
                        <a:pt x="89" y="12"/>
                      </a:lnTo>
                      <a:lnTo>
                        <a:pt x="89" y="1"/>
                      </a:lnTo>
                      <a:lnTo>
                        <a:pt x="89" y="1"/>
                      </a:lnTo>
                      <a:close/>
                      <a:moveTo>
                        <a:pt x="0" y="125"/>
                      </a:moveTo>
                      <a:lnTo>
                        <a:pt x="82" y="125"/>
                      </a:lnTo>
                      <a:lnTo>
                        <a:pt x="82" y="138"/>
                      </a:lnTo>
                      <a:lnTo>
                        <a:pt x="0" y="138"/>
                      </a:lnTo>
                      <a:lnTo>
                        <a:pt x="0" y="125"/>
                      </a:lnTo>
                      <a:lnTo>
                        <a:pt x="0" y="125"/>
                      </a:lnTo>
                      <a:close/>
                      <a:moveTo>
                        <a:pt x="102" y="59"/>
                      </a:moveTo>
                      <a:lnTo>
                        <a:pt x="159" y="59"/>
                      </a:lnTo>
                      <a:lnTo>
                        <a:pt x="159" y="160"/>
                      </a:lnTo>
                      <a:lnTo>
                        <a:pt x="102" y="160"/>
                      </a:lnTo>
                      <a:lnTo>
                        <a:pt x="102" y="59"/>
                      </a:lnTo>
                      <a:lnTo>
                        <a:pt x="102" y="59"/>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38" name="Freeform 393"/>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39" name="Freeform 394"/>
                <p:cNvSpPr>
                  <a:spLocks noEditPoints="1"/>
                </p:cNvSpPr>
                <p:nvPr/>
              </p:nvSpPr>
              <p:spPr bwMode="auto">
                <a:xfrm>
                  <a:off x="2052925" y="3011697"/>
                  <a:ext cx="732354" cy="934125"/>
                </a:xfrm>
                <a:custGeom>
                  <a:avLst/>
                  <a:gdLst>
                    <a:gd name="T0" fmla="*/ 78 w 98"/>
                    <a:gd name="T1" fmla="*/ 20 h 125"/>
                    <a:gd name="T2" fmla="*/ 78 w 98"/>
                    <a:gd name="T3" fmla="*/ 11 h 125"/>
                    <a:gd name="T4" fmla="*/ 87 w 98"/>
                    <a:gd name="T5" fmla="*/ 11 h 125"/>
                    <a:gd name="T6" fmla="*/ 87 w 98"/>
                    <a:gd name="T7" fmla="*/ 20 h 125"/>
                    <a:gd name="T8" fmla="*/ 78 w 98"/>
                    <a:gd name="T9" fmla="*/ 20 h 125"/>
                    <a:gd name="T10" fmla="*/ 78 w 98"/>
                    <a:gd name="T11" fmla="*/ 20 h 125"/>
                    <a:gd name="T12" fmla="*/ 61 w 98"/>
                    <a:gd name="T13" fmla="*/ 12 h 125"/>
                    <a:gd name="T14" fmla="*/ 61 w 98"/>
                    <a:gd name="T15" fmla="*/ 3 h 125"/>
                    <a:gd name="T16" fmla="*/ 70 w 98"/>
                    <a:gd name="T17" fmla="*/ 3 h 125"/>
                    <a:gd name="T18" fmla="*/ 70 w 98"/>
                    <a:gd name="T19" fmla="*/ 12 h 125"/>
                    <a:gd name="T20" fmla="*/ 61 w 98"/>
                    <a:gd name="T21" fmla="*/ 12 h 125"/>
                    <a:gd name="T22" fmla="*/ 61 w 98"/>
                    <a:gd name="T23" fmla="*/ 12 h 125"/>
                    <a:gd name="T24" fmla="*/ 41 w 98"/>
                    <a:gd name="T25" fmla="*/ 10 h 125"/>
                    <a:gd name="T26" fmla="*/ 41 w 98"/>
                    <a:gd name="T27" fmla="*/ 0 h 125"/>
                    <a:gd name="T28" fmla="*/ 49 w 98"/>
                    <a:gd name="T29" fmla="*/ 0 h 125"/>
                    <a:gd name="T30" fmla="*/ 49 w 98"/>
                    <a:gd name="T31" fmla="*/ 10 h 125"/>
                    <a:gd name="T32" fmla="*/ 41 w 98"/>
                    <a:gd name="T33" fmla="*/ 10 h 125"/>
                    <a:gd name="T34" fmla="*/ 41 w 98"/>
                    <a:gd name="T35" fmla="*/ 10 h 125"/>
                    <a:gd name="T36" fmla="*/ 11 w 98"/>
                    <a:gd name="T37" fmla="*/ 36 h 125"/>
                    <a:gd name="T38" fmla="*/ 11 w 98"/>
                    <a:gd name="T39" fmla="*/ 27 h 125"/>
                    <a:gd name="T40" fmla="*/ 20 w 98"/>
                    <a:gd name="T41" fmla="*/ 27 h 125"/>
                    <a:gd name="T42" fmla="*/ 20 w 98"/>
                    <a:gd name="T43" fmla="*/ 36 h 125"/>
                    <a:gd name="T44" fmla="*/ 11 w 98"/>
                    <a:gd name="T45" fmla="*/ 36 h 125"/>
                    <a:gd name="T46" fmla="*/ 11 w 98"/>
                    <a:gd name="T47" fmla="*/ 36 h 125"/>
                    <a:gd name="T48" fmla="*/ 89 w 98"/>
                    <a:gd name="T49" fmla="*/ 98 h 125"/>
                    <a:gd name="T50" fmla="*/ 89 w 98"/>
                    <a:gd name="T51" fmla="*/ 89 h 125"/>
                    <a:gd name="T52" fmla="*/ 98 w 98"/>
                    <a:gd name="T53" fmla="*/ 89 h 125"/>
                    <a:gd name="T54" fmla="*/ 98 w 98"/>
                    <a:gd name="T55" fmla="*/ 98 h 125"/>
                    <a:gd name="T56" fmla="*/ 89 w 98"/>
                    <a:gd name="T57" fmla="*/ 98 h 125"/>
                    <a:gd name="T58" fmla="*/ 89 w 98"/>
                    <a:gd name="T59" fmla="*/ 98 h 125"/>
                    <a:gd name="T60" fmla="*/ 11 w 98"/>
                    <a:gd name="T61" fmla="*/ 60 h 125"/>
                    <a:gd name="T62" fmla="*/ 11 w 98"/>
                    <a:gd name="T63" fmla="*/ 51 h 125"/>
                    <a:gd name="T64" fmla="*/ 20 w 98"/>
                    <a:gd name="T65" fmla="*/ 51 h 125"/>
                    <a:gd name="T66" fmla="*/ 20 w 98"/>
                    <a:gd name="T67" fmla="*/ 60 h 125"/>
                    <a:gd name="T68" fmla="*/ 11 w 98"/>
                    <a:gd name="T69" fmla="*/ 60 h 125"/>
                    <a:gd name="T70" fmla="*/ 11 w 98"/>
                    <a:gd name="T71" fmla="*/ 60 h 125"/>
                    <a:gd name="T72" fmla="*/ 0 w 98"/>
                    <a:gd name="T73" fmla="*/ 125 h 125"/>
                    <a:gd name="T74" fmla="*/ 0 w 98"/>
                    <a:gd name="T75" fmla="*/ 115 h 125"/>
                    <a:gd name="T76" fmla="*/ 9 w 98"/>
                    <a:gd name="T77" fmla="*/ 115 h 125"/>
                    <a:gd name="T78" fmla="*/ 9 w 98"/>
                    <a:gd name="T79" fmla="*/ 125 h 125"/>
                    <a:gd name="T80" fmla="*/ 0 w 98"/>
                    <a:gd name="T81" fmla="*/ 125 h 125"/>
                    <a:gd name="T82" fmla="*/ 0 w 98"/>
                    <a:gd name="T8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 h="125">
                      <a:moveTo>
                        <a:pt x="78" y="20"/>
                      </a:moveTo>
                      <a:lnTo>
                        <a:pt x="78" y="11"/>
                      </a:lnTo>
                      <a:lnTo>
                        <a:pt x="87" y="11"/>
                      </a:lnTo>
                      <a:lnTo>
                        <a:pt x="87" y="20"/>
                      </a:lnTo>
                      <a:lnTo>
                        <a:pt x="78" y="20"/>
                      </a:lnTo>
                      <a:lnTo>
                        <a:pt x="78" y="20"/>
                      </a:lnTo>
                      <a:close/>
                      <a:moveTo>
                        <a:pt x="61" y="12"/>
                      </a:moveTo>
                      <a:lnTo>
                        <a:pt x="61" y="3"/>
                      </a:lnTo>
                      <a:lnTo>
                        <a:pt x="70" y="3"/>
                      </a:lnTo>
                      <a:lnTo>
                        <a:pt x="70" y="12"/>
                      </a:lnTo>
                      <a:lnTo>
                        <a:pt x="61" y="12"/>
                      </a:lnTo>
                      <a:lnTo>
                        <a:pt x="61" y="12"/>
                      </a:lnTo>
                      <a:close/>
                      <a:moveTo>
                        <a:pt x="41" y="10"/>
                      </a:moveTo>
                      <a:lnTo>
                        <a:pt x="41" y="0"/>
                      </a:lnTo>
                      <a:lnTo>
                        <a:pt x="49" y="0"/>
                      </a:lnTo>
                      <a:lnTo>
                        <a:pt x="49" y="10"/>
                      </a:lnTo>
                      <a:lnTo>
                        <a:pt x="41" y="10"/>
                      </a:lnTo>
                      <a:lnTo>
                        <a:pt x="41" y="10"/>
                      </a:lnTo>
                      <a:close/>
                      <a:moveTo>
                        <a:pt x="11" y="36"/>
                      </a:moveTo>
                      <a:lnTo>
                        <a:pt x="11" y="27"/>
                      </a:lnTo>
                      <a:lnTo>
                        <a:pt x="20" y="27"/>
                      </a:lnTo>
                      <a:lnTo>
                        <a:pt x="20" y="36"/>
                      </a:lnTo>
                      <a:lnTo>
                        <a:pt x="11" y="36"/>
                      </a:lnTo>
                      <a:lnTo>
                        <a:pt x="11" y="36"/>
                      </a:lnTo>
                      <a:close/>
                      <a:moveTo>
                        <a:pt x="89" y="98"/>
                      </a:moveTo>
                      <a:lnTo>
                        <a:pt x="89" y="89"/>
                      </a:lnTo>
                      <a:lnTo>
                        <a:pt x="98" y="89"/>
                      </a:lnTo>
                      <a:lnTo>
                        <a:pt x="98" y="98"/>
                      </a:lnTo>
                      <a:lnTo>
                        <a:pt x="89" y="98"/>
                      </a:lnTo>
                      <a:lnTo>
                        <a:pt x="89" y="98"/>
                      </a:lnTo>
                      <a:close/>
                      <a:moveTo>
                        <a:pt x="11" y="60"/>
                      </a:moveTo>
                      <a:lnTo>
                        <a:pt x="11" y="51"/>
                      </a:lnTo>
                      <a:lnTo>
                        <a:pt x="20" y="51"/>
                      </a:lnTo>
                      <a:lnTo>
                        <a:pt x="20" y="60"/>
                      </a:lnTo>
                      <a:lnTo>
                        <a:pt x="11" y="60"/>
                      </a:lnTo>
                      <a:lnTo>
                        <a:pt x="11" y="60"/>
                      </a:lnTo>
                      <a:close/>
                      <a:moveTo>
                        <a:pt x="0" y="125"/>
                      </a:moveTo>
                      <a:lnTo>
                        <a:pt x="0" y="115"/>
                      </a:lnTo>
                      <a:lnTo>
                        <a:pt x="9" y="115"/>
                      </a:lnTo>
                      <a:lnTo>
                        <a:pt x="9" y="125"/>
                      </a:lnTo>
                      <a:lnTo>
                        <a:pt x="0" y="125"/>
                      </a:lnTo>
                      <a:lnTo>
                        <a:pt x="0" y="125"/>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40" name="Freeform 395"/>
                <p:cNvSpPr>
                  <a:spLocks/>
                </p:cNvSpPr>
                <p:nvPr/>
              </p:nvSpPr>
              <p:spPr bwMode="auto">
                <a:xfrm>
                  <a:off x="2067871" y="3893511"/>
                  <a:ext cx="29892" cy="37365"/>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3 w 4"/>
                    <a:gd name="T13" fmla="*/ 2 h 5"/>
                    <a:gd name="T14" fmla="*/ 3 w 4"/>
                    <a:gd name="T15" fmla="*/ 3 h 5"/>
                    <a:gd name="T16" fmla="*/ 2 w 4"/>
                    <a:gd name="T17" fmla="*/ 3 h 5"/>
                    <a:gd name="T18" fmla="*/ 2 w 4"/>
                    <a:gd name="T19" fmla="*/ 5 h 5"/>
                    <a:gd name="T20" fmla="*/ 3 w 4"/>
                    <a:gd name="T21" fmla="*/ 5 h 5"/>
                    <a:gd name="T22" fmla="*/ 3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3" y="2"/>
                      </a:lnTo>
                      <a:lnTo>
                        <a:pt x="3" y="3"/>
                      </a:lnTo>
                      <a:lnTo>
                        <a:pt x="2" y="3"/>
                      </a:lnTo>
                      <a:lnTo>
                        <a:pt x="2" y="5"/>
                      </a:lnTo>
                      <a:lnTo>
                        <a:pt x="3" y="5"/>
                      </a:lnTo>
                      <a:lnTo>
                        <a:pt x="3"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1" name="Freeform 396"/>
                <p:cNvSpPr>
                  <a:spLocks noEditPoints="1"/>
                </p:cNvSpPr>
                <p:nvPr/>
              </p:nvSpPr>
              <p:spPr bwMode="auto">
                <a:xfrm>
                  <a:off x="2157547" y="3407766"/>
                  <a:ext cx="29892" cy="44838"/>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2 h 6"/>
                    <a:gd name="T12" fmla="*/ 1 w 4"/>
                    <a:gd name="T13" fmla="*/ 2 h 6"/>
                    <a:gd name="T14" fmla="*/ 1 w 4"/>
                    <a:gd name="T15" fmla="*/ 1 h 6"/>
                    <a:gd name="T16" fmla="*/ 3 w 4"/>
                    <a:gd name="T17" fmla="*/ 1 h 6"/>
                    <a:gd name="T18" fmla="*/ 3 w 4"/>
                    <a:gd name="T19" fmla="*/ 0 h 6"/>
                    <a:gd name="T20" fmla="*/ 1 w 4"/>
                    <a:gd name="T21" fmla="*/ 0 h 6"/>
                    <a:gd name="T22" fmla="*/ 1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5 h 6"/>
                    <a:gd name="T46" fmla="*/ 1 w 4"/>
                    <a:gd name="T47" fmla="*/ 5 h 6"/>
                    <a:gd name="T48" fmla="*/ 1 w 4"/>
                    <a:gd name="T49" fmla="*/ 3 h 6"/>
                    <a:gd name="T50" fmla="*/ 3 w 4"/>
                    <a:gd name="T51" fmla="*/ 3 h 6"/>
                    <a:gd name="T52" fmla="*/ 3 w 4"/>
                    <a:gd name="T53" fmla="*/ 5 h 6"/>
                    <a:gd name="T54" fmla="*/ 3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2" name="Freeform 397"/>
                <p:cNvSpPr>
                  <a:spLocks/>
                </p:cNvSpPr>
                <p:nvPr/>
              </p:nvSpPr>
              <p:spPr bwMode="auto">
                <a:xfrm>
                  <a:off x="2740441" y="3691740"/>
                  <a:ext cx="14946" cy="37365"/>
                </a:xfrm>
                <a:custGeom>
                  <a:avLst/>
                  <a:gdLst>
                    <a:gd name="T0" fmla="*/ 2 w 2"/>
                    <a:gd name="T1" fmla="*/ 5 h 5"/>
                    <a:gd name="T2" fmla="*/ 2 w 2"/>
                    <a:gd name="T3" fmla="*/ 0 h 5"/>
                    <a:gd name="T4" fmla="*/ 1 w 2"/>
                    <a:gd name="T5" fmla="*/ 0 h 5"/>
                    <a:gd name="T6" fmla="*/ 1 w 2"/>
                    <a:gd name="T7" fmla="*/ 1 h 5"/>
                    <a:gd name="T8" fmla="*/ 1 w 2"/>
                    <a:gd name="T9" fmla="*/ 1 h 5"/>
                    <a:gd name="T10" fmla="*/ 1 w 2"/>
                    <a:gd name="T11" fmla="*/ 1 h 5"/>
                    <a:gd name="T12" fmla="*/ 0 w 2"/>
                    <a:gd name="T13" fmla="*/ 1 h 5"/>
                    <a:gd name="T14" fmla="*/ 0 w 2"/>
                    <a:gd name="T15" fmla="*/ 2 h 5"/>
                    <a:gd name="T16" fmla="*/ 1 w 2"/>
                    <a:gd name="T17" fmla="*/ 2 h 5"/>
                    <a:gd name="T18" fmla="*/ 1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1" y="1"/>
                      </a:lnTo>
                      <a:lnTo>
                        <a:pt x="1" y="1"/>
                      </a:lnTo>
                      <a:lnTo>
                        <a:pt x="0" y="1"/>
                      </a:lnTo>
                      <a:lnTo>
                        <a:pt x="0" y="2"/>
                      </a:lnTo>
                      <a:lnTo>
                        <a:pt x="1" y="2"/>
                      </a:lnTo>
                      <a:lnTo>
                        <a:pt x="1"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3" name="Freeform 398"/>
                <p:cNvSpPr>
                  <a:spLocks/>
                </p:cNvSpPr>
                <p:nvPr/>
              </p:nvSpPr>
              <p:spPr bwMode="auto">
                <a:xfrm>
                  <a:off x="2157547" y="3228414"/>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4 h 5"/>
                    <a:gd name="T28" fmla="*/ 0 w 4"/>
                    <a:gd name="T29" fmla="*/ 4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1"/>
                      </a:lnTo>
                      <a:lnTo>
                        <a:pt x="4" y="1"/>
                      </a:lnTo>
                      <a:lnTo>
                        <a:pt x="4" y="0"/>
                      </a:lnTo>
                      <a:lnTo>
                        <a:pt x="0" y="0"/>
                      </a:lnTo>
                      <a:lnTo>
                        <a:pt x="0" y="2"/>
                      </a:lnTo>
                      <a:lnTo>
                        <a:pt x="3" y="2"/>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4" name="Freeform 399"/>
                <p:cNvSpPr>
                  <a:spLocks noEditPoints="1"/>
                </p:cNvSpPr>
                <p:nvPr/>
              </p:nvSpPr>
              <p:spPr bwMode="auto">
                <a:xfrm>
                  <a:off x="2366791" y="3034116"/>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5" name="Freeform 400"/>
                <p:cNvSpPr>
                  <a:spLocks/>
                </p:cNvSpPr>
                <p:nvPr/>
              </p:nvSpPr>
              <p:spPr bwMode="auto">
                <a:xfrm>
                  <a:off x="2523724" y="3049062"/>
                  <a:ext cx="29892" cy="44838"/>
                </a:xfrm>
                <a:custGeom>
                  <a:avLst/>
                  <a:gdLst>
                    <a:gd name="T0" fmla="*/ 4 w 4"/>
                    <a:gd name="T1" fmla="*/ 5 h 6"/>
                    <a:gd name="T2" fmla="*/ 4 w 4"/>
                    <a:gd name="T3" fmla="*/ 3 h 6"/>
                    <a:gd name="T4" fmla="*/ 3 w 4"/>
                    <a:gd name="T5" fmla="*/ 3 h 6"/>
                    <a:gd name="T6" fmla="*/ 3 w 4"/>
                    <a:gd name="T7" fmla="*/ 2 h 6"/>
                    <a:gd name="T8" fmla="*/ 2 w 4"/>
                    <a:gd name="T9" fmla="*/ 2 h 6"/>
                    <a:gd name="T10" fmla="*/ 2 w 4"/>
                    <a:gd name="T11" fmla="*/ 2 h 6"/>
                    <a:gd name="T12" fmla="*/ 3 w 4"/>
                    <a:gd name="T13" fmla="*/ 2 h 6"/>
                    <a:gd name="T14" fmla="*/ 3 w 4"/>
                    <a:gd name="T15" fmla="*/ 0 h 6"/>
                    <a:gd name="T16" fmla="*/ 4 w 4"/>
                    <a:gd name="T17" fmla="*/ 0 h 6"/>
                    <a:gd name="T18" fmla="*/ 4 w 4"/>
                    <a:gd name="T19" fmla="*/ 0 h 6"/>
                    <a:gd name="T20" fmla="*/ 0 w 4"/>
                    <a:gd name="T21" fmla="*/ 0 h 6"/>
                    <a:gd name="T22" fmla="*/ 0 w 4"/>
                    <a:gd name="T23" fmla="*/ 0 h 6"/>
                    <a:gd name="T24" fmla="*/ 2 w 4"/>
                    <a:gd name="T25" fmla="*/ 0 h 6"/>
                    <a:gd name="T26" fmla="*/ 2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2" y="2"/>
                      </a:lnTo>
                      <a:lnTo>
                        <a:pt x="2" y="2"/>
                      </a:lnTo>
                      <a:lnTo>
                        <a:pt x="3" y="2"/>
                      </a:lnTo>
                      <a:lnTo>
                        <a:pt x="3" y="0"/>
                      </a:lnTo>
                      <a:lnTo>
                        <a:pt x="4" y="0"/>
                      </a:lnTo>
                      <a:lnTo>
                        <a:pt x="4" y="0"/>
                      </a:lnTo>
                      <a:lnTo>
                        <a:pt x="0" y="0"/>
                      </a:lnTo>
                      <a:lnTo>
                        <a:pt x="0" y="0"/>
                      </a:lnTo>
                      <a:lnTo>
                        <a:pt x="2" y="0"/>
                      </a:lnTo>
                      <a:lnTo>
                        <a:pt x="2" y="2"/>
                      </a:lnTo>
                      <a:lnTo>
                        <a:pt x="2" y="2"/>
                      </a:lnTo>
                      <a:lnTo>
                        <a:pt x="2"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6" name="Freeform 401"/>
                <p:cNvSpPr>
                  <a:spLocks/>
                </p:cNvSpPr>
                <p:nvPr/>
              </p:nvSpPr>
              <p:spPr bwMode="auto">
                <a:xfrm>
                  <a:off x="2650765" y="3101373"/>
                  <a:ext cx="29892" cy="44838"/>
                </a:xfrm>
                <a:custGeom>
                  <a:avLst/>
                  <a:gdLst>
                    <a:gd name="T0" fmla="*/ 4 w 4"/>
                    <a:gd name="T1" fmla="*/ 6 h 6"/>
                    <a:gd name="T2" fmla="*/ 4 w 4"/>
                    <a:gd name="T3" fmla="*/ 6 h 6"/>
                    <a:gd name="T4" fmla="*/ 2 w 4"/>
                    <a:gd name="T5" fmla="*/ 6 h 6"/>
                    <a:gd name="T6" fmla="*/ 2 w 4"/>
                    <a:gd name="T7" fmla="*/ 4 h 6"/>
                    <a:gd name="T8" fmla="*/ 3 w 4"/>
                    <a:gd name="T9" fmla="*/ 4 h 6"/>
                    <a:gd name="T10" fmla="*/ 3 w 4"/>
                    <a:gd name="T11" fmla="*/ 4 h 6"/>
                    <a:gd name="T12" fmla="*/ 3 w 4"/>
                    <a:gd name="T13" fmla="*/ 4 h 6"/>
                    <a:gd name="T14" fmla="*/ 3 w 4"/>
                    <a:gd name="T15" fmla="*/ 3 h 6"/>
                    <a:gd name="T16" fmla="*/ 4 w 4"/>
                    <a:gd name="T17" fmla="*/ 3 h 6"/>
                    <a:gd name="T18" fmla="*/ 4 w 4"/>
                    <a:gd name="T19" fmla="*/ 2 h 6"/>
                    <a:gd name="T20" fmla="*/ 3 w 4"/>
                    <a:gd name="T21" fmla="*/ 2 h 6"/>
                    <a:gd name="T22" fmla="*/ 3 w 4"/>
                    <a:gd name="T23" fmla="*/ 0 h 6"/>
                    <a:gd name="T24" fmla="*/ 1 w 4"/>
                    <a:gd name="T25" fmla="*/ 0 h 6"/>
                    <a:gd name="T26" fmla="*/ 1 w 4"/>
                    <a:gd name="T27" fmla="*/ 2 h 6"/>
                    <a:gd name="T28" fmla="*/ 0 w 4"/>
                    <a:gd name="T29" fmla="*/ 2 h 6"/>
                    <a:gd name="T30" fmla="*/ 0 w 4"/>
                    <a:gd name="T31" fmla="*/ 2 h 6"/>
                    <a:gd name="T32" fmla="*/ 1 w 4"/>
                    <a:gd name="T33" fmla="*/ 2 h 6"/>
                    <a:gd name="T34" fmla="*/ 1 w 4"/>
                    <a:gd name="T35" fmla="*/ 2 h 6"/>
                    <a:gd name="T36" fmla="*/ 3 w 4"/>
                    <a:gd name="T37" fmla="*/ 2 h 6"/>
                    <a:gd name="T38" fmla="*/ 3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6 h 6"/>
                    <a:gd name="T52" fmla="*/ 0 w 4"/>
                    <a:gd name="T53" fmla="*/ 6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6"/>
                      </a:lnTo>
                      <a:lnTo>
                        <a:pt x="2" y="6"/>
                      </a:lnTo>
                      <a:lnTo>
                        <a:pt x="2" y="4"/>
                      </a:lnTo>
                      <a:lnTo>
                        <a:pt x="3" y="4"/>
                      </a:lnTo>
                      <a:lnTo>
                        <a:pt x="3" y="4"/>
                      </a:lnTo>
                      <a:lnTo>
                        <a:pt x="3" y="4"/>
                      </a:lnTo>
                      <a:lnTo>
                        <a:pt x="3" y="3"/>
                      </a:lnTo>
                      <a:lnTo>
                        <a:pt x="4" y="3"/>
                      </a:lnTo>
                      <a:lnTo>
                        <a:pt x="4" y="2"/>
                      </a:lnTo>
                      <a:lnTo>
                        <a:pt x="3" y="2"/>
                      </a:lnTo>
                      <a:lnTo>
                        <a:pt x="3" y="0"/>
                      </a:lnTo>
                      <a:lnTo>
                        <a:pt x="1" y="0"/>
                      </a:lnTo>
                      <a:lnTo>
                        <a:pt x="1" y="2"/>
                      </a:lnTo>
                      <a:lnTo>
                        <a:pt x="0" y="2"/>
                      </a:lnTo>
                      <a:lnTo>
                        <a:pt x="0" y="2"/>
                      </a:lnTo>
                      <a:lnTo>
                        <a:pt x="1" y="2"/>
                      </a:lnTo>
                      <a:lnTo>
                        <a:pt x="1" y="2"/>
                      </a:lnTo>
                      <a:lnTo>
                        <a:pt x="3" y="2"/>
                      </a:lnTo>
                      <a:lnTo>
                        <a:pt x="3" y="3"/>
                      </a:lnTo>
                      <a:lnTo>
                        <a:pt x="3" y="3"/>
                      </a:lnTo>
                      <a:lnTo>
                        <a:pt x="3" y="4"/>
                      </a:lnTo>
                      <a:lnTo>
                        <a:pt x="2" y="4"/>
                      </a:lnTo>
                      <a:lnTo>
                        <a:pt x="2" y="4"/>
                      </a:lnTo>
                      <a:lnTo>
                        <a:pt x="1" y="4"/>
                      </a:lnTo>
                      <a:lnTo>
                        <a:pt x="1" y="6"/>
                      </a:lnTo>
                      <a:lnTo>
                        <a:pt x="0" y="6"/>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47" name="Freeform 402"/>
                <p:cNvSpPr>
                  <a:spLocks/>
                </p:cNvSpPr>
                <p:nvPr/>
              </p:nvSpPr>
              <p:spPr bwMode="auto">
                <a:xfrm>
                  <a:off x="5161693" y="289212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8" name="Freeform 403"/>
                <p:cNvSpPr>
                  <a:spLocks/>
                </p:cNvSpPr>
                <p:nvPr/>
              </p:nvSpPr>
              <p:spPr bwMode="auto">
                <a:xfrm>
                  <a:off x="5251369" y="2966859"/>
                  <a:ext cx="67257" cy="59784"/>
                </a:xfrm>
                <a:custGeom>
                  <a:avLst/>
                  <a:gdLst>
                    <a:gd name="T0" fmla="*/ 4 w 9"/>
                    <a:gd name="T1" fmla="*/ 8 h 8"/>
                    <a:gd name="T2" fmla="*/ 0 w 9"/>
                    <a:gd name="T3" fmla="*/ 0 h 8"/>
                    <a:gd name="T4" fmla="*/ 9 w 9"/>
                    <a:gd name="T5" fmla="*/ 0 h 8"/>
                    <a:gd name="T6" fmla="*/ 4 w 9"/>
                    <a:gd name="T7" fmla="*/ 8 h 8"/>
                    <a:gd name="T8" fmla="*/ 4 w 9"/>
                    <a:gd name="T9" fmla="*/ 8 h 8"/>
                  </a:gdLst>
                  <a:ahLst/>
                  <a:cxnLst>
                    <a:cxn ang="0">
                      <a:pos x="T0" y="T1"/>
                    </a:cxn>
                    <a:cxn ang="0">
                      <a:pos x="T2" y="T3"/>
                    </a:cxn>
                    <a:cxn ang="0">
                      <a:pos x="T4" y="T5"/>
                    </a:cxn>
                    <a:cxn ang="0">
                      <a:pos x="T6" y="T7"/>
                    </a:cxn>
                    <a:cxn ang="0">
                      <a:pos x="T8" y="T9"/>
                    </a:cxn>
                  </a:cxnLst>
                  <a:rect l="0" t="0" r="r" b="b"/>
                  <a:pathLst>
                    <a:path w="9" h="8">
                      <a:moveTo>
                        <a:pt x="4" y="8"/>
                      </a:moveTo>
                      <a:lnTo>
                        <a:pt x="0" y="0"/>
                      </a:lnTo>
                      <a:lnTo>
                        <a:pt x="9" y="0"/>
                      </a:lnTo>
                      <a:lnTo>
                        <a:pt x="4" y="8"/>
                      </a:lnTo>
                      <a:lnTo>
                        <a:pt x="4"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49" name="Freeform 404"/>
                <p:cNvSpPr>
                  <a:spLocks/>
                </p:cNvSpPr>
                <p:nvPr/>
              </p:nvSpPr>
              <p:spPr bwMode="auto">
                <a:xfrm>
                  <a:off x="5826790" y="2966859"/>
                  <a:ext cx="74730" cy="52311"/>
                </a:xfrm>
                <a:custGeom>
                  <a:avLst/>
                  <a:gdLst>
                    <a:gd name="T0" fmla="*/ 5 w 10"/>
                    <a:gd name="T1" fmla="*/ 7 h 7"/>
                    <a:gd name="T2" fmla="*/ 0 w 10"/>
                    <a:gd name="T3" fmla="*/ 0 h 7"/>
                    <a:gd name="T4" fmla="*/ 10 w 10"/>
                    <a:gd name="T5" fmla="*/ 0 h 7"/>
                    <a:gd name="T6" fmla="*/ 5 w 10"/>
                    <a:gd name="T7" fmla="*/ 7 h 7"/>
                    <a:gd name="T8" fmla="*/ 5 w 10"/>
                    <a:gd name="T9" fmla="*/ 7 h 7"/>
                  </a:gdLst>
                  <a:ahLst/>
                  <a:cxnLst>
                    <a:cxn ang="0">
                      <a:pos x="T0" y="T1"/>
                    </a:cxn>
                    <a:cxn ang="0">
                      <a:pos x="T2" y="T3"/>
                    </a:cxn>
                    <a:cxn ang="0">
                      <a:pos x="T4" y="T5"/>
                    </a:cxn>
                    <a:cxn ang="0">
                      <a:pos x="T6" y="T7"/>
                    </a:cxn>
                    <a:cxn ang="0">
                      <a:pos x="T8" y="T9"/>
                    </a:cxn>
                  </a:cxnLst>
                  <a:rect l="0" t="0" r="r" b="b"/>
                  <a:pathLst>
                    <a:path w="10" h="7">
                      <a:moveTo>
                        <a:pt x="5" y="7"/>
                      </a:moveTo>
                      <a:lnTo>
                        <a:pt x="0" y="0"/>
                      </a:lnTo>
                      <a:lnTo>
                        <a:pt x="10" y="0"/>
                      </a:lnTo>
                      <a:lnTo>
                        <a:pt x="5" y="7"/>
                      </a:lnTo>
                      <a:lnTo>
                        <a:pt x="5" y="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0" name="Freeform 405"/>
                <p:cNvSpPr>
                  <a:spLocks/>
                </p:cNvSpPr>
                <p:nvPr/>
              </p:nvSpPr>
              <p:spPr bwMode="auto">
                <a:xfrm>
                  <a:off x="5908993" y="3460077"/>
                  <a:ext cx="67257" cy="67257"/>
                </a:xfrm>
                <a:custGeom>
                  <a:avLst/>
                  <a:gdLst>
                    <a:gd name="T0" fmla="*/ 4 w 9"/>
                    <a:gd name="T1" fmla="*/ 9 h 9"/>
                    <a:gd name="T2" fmla="*/ 0 w 9"/>
                    <a:gd name="T3" fmla="*/ 0 h 9"/>
                    <a:gd name="T4" fmla="*/ 9 w 9"/>
                    <a:gd name="T5" fmla="*/ 0 h 9"/>
                    <a:gd name="T6" fmla="*/ 4 w 9"/>
                    <a:gd name="T7" fmla="*/ 9 h 9"/>
                    <a:gd name="T8" fmla="*/ 4 w 9"/>
                    <a:gd name="T9" fmla="*/ 9 h 9"/>
                  </a:gdLst>
                  <a:ahLst/>
                  <a:cxnLst>
                    <a:cxn ang="0">
                      <a:pos x="T0" y="T1"/>
                    </a:cxn>
                    <a:cxn ang="0">
                      <a:pos x="T2" y="T3"/>
                    </a:cxn>
                    <a:cxn ang="0">
                      <a:pos x="T4" y="T5"/>
                    </a:cxn>
                    <a:cxn ang="0">
                      <a:pos x="T6" y="T7"/>
                    </a:cxn>
                    <a:cxn ang="0">
                      <a:pos x="T8" y="T9"/>
                    </a:cxn>
                  </a:cxnLst>
                  <a:rect l="0" t="0" r="r" b="b"/>
                  <a:pathLst>
                    <a:path w="9" h="9">
                      <a:moveTo>
                        <a:pt x="4" y="9"/>
                      </a:moveTo>
                      <a:lnTo>
                        <a:pt x="0" y="0"/>
                      </a:lnTo>
                      <a:lnTo>
                        <a:pt x="9" y="0"/>
                      </a:lnTo>
                      <a:lnTo>
                        <a:pt x="4" y="9"/>
                      </a:lnTo>
                      <a:lnTo>
                        <a:pt x="4"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1" name="Freeform 406"/>
                <p:cNvSpPr>
                  <a:spLocks/>
                </p:cNvSpPr>
                <p:nvPr/>
              </p:nvSpPr>
              <p:spPr bwMode="auto">
                <a:xfrm>
                  <a:off x="5752060" y="3460077"/>
                  <a:ext cx="74730" cy="67257"/>
                </a:xfrm>
                <a:custGeom>
                  <a:avLst/>
                  <a:gdLst>
                    <a:gd name="T0" fmla="*/ 5 w 10"/>
                    <a:gd name="T1" fmla="*/ 9 h 9"/>
                    <a:gd name="T2" fmla="*/ 0 w 10"/>
                    <a:gd name="T3" fmla="*/ 0 h 9"/>
                    <a:gd name="T4" fmla="*/ 10 w 10"/>
                    <a:gd name="T5" fmla="*/ 0 h 9"/>
                    <a:gd name="T6" fmla="*/ 5 w 10"/>
                    <a:gd name="T7" fmla="*/ 9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lnTo>
                        <a:pt x="0" y="0"/>
                      </a:lnTo>
                      <a:lnTo>
                        <a:pt x="10" y="0"/>
                      </a:lnTo>
                      <a:lnTo>
                        <a:pt x="5" y="9"/>
                      </a:lnTo>
                      <a:lnTo>
                        <a:pt x="5"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2" name="Freeform 407"/>
                <p:cNvSpPr>
                  <a:spLocks/>
                </p:cNvSpPr>
                <p:nvPr/>
              </p:nvSpPr>
              <p:spPr bwMode="auto">
                <a:xfrm>
                  <a:off x="4309771" y="2944440"/>
                  <a:ext cx="67257" cy="67257"/>
                </a:xfrm>
                <a:custGeom>
                  <a:avLst/>
                  <a:gdLst>
                    <a:gd name="T0" fmla="*/ 0 w 9"/>
                    <a:gd name="T1" fmla="*/ 5 h 9"/>
                    <a:gd name="T2" fmla="*/ 9 w 9"/>
                    <a:gd name="T3" fmla="*/ 0 h 9"/>
                    <a:gd name="T4" fmla="*/ 9 w 9"/>
                    <a:gd name="T5" fmla="*/ 9 h 9"/>
                    <a:gd name="T6" fmla="*/ 0 w 9"/>
                    <a:gd name="T7" fmla="*/ 5 h 9"/>
                    <a:gd name="T8" fmla="*/ 0 w 9"/>
                    <a:gd name="T9" fmla="*/ 5 h 9"/>
                  </a:gdLst>
                  <a:ahLst/>
                  <a:cxnLst>
                    <a:cxn ang="0">
                      <a:pos x="T0" y="T1"/>
                    </a:cxn>
                    <a:cxn ang="0">
                      <a:pos x="T2" y="T3"/>
                    </a:cxn>
                    <a:cxn ang="0">
                      <a:pos x="T4" y="T5"/>
                    </a:cxn>
                    <a:cxn ang="0">
                      <a:pos x="T6" y="T7"/>
                    </a:cxn>
                    <a:cxn ang="0">
                      <a:pos x="T8" y="T9"/>
                    </a:cxn>
                  </a:cxnLst>
                  <a:rect l="0" t="0" r="r" b="b"/>
                  <a:pathLst>
                    <a:path w="9" h="9">
                      <a:moveTo>
                        <a:pt x="0" y="5"/>
                      </a:moveTo>
                      <a:lnTo>
                        <a:pt x="9" y="0"/>
                      </a:lnTo>
                      <a:lnTo>
                        <a:pt x="9" y="9"/>
                      </a:lnTo>
                      <a:lnTo>
                        <a:pt x="0" y="5"/>
                      </a:lnTo>
                      <a:lnTo>
                        <a:pt x="0"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3" name="Freeform 408"/>
                <p:cNvSpPr>
                  <a:spLocks noEditPoints="1"/>
                </p:cNvSpPr>
                <p:nvPr/>
              </p:nvSpPr>
              <p:spPr bwMode="auto">
                <a:xfrm>
                  <a:off x="1731586" y="3766470"/>
                  <a:ext cx="4476327" cy="1270410"/>
                </a:xfrm>
                <a:custGeom>
                  <a:avLst/>
                  <a:gdLst>
                    <a:gd name="T0" fmla="*/ 190 w 599"/>
                    <a:gd name="T1" fmla="*/ 170 h 170"/>
                    <a:gd name="T2" fmla="*/ 206 w 599"/>
                    <a:gd name="T3" fmla="*/ 170 h 170"/>
                    <a:gd name="T4" fmla="*/ 206 w 599"/>
                    <a:gd name="T5" fmla="*/ 151 h 170"/>
                    <a:gd name="T6" fmla="*/ 141 w 599"/>
                    <a:gd name="T7" fmla="*/ 170 h 170"/>
                    <a:gd name="T8" fmla="*/ 160 w 599"/>
                    <a:gd name="T9" fmla="*/ 170 h 170"/>
                    <a:gd name="T10" fmla="*/ 70 w 599"/>
                    <a:gd name="T11" fmla="*/ 170 h 170"/>
                    <a:gd name="T12" fmla="*/ 86 w 599"/>
                    <a:gd name="T13" fmla="*/ 170 h 170"/>
                    <a:gd name="T14" fmla="*/ 0 w 599"/>
                    <a:gd name="T15" fmla="*/ 120 h 170"/>
                    <a:gd name="T16" fmla="*/ 0 w 599"/>
                    <a:gd name="T17" fmla="*/ 170 h 170"/>
                    <a:gd name="T18" fmla="*/ 15 w 599"/>
                    <a:gd name="T19" fmla="*/ 170 h 170"/>
                    <a:gd name="T20" fmla="*/ 594 w 599"/>
                    <a:gd name="T21" fmla="*/ 53 h 170"/>
                    <a:gd name="T22" fmla="*/ 599 w 599"/>
                    <a:gd name="T23" fmla="*/ 53 h 170"/>
                    <a:gd name="T24" fmla="*/ 599 w 599"/>
                    <a:gd name="T25" fmla="*/ 170 h 170"/>
                    <a:gd name="T26" fmla="*/ 584 w 599"/>
                    <a:gd name="T27" fmla="*/ 170 h 170"/>
                    <a:gd name="T28" fmla="*/ 529 w 599"/>
                    <a:gd name="T29" fmla="*/ 170 h 170"/>
                    <a:gd name="T30" fmla="*/ 503 w 599"/>
                    <a:gd name="T31" fmla="*/ 170 h 170"/>
                    <a:gd name="T32" fmla="*/ 448 w 599"/>
                    <a:gd name="T33" fmla="*/ 170 h 170"/>
                    <a:gd name="T34" fmla="*/ 422 w 599"/>
                    <a:gd name="T35" fmla="*/ 170 h 170"/>
                    <a:gd name="T36" fmla="*/ 367 w 599"/>
                    <a:gd name="T37" fmla="*/ 170 h 170"/>
                    <a:gd name="T38" fmla="*/ 342 w 599"/>
                    <a:gd name="T39" fmla="*/ 170 h 170"/>
                    <a:gd name="T40" fmla="*/ 286 w 599"/>
                    <a:gd name="T41" fmla="*/ 170 h 170"/>
                    <a:gd name="T42" fmla="*/ 256 w 599"/>
                    <a:gd name="T43" fmla="*/ 170 h 170"/>
                    <a:gd name="T44" fmla="*/ 256 w 599"/>
                    <a:gd name="T45" fmla="*/ 151 h 170"/>
                    <a:gd name="T46" fmla="*/ 554 w 599"/>
                    <a:gd name="T47" fmla="*/ 0 h 170"/>
                    <a:gd name="T48" fmla="*/ 554 w 599"/>
                    <a:gd name="T49" fmla="*/ 53 h 170"/>
                    <a:gd name="T50" fmla="*/ 565 w 599"/>
                    <a:gd name="T51" fmla="*/ 5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9" h="170">
                      <a:moveTo>
                        <a:pt x="190" y="170"/>
                      </a:moveTo>
                      <a:lnTo>
                        <a:pt x="206" y="170"/>
                      </a:lnTo>
                      <a:lnTo>
                        <a:pt x="206" y="151"/>
                      </a:lnTo>
                      <a:moveTo>
                        <a:pt x="141" y="170"/>
                      </a:moveTo>
                      <a:lnTo>
                        <a:pt x="160" y="170"/>
                      </a:lnTo>
                      <a:moveTo>
                        <a:pt x="70" y="170"/>
                      </a:moveTo>
                      <a:lnTo>
                        <a:pt x="86" y="170"/>
                      </a:lnTo>
                      <a:moveTo>
                        <a:pt x="0" y="120"/>
                      </a:moveTo>
                      <a:lnTo>
                        <a:pt x="0" y="170"/>
                      </a:lnTo>
                      <a:lnTo>
                        <a:pt x="15" y="170"/>
                      </a:lnTo>
                      <a:moveTo>
                        <a:pt x="594" y="53"/>
                      </a:moveTo>
                      <a:lnTo>
                        <a:pt x="599" y="53"/>
                      </a:lnTo>
                      <a:lnTo>
                        <a:pt x="599" y="170"/>
                      </a:lnTo>
                      <a:lnTo>
                        <a:pt x="584" y="170"/>
                      </a:lnTo>
                      <a:moveTo>
                        <a:pt x="529" y="170"/>
                      </a:moveTo>
                      <a:lnTo>
                        <a:pt x="503" y="170"/>
                      </a:lnTo>
                      <a:moveTo>
                        <a:pt x="448" y="170"/>
                      </a:moveTo>
                      <a:lnTo>
                        <a:pt x="422" y="170"/>
                      </a:lnTo>
                      <a:moveTo>
                        <a:pt x="367" y="170"/>
                      </a:moveTo>
                      <a:lnTo>
                        <a:pt x="342" y="170"/>
                      </a:lnTo>
                      <a:moveTo>
                        <a:pt x="286" y="170"/>
                      </a:moveTo>
                      <a:lnTo>
                        <a:pt x="256" y="170"/>
                      </a:lnTo>
                      <a:lnTo>
                        <a:pt x="256" y="151"/>
                      </a:lnTo>
                      <a:moveTo>
                        <a:pt x="554" y="0"/>
                      </a:moveTo>
                      <a:lnTo>
                        <a:pt x="554" y="53"/>
                      </a:lnTo>
                      <a:lnTo>
                        <a:pt x="565" y="53"/>
                      </a:lnTo>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4" name="Freeform 409"/>
                <p:cNvSpPr>
                  <a:spLocks/>
                </p:cNvSpPr>
                <p:nvPr/>
              </p:nvSpPr>
              <p:spPr bwMode="auto">
                <a:xfrm>
                  <a:off x="1843681" y="4962150"/>
                  <a:ext cx="411015" cy="156933"/>
                </a:xfrm>
                <a:custGeom>
                  <a:avLst/>
                  <a:gdLst>
                    <a:gd name="T0" fmla="*/ 20 w 95"/>
                    <a:gd name="T1" fmla="*/ 0 h 36"/>
                    <a:gd name="T2" fmla="*/ 74 w 95"/>
                    <a:gd name="T3" fmla="*/ 0 h 36"/>
                    <a:gd name="T4" fmla="*/ 95 w 95"/>
                    <a:gd name="T5" fmla="*/ 18 h 36"/>
                    <a:gd name="T6" fmla="*/ 74 w 95"/>
                    <a:gd name="T7" fmla="*/ 36 h 36"/>
                    <a:gd name="T8" fmla="*/ 20 w 95"/>
                    <a:gd name="T9" fmla="*/ 36 h 36"/>
                    <a:gd name="T10" fmla="*/ 0 w 95"/>
                    <a:gd name="T11" fmla="*/ 18 h 36"/>
                    <a:gd name="T12" fmla="*/ 20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0" y="0"/>
                      </a:moveTo>
                      <a:cubicBezTo>
                        <a:pt x="74" y="0"/>
                        <a:pt x="74" y="0"/>
                        <a:pt x="74" y="0"/>
                      </a:cubicBezTo>
                      <a:cubicBezTo>
                        <a:pt x="86" y="0"/>
                        <a:pt x="95" y="8"/>
                        <a:pt x="95" y="18"/>
                      </a:cubicBezTo>
                      <a:cubicBezTo>
                        <a:pt x="95" y="28"/>
                        <a:pt x="86" y="36"/>
                        <a:pt x="74" y="36"/>
                      </a:cubicBezTo>
                      <a:cubicBezTo>
                        <a:pt x="20" y="36"/>
                        <a:pt x="20" y="36"/>
                        <a:pt x="20" y="36"/>
                      </a:cubicBezTo>
                      <a:cubicBezTo>
                        <a:pt x="9" y="36"/>
                        <a:pt x="0" y="28"/>
                        <a:pt x="0" y="18"/>
                      </a:cubicBezTo>
                      <a:cubicBezTo>
                        <a:pt x="0" y="8"/>
                        <a:pt x="9" y="0"/>
                        <a:pt x="20"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5" name="Freeform 410"/>
                <p:cNvSpPr>
                  <a:spLocks/>
                </p:cNvSpPr>
                <p:nvPr/>
              </p:nvSpPr>
              <p:spPr bwMode="auto">
                <a:xfrm>
                  <a:off x="1918411"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6" name="Freeform 411"/>
                <p:cNvSpPr>
                  <a:spLocks/>
                </p:cNvSpPr>
                <p:nvPr/>
              </p:nvSpPr>
              <p:spPr bwMode="auto">
                <a:xfrm>
                  <a:off x="2366791" y="4962150"/>
                  <a:ext cx="418488"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7" name="Freeform 412"/>
                <p:cNvSpPr>
                  <a:spLocks/>
                </p:cNvSpPr>
                <p:nvPr/>
              </p:nvSpPr>
              <p:spPr bwMode="auto">
                <a:xfrm>
                  <a:off x="2448994"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8" name="Freeform 413"/>
                <p:cNvSpPr>
                  <a:spLocks/>
                </p:cNvSpPr>
                <p:nvPr/>
              </p:nvSpPr>
              <p:spPr bwMode="auto">
                <a:xfrm>
                  <a:off x="3091672" y="4737960"/>
                  <a:ext cx="739827" cy="156933"/>
                </a:xfrm>
                <a:custGeom>
                  <a:avLst/>
                  <a:gdLst>
                    <a:gd name="T0" fmla="*/ 21 w 172"/>
                    <a:gd name="T1" fmla="*/ 0 h 36"/>
                    <a:gd name="T2" fmla="*/ 151 w 172"/>
                    <a:gd name="T3" fmla="*/ 0 h 36"/>
                    <a:gd name="T4" fmla="*/ 172 w 172"/>
                    <a:gd name="T5" fmla="*/ 18 h 36"/>
                    <a:gd name="T6" fmla="*/ 151 w 172"/>
                    <a:gd name="T7" fmla="*/ 36 h 36"/>
                    <a:gd name="T8" fmla="*/ 21 w 172"/>
                    <a:gd name="T9" fmla="*/ 36 h 36"/>
                    <a:gd name="T10" fmla="*/ 0 w 172"/>
                    <a:gd name="T11" fmla="*/ 18 h 36"/>
                    <a:gd name="T12" fmla="*/ 21 w 17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72" h="36">
                      <a:moveTo>
                        <a:pt x="21" y="0"/>
                      </a:moveTo>
                      <a:cubicBezTo>
                        <a:pt x="151" y="0"/>
                        <a:pt x="151" y="0"/>
                        <a:pt x="151" y="0"/>
                      </a:cubicBezTo>
                      <a:cubicBezTo>
                        <a:pt x="163" y="0"/>
                        <a:pt x="172" y="8"/>
                        <a:pt x="172" y="18"/>
                      </a:cubicBezTo>
                      <a:cubicBezTo>
                        <a:pt x="172" y="28"/>
                        <a:pt x="163" y="36"/>
                        <a:pt x="151"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59" name="Freeform 414"/>
                <p:cNvSpPr>
                  <a:spLocks/>
                </p:cNvSpPr>
                <p:nvPr/>
              </p:nvSpPr>
              <p:spPr bwMode="auto">
                <a:xfrm>
                  <a:off x="3158929" y="4737960"/>
                  <a:ext cx="597840" cy="156933"/>
                </a:xfrm>
                <a:custGeom>
                  <a:avLst/>
                  <a:gdLst>
                    <a:gd name="T0" fmla="*/ 0 w 80"/>
                    <a:gd name="T1" fmla="*/ 21 h 21"/>
                    <a:gd name="T2" fmla="*/ 0 w 80"/>
                    <a:gd name="T3" fmla="*/ 0 h 21"/>
                    <a:gd name="T4" fmla="*/ 80 w 80"/>
                    <a:gd name="T5" fmla="*/ 0 h 21"/>
                    <a:gd name="T6" fmla="*/ 80 w 80"/>
                    <a:gd name="T7" fmla="*/ 21 h 21"/>
                    <a:gd name="T8" fmla="*/ 0 w 80"/>
                    <a:gd name="T9" fmla="*/ 21 h 21"/>
                    <a:gd name="T10" fmla="*/ 0 w 80"/>
                    <a:gd name="T11" fmla="*/ 21 h 21"/>
                  </a:gdLst>
                  <a:ahLst/>
                  <a:cxnLst>
                    <a:cxn ang="0">
                      <a:pos x="T0" y="T1"/>
                    </a:cxn>
                    <a:cxn ang="0">
                      <a:pos x="T2" y="T3"/>
                    </a:cxn>
                    <a:cxn ang="0">
                      <a:pos x="T4" y="T5"/>
                    </a:cxn>
                    <a:cxn ang="0">
                      <a:pos x="T6" y="T7"/>
                    </a:cxn>
                    <a:cxn ang="0">
                      <a:pos x="T8" y="T9"/>
                    </a:cxn>
                    <a:cxn ang="0">
                      <a:pos x="T10" y="T11"/>
                    </a:cxn>
                  </a:cxnLst>
                  <a:rect l="0" t="0" r="r" b="b"/>
                  <a:pathLst>
                    <a:path w="80" h="21">
                      <a:moveTo>
                        <a:pt x="0" y="21"/>
                      </a:moveTo>
                      <a:lnTo>
                        <a:pt x="0" y="0"/>
                      </a:lnTo>
                      <a:lnTo>
                        <a:pt x="80" y="0"/>
                      </a:lnTo>
                      <a:lnTo>
                        <a:pt x="80"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0" name="Freeform 415"/>
                <p:cNvSpPr>
                  <a:spLocks/>
                </p:cNvSpPr>
                <p:nvPr/>
              </p:nvSpPr>
              <p:spPr bwMode="auto">
                <a:xfrm>
                  <a:off x="3271024" y="4551135"/>
                  <a:ext cx="373650" cy="186825"/>
                </a:xfrm>
                <a:custGeom>
                  <a:avLst/>
                  <a:gdLst>
                    <a:gd name="T0" fmla="*/ 87 w 87"/>
                    <a:gd name="T1" fmla="*/ 21 h 43"/>
                    <a:gd name="T2" fmla="*/ 87 w 87"/>
                    <a:gd name="T3" fmla="*/ 43 h 43"/>
                    <a:gd name="T4" fmla="*/ 0 w 87"/>
                    <a:gd name="T5" fmla="*/ 43 h 43"/>
                    <a:gd name="T6" fmla="*/ 0 w 87"/>
                    <a:gd name="T7" fmla="*/ 21 h 43"/>
                    <a:gd name="T8" fmla="*/ 43 w 87"/>
                    <a:gd name="T9" fmla="*/ 0 h 43"/>
                    <a:gd name="T10" fmla="*/ 87 w 87"/>
                    <a:gd name="T11" fmla="*/ 21 h 43"/>
                  </a:gdLst>
                  <a:ahLst/>
                  <a:cxnLst>
                    <a:cxn ang="0">
                      <a:pos x="T0" y="T1"/>
                    </a:cxn>
                    <a:cxn ang="0">
                      <a:pos x="T2" y="T3"/>
                    </a:cxn>
                    <a:cxn ang="0">
                      <a:pos x="T4" y="T5"/>
                    </a:cxn>
                    <a:cxn ang="0">
                      <a:pos x="T6" y="T7"/>
                    </a:cxn>
                    <a:cxn ang="0">
                      <a:pos x="T8" y="T9"/>
                    </a:cxn>
                    <a:cxn ang="0">
                      <a:pos x="T10" y="T11"/>
                    </a:cxn>
                  </a:cxnLst>
                  <a:rect l="0" t="0" r="r" b="b"/>
                  <a:pathLst>
                    <a:path w="87" h="43">
                      <a:moveTo>
                        <a:pt x="87" y="21"/>
                      </a:moveTo>
                      <a:cubicBezTo>
                        <a:pt x="87" y="43"/>
                        <a:pt x="87" y="43"/>
                        <a:pt x="87" y="43"/>
                      </a:cubicBezTo>
                      <a:cubicBezTo>
                        <a:pt x="0" y="43"/>
                        <a:pt x="0" y="43"/>
                        <a:pt x="0" y="43"/>
                      </a:cubicBezTo>
                      <a:cubicBezTo>
                        <a:pt x="0" y="21"/>
                        <a:pt x="0" y="21"/>
                        <a:pt x="0" y="21"/>
                      </a:cubicBezTo>
                      <a:cubicBezTo>
                        <a:pt x="0" y="9"/>
                        <a:pt x="20" y="0"/>
                        <a:pt x="43" y="0"/>
                      </a:cubicBezTo>
                      <a:cubicBezTo>
                        <a:pt x="67" y="0"/>
                        <a:pt x="87" y="9"/>
                        <a:pt x="87" y="21"/>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1" name="Freeform 416"/>
                <p:cNvSpPr>
                  <a:spLocks/>
                </p:cNvSpPr>
                <p:nvPr/>
              </p:nvSpPr>
              <p:spPr bwMode="auto">
                <a:xfrm>
                  <a:off x="3271024" y="4625865"/>
                  <a:ext cx="373650" cy="112095"/>
                </a:xfrm>
                <a:custGeom>
                  <a:avLst/>
                  <a:gdLst>
                    <a:gd name="T0" fmla="*/ 50 w 50"/>
                    <a:gd name="T1" fmla="*/ 0 h 15"/>
                    <a:gd name="T2" fmla="*/ 50 w 50"/>
                    <a:gd name="T3" fmla="*/ 15 h 15"/>
                    <a:gd name="T4" fmla="*/ 0 w 50"/>
                    <a:gd name="T5" fmla="*/ 15 h 15"/>
                    <a:gd name="T6" fmla="*/ 0 w 50"/>
                    <a:gd name="T7" fmla="*/ 0 h 15"/>
                    <a:gd name="T8" fmla="*/ 50 w 50"/>
                    <a:gd name="T9" fmla="*/ 0 h 15"/>
                    <a:gd name="T10" fmla="*/ 50 w 50"/>
                    <a:gd name="T11" fmla="*/ 0 h 15"/>
                  </a:gdLst>
                  <a:ahLst/>
                  <a:cxnLst>
                    <a:cxn ang="0">
                      <a:pos x="T0" y="T1"/>
                    </a:cxn>
                    <a:cxn ang="0">
                      <a:pos x="T2" y="T3"/>
                    </a:cxn>
                    <a:cxn ang="0">
                      <a:pos x="T4" y="T5"/>
                    </a:cxn>
                    <a:cxn ang="0">
                      <a:pos x="T6" y="T7"/>
                    </a:cxn>
                    <a:cxn ang="0">
                      <a:pos x="T8" y="T9"/>
                    </a:cxn>
                    <a:cxn ang="0">
                      <a:pos x="T10" y="T11"/>
                    </a:cxn>
                  </a:cxnLst>
                  <a:rect l="0" t="0" r="r" b="b"/>
                  <a:pathLst>
                    <a:path w="50" h="15">
                      <a:moveTo>
                        <a:pt x="50" y="0"/>
                      </a:moveTo>
                      <a:lnTo>
                        <a:pt x="50" y="15"/>
                      </a:lnTo>
                      <a:lnTo>
                        <a:pt x="0" y="15"/>
                      </a:lnTo>
                      <a:lnTo>
                        <a:pt x="0" y="0"/>
                      </a:lnTo>
                      <a:lnTo>
                        <a:pt x="50" y="0"/>
                      </a:lnTo>
                      <a:lnTo>
                        <a:pt x="5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2" name="Freeform 417"/>
                <p:cNvSpPr>
                  <a:spLocks noEditPoints="1"/>
                </p:cNvSpPr>
                <p:nvPr/>
              </p:nvSpPr>
              <p:spPr bwMode="auto">
                <a:xfrm>
                  <a:off x="2927266" y="3519861"/>
                  <a:ext cx="3243282" cy="1636587"/>
                </a:xfrm>
                <a:custGeom>
                  <a:avLst/>
                  <a:gdLst>
                    <a:gd name="T0" fmla="*/ 239 w 750"/>
                    <a:gd name="T1" fmla="*/ 333 h 378"/>
                    <a:gd name="T2" fmla="*/ 293 w 750"/>
                    <a:gd name="T3" fmla="*/ 333 h 378"/>
                    <a:gd name="T4" fmla="*/ 314 w 750"/>
                    <a:gd name="T5" fmla="*/ 351 h 378"/>
                    <a:gd name="T6" fmla="*/ 293 w 750"/>
                    <a:gd name="T7" fmla="*/ 369 h 378"/>
                    <a:gd name="T8" fmla="*/ 239 w 750"/>
                    <a:gd name="T9" fmla="*/ 369 h 378"/>
                    <a:gd name="T10" fmla="*/ 218 w 750"/>
                    <a:gd name="T11" fmla="*/ 351 h 378"/>
                    <a:gd name="T12" fmla="*/ 239 w 750"/>
                    <a:gd name="T13" fmla="*/ 333 h 378"/>
                    <a:gd name="T14" fmla="*/ 695 w 750"/>
                    <a:gd name="T15" fmla="*/ 43 h 378"/>
                    <a:gd name="T16" fmla="*/ 695 w 750"/>
                    <a:gd name="T17" fmla="*/ 57 h 378"/>
                    <a:gd name="T18" fmla="*/ 663 w 750"/>
                    <a:gd name="T19" fmla="*/ 57 h 378"/>
                    <a:gd name="T20" fmla="*/ 663 w 750"/>
                    <a:gd name="T21" fmla="*/ 42 h 378"/>
                    <a:gd name="T22" fmla="*/ 680 w 750"/>
                    <a:gd name="T23" fmla="*/ 47 h 378"/>
                    <a:gd name="T24" fmla="*/ 695 w 750"/>
                    <a:gd name="T25" fmla="*/ 43 h 378"/>
                    <a:gd name="T26" fmla="*/ 651 w 750"/>
                    <a:gd name="T27" fmla="*/ 23 h 378"/>
                    <a:gd name="T28" fmla="*/ 680 w 750"/>
                    <a:gd name="T29" fmla="*/ 0 h 378"/>
                    <a:gd name="T30" fmla="*/ 708 w 750"/>
                    <a:gd name="T31" fmla="*/ 23 h 378"/>
                    <a:gd name="T32" fmla="*/ 680 w 750"/>
                    <a:gd name="T33" fmla="*/ 47 h 378"/>
                    <a:gd name="T34" fmla="*/ 651 w 750"/>
                    <a:gd name="T35" fmla="*/ 23 h 378"/>
                    <a:gd name="T36" fmla="*/ 697 w 750"/>
                    <a:gd name="T37" fmla="*/ 157 h 378"/>
                    <a:gd name="T38" fmla="*/ 714 w 750"/>
                    <a:gd name="T39" fmla="*/ 140 h 378"/>
                    <a:gd name="T40" fmla="*/ 732 w 750"/>
                    <a:gd name="T41" fmla="*/ 157 h 378"/>
                    <a:gd name="T42" fmla="*/ 714 w 750"/>
                    <a:gd name="T43" fmla="*/ 174 h 378"/>
                    <a:gd name="T44" fmla="*/ 697 w 750"/>
                    <a:gd name="T45" fmla="*/ 157 h 378"/>
                    <a:gd name="T46" fmla="*/ 750 w 750"/>
                    <a:gd name="T47" fmla="*/ 140 h 378"/>
                    <a:gd name="T48" fmla="*/ 713 w 750"/>
                    <a:gd name="T49" fmla="*/ 140 h 378"/>
                    <a:gd name="T50" fmla="*/ 714 w 750"/>
                    <a:gd name="T51" fmla="*/ 140 h 378"/>
                    <a:gd name="T52" fmla="*/ 732 w 750"/>
                    <a:gd name="T53" fmla="*/ 158 h 378"/>
                    <a:gd name="T54" fmla="*/ 732 w 750"/>
                    <a:gd name="T55" fmla="*/ 158 h 378"/>
                    <a:gd name="T56" fmla="*/ 750 w 750"/>
                    <a:gd name="T57" fmla="*/ 158 h 378"/>
                    <a:gd name="T58" fmla="*/ 750 w 750"/>
                    <a:gd name="T59" fmla="*/ 140 h 378"/>
                    <a:gd name="T60" fmla="*/ 18 w 750"/>
                    <a:gd name="T61" fmla="*/ 360 h 378"/>
                    <a:gd name="T62" fmla="*/ 36 w 750"/>
                    <a:gd name="T63" fmla="*/ 342 h 378"/>
                    <a:gd name="T64" fmla="*/ 54 w 750"/>
                    <a:gd name="T65" fmla="*/ 360 h 378"/>
                    <a:gd name="T66" fmla="*/ 36 w 750"/>
                    <a:gd name="T67" fmla="*/ 378 h 378"/>
                    <a:gd name="T68" fmla="*/ 18 w 750"/>
                    <a:gd name="T69" fmla="*/ 360 h 378"/>
                    <a:gd name="T70" fmla="*/ 0 w 750"/>
                    <a:gd name="T71" fmla="*/ 342 h 378"/>
                    <a:gd name="T72" fmla="*/ 36 w 750"/>
                    <a:gd name="T73" fmla="*/ 342 h 378"/>
                    <a:gd name="T74" fmla="*/ 36 w 750"/>
                    <a:gd name="T75" fmla="*/ 342 h 378"/>
                    <a:gd name="T76" fmla="*/ 18 w 750"/>
                    <a:gd name="T77" fmla="*/ 360 h 378"/>
                    <a:gd name="T78" fmla="*/ 18 w 750"/>
                    <a:gd name="T79" fmla="*/ 360 h 378"/>
                    <a:gd name="T80" fmla="*/ 0 w 750"/>
                    <a:gd name="T81" fmla="*/ 360 h 378"/>
                    <a:gd name="T82" fmla="*/ 0 w 750"/>
                    <a:gd name="T83" fmla="*/ 3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0" h="378">
                      <a:moveTo>
                        <a:pt x="239" y="333"/>
                      </a:moveTo>
                      <a:cubicBezTo>
                        <a:pt x="293" y="333"/>
                        <a:pt x="293" y="333"/>
                        <a:pt x="293" y="333"/>
                      </a:cubicBezTo>
                      <a:cubicBezTo>
                        <a:pt x="304" y="333"/>
                        <a:pt x="314" y="341"/>
                        <a:pt x="314" y="351"/>
                      </a:cubicBezTo>
                      <a:cubicBezTo>
                        <a:pt x="314" y="361"/>
                        <a:pt x="304" y="369"/>
                        <a:pt x="293" y="369"/>
                      </a:cubicBezTo>
                      <a:cubicBezTo>
                        <a:pt x="239" y="369"/>
                        <a:pt x="239" y="369"/>
                        <a:pt x="239" y="369"/>
                      </a:cubicBezTo>
                      <a:cubicBezTo>
                        <a:pt x="227" y="369"/>
                        <a:pt x="218" y="361"/>
                        <a:pt x="218" y="351"/>
                      </a:cubicBezTo>
                      <a:cubicBezTo>
                        <a:pt x="218" y="341"/>
                        <a:pt x="227" y="333"/>
                        <a:pt x="239" y="333"/>
                      </a:cubicBezTo>
                      <a:close/>
                      <a:moveTo>
                        <a:pt x="695" y="43"/>
                      </a:moveTo>
                      <a:cubicBezTo>
                        <a:pt x="695" y="57"/>
                        <a:pt x="695" y="57"/>
                        <a:pt x="695" y="57"/>
                      </a:cubicBezTo>
                      <a:cubicBezTo>
                        <a:pt x="663" y="57"/>
                        <a:pt x="663" y="57"/>
                        <a:pt x="663" y="57"/>
                      </a:cubicBezTo>
                      <a:cubicBezTo>
                        <a:pt x="663" y="42"/>
                        <a:pt x="663" y="42"/>
                        <a:pt x="663" y="42"/>
                      </a:cubicBezTo>
                      <a:cubicBezTo>
                        <a:pt x="668" y="45"/>
                        <a:pt x="674" y="47"/>
                        <a:pt x="680" y="47"/>
                      </a:cubicBezTo>
                      <a:cubicBezTo>
                        <a:pt x="685" y="47"/>
                        <a:pt x="691" y="45"/>
                        <a:pt x="695" y="43"/>
                      </a:cubicBezTo>
                      <a:close/>
                      <a:moveTo>
                        <a:pt x="651" y="23"/>
                      </a:moveTo>
                      <a:cubicBezTo>
                        <a:pt x="651" y="10"/>
                        <a:pt x="664" y="0"/>
                        <a:pt x="680" y="0"/>
                      </a:cubicBezTo>
                      <a:cubicBezTo>
                        <a:pt x="696" y="0"/>
                        <a:pt x="708" y="10"/>
                        <a:pt x="708" y="23"/>
                      </a:cubicBezTo>
                      <a:cubicBezTo>
                        <a:pt x="708" y="36"/>
                        <a:pt x="696" y="47"/>
                        <a:pt x="680" y="47"/>
                      </a:cubicBezTo>
                      <a:cubicBezTo>
                        <a:pt x="664" y="47"/>
                        <a:pt x="651" y="36"/>
                        <a:pt x="651" y="23"/>
                      </a:cubicBezTo>
                      <a:close/>
                      <a:moveTo>
                        <a:pt x="697" y="157"/>
                      </a:moveTo>
                      <a:cubicBezTo>
                        <a:pt x="697" y="147"/>
                        <a:pt x="705" y="140"/>
                        <a:pt x="714" y="140"/>
                      </a:cubicBezTo>
                      <a:cubicBezTo>
                        <a:pt x="724" y="140"/>
                        <a:pt x="732" y="147"/>
                        <a:pt x="732" y="157"/>
                      </a:cubicBezTo>
                      <a:cubicBezTo>
                        <a:pt x="732" y="167"/>
                        <a:pt x="724" y="174"/>
                        <a:pt x="714" y="174"/>
                      </a:cubicBezTo>
                      <a:cubicBezTo>
                        <a:pt x="705" y="174"/>
                        <a:pt x="697" y="167"/>
                        <a:pt x="697" y="157"/>
                      </a:cubicBezTo>
                      <a:close/>
                      <a:moveTo>
                        <a:pt x="750" y="140"/>
                      </a:moveTo>
                      <a:cubicBezTo>
                        <a:pt x="713" y="140"/>
                        <a:pt x="713" y="140"/>
                        <a:pt x="713" y="140"/>
                      </a:cubicBezTo>
                      <a:cubicBezTo>
                        <a:pt x="714" y="140"/>
                        <a:pt x="714" y="140"/>
                        <a:pt x="714" y="140"/>
                      </a:cubicBezTo>
                      <a:cubicBezTo>
                        <a:pt x="724" y="140"/>
                        <a:pt x="732" y="148"/>
                        <a:pt x="732" y="158"/>
                      </a:cubicBezTo>
                      <a:cubicBezTo>
                        <a:pt x="732" y="158"/>
                        <a:pt x="732" y="158"/>
                        <a:pt x="732" y="158"/>
                      </a:cubicBezTo>
                      <a:cubicBezTo>
                        <a:pt x="750" y="158"/>
                        <a:pt x="750" y="158"/>
                        <a:pt x="750" y="158"/>
                      </a:cubicBezTo>
                      <a:cubicBezTo>
                        <a:pt x="750" y="140"/>
                        <a:pt x="750" y="140"/>
                        <a:pt x="750" y="140"/>
                      </a:cubicBezTo>
                      <a:close/>
                      <a:moveTo>
                        <a:pt x="18" y="360"/>
                      </a:moveTo>
                      <a:cubicBezTo>
                        <a:pt x="18" y="350"/>
                        <a:pt x="26" y="342"/>
                        <a:pt x="36" y="342"/>
                      </a:cubicBezTo>
                      <a:cubicBezTo>
                        <a:pt x="46" y="342"/>
                        <a:pt x="54" y="350"/>
                        <a:pt x="54" y="360"/>
                      </a:cubicBezTo>
                      <a:cubicBezTo>
                        <a:pt x="54" y="370"/>
                        <a:pt x="46" y="378"/>
                        <a:pt x="36" y="378"/>
                      </a:cubicBezTo>
                      <a:cubicBezTo>
                        <a:pt x="26" y="378"/>
                        <a:pt x="18" y="370"/>
                        <a:pt x="18" y="360"/>
                      </a:cubicBezTo>
                      <a:close/>
                      <a:moveTo>
                        <a:pt x="0" y="342"/>
                      </a:moveTo>
                      <a:cubicBezTo>
                        <a:pt x="36" y="342"/>
                        <a:pt x="36" y="342"/>
                        <a:pt x="36" y="342"/>
                      </a:cubicBezTo>
                      <a:cubicBezTo>
                        <a:pt x="36" y="342"/>
                        <a:pt x="36" y="342"/>
                        <a:pt x="36" y="342"/>
                      </a:cubicBezTo>
                      <a:cubicBezTo>
                        <a:pt x="26" y="342"/>
                        <a:pt x="18" y="350"/>
                        <a:pt x="18" y="360"/>
                      </a:cubicBezTo>
                      <a:cubicBezTo>
                        <a:pt x="18" y="360"/>
                        <a:pt x="18" y="360"/>
                        <a:pt x="18" y="360"/>
                      </a:cubicBezTo>
                      <a:cubicBezTo>
                        <a:pt x="0" y="360"/>
                        <a:pt x="0" y="360"/>
                        <a:pt x="0" y="360"/>
                      </a:cubicBezTo>
                      <a:cubicBezTo>
                        <a:pt x="0" y="342"/>
                        <a:pt x="0" y="342"/>
                        <a:pt x="0" y="342"/>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3" name="Freeform 418"/>
                <p:cNvSpPr>
                  <a:spLocks/>
                </p:cNvSpPr>
                <p:nvPr/>
              </p:nvSpPr>
              <p:spPr bwMode="auto">
                <a:xfrm>
                  <a:off x="3943594"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4" name="Freeform 419"/>
                <p:cNvSpPr>
                  <a:spLocks/>
                </p:cNvSpPr>
                <p:nvPr/>
              </p:nvSpPr>
              <p:spPr bwMode="auto">
                <a:xfrm>
                  <a:off x="4474177" y="4962150"/>
                  <a:ext cx="411015" cy="156933"/>
                </a:xfrm>
                <a:custGeom>
                  <a:avLst/>
                  <a:gdLst>
                    <a:gd name="T0" fmla="*/ 21 w 95"/>
                    <a:gd name="T1" fmla="*/ 0 h 36"/>
                    <a:gd name="T2" fmla="*/ 74 w 95"/>
                    <a:gd name="T3" fmla="*/ 0 h 36"/>
                    <a:gd name="T4" fmla="*/ 95 w 95"/>
                    <a:gd name="T5" fmla="*/ 18 h 36"/>
                    <a:gd name="T6" fmla="*/ 74 w 95"/>
                    <a:gd name="T7" fmla="*/ 36 h 36"/>
                    <a:gd name="T8" fmla="*/ 21 w 95"/>
                    <a:gd name="T9" fmla="*/ 36 h 36"/>
                    <a:gd name="T10" fmla="*/ 0 w 95"/>
                    <a:gd name="T11" fmla="*/ 18 h 36"/>
                    <a:gd name="T12" fmla="*/ 21 w 9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5" h="36">
                      <a:moveTo>
                        <a:pt x="21" y="0"/>
                      </a:moveTo>
                      <a:cubicBezTo>
                        <a:pt x="74" y="0"/>
                        <a:pt x="74" y="0"/>
                        <a:pt x="74" y="0"/>
                      </a:cubicBezTo>
                      <a:cubicBezTo>
                        <a:pt x="86" y="0"/>
                        <a:pt x="95" y="8"/>
                        <a:pt x="95" y="18"/>
                      </a:cubicBezTo>
                      <a:cubicBezTo>
                        <a:pt x="95" y="28"/>
                        <a:pt x="86" y="36"/>
                        <a:pt x="74"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5" name="Freeform 420"/>
                <p:cNvSpPr>
                  <a:spLocks/>
                </p:cNvSpPr>
                <p:nvPr/>
              </p:nvSpPr>
              <p:spPr bwMode="auto">
                <a:xfrm>
                  <a:off x="4548907" y="4962150"/>
                  <a:ext cx="269028" cy="156933"/>
                </a:xfrm>
                <a:custGeom>
                  <a:avLst/>
                  <a:gdLst>
                    <a:gd name="T0" fmla="*/ 0 w 36"/>
                    <a:gd name="T1" fmla="*/ 21 h 21"/>
                    <a:gd name="T2" fmla="*/ 0 w 36"/>
                    <a:gd name="T3" fmla="*/ 0 h 21"/>
                    <a:gd name="T4" fmla="*/ 36 w 36"/>
                    <a:gd name="T5" fmla="*/ 0 h 21"/>
                    <a:gd name="T6" fmla="*/ 36 w 36"/>
                    <a:gd name="T7" fmla="*/ 21 h 21"/>
                    <a:gd name="T8" fmla="*/ 0 w 36"/>
                    <a:gd name="T9" fmla="*/ 21 h 21"/>
                    <a:gd name="T10" fmla="*/ 0 w 36"/>
                    <a:gd name="T11" fmla="*/ 21 h 21"/>
                  </a:gdLst>
                  <a:ahLst/>
                  <a:cxnLst>
                    <a:cxn ang="0">
                      <a:pos x="T0" y="T1"/>
                    </a:cxn>
                    <a:cxn ang="0">
                      <a:pos x="T2" y="T3"/>
                    </a:cxn>
                    <a:cxn ang="0">
                      <a:pos x="T4" y="T5"/>
                    </a:cxn>
                    <a:cxn ang="0">
                      <a:pos x="T6" y="T7"/>
                    </a:cxn>
                    <a:cxn ang="0">
                      <a:pos x="T8" y="T9"/>
                    </a:cxn>
                    <a:cxn ang="0">
                      <a:pos x="T10" y="T11"/>
                    </a:cxn>
                  </a:cxnLst>
                  <a:rect l="0" t="0" r="r" b="b"/>
                  <a:pathLst>
                    <a:path w="36" h="21">
                      <a:moveTo>
                        <a:pt x="0" y="21"/>
                      </a:moveTo>
                      <a:lnTo>
                        <a:pt x="0" y="0"/>
                      </a:lnTo>
                      <a:lnTo>
                        <a:pt x="36" y="0"/>
                      </a:lnTo>
                      <a:lnTo>
                        <a:pt x="36"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6" name="Freeform 421"/>
                <p:cNvSpPr>
                  <a:spLocks/>
                </p:cNvSpPr>
                <p:nvPr/>
              </p:nvSpPr>
              <p:spPr bwMode="auto">
                <a:xfrm>
                  <a:off x="5079490"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7" y="0"/>
                        <a:pt x="96" y="8"/>
                        <a:pt x="96" y="18"/>
                      </a:cubicBezTo>
                      <a:cubicBezTo>
                        <a:pt x="96" y="28"/>
                        <a:pt x="87" y="36"/>
                        <a:pt x="75" y="36"/>
                      </a:cubicBezTo>
                      <a:cubicBezTo>
                        <a:pt x="21" y="36"/>
                        <a:pt x="21" y="36"/>
                        <a:pt x="21" y="36"/>
                      </a:cubicBezTo>
                      <a:cubicBezTo>
                        <a:pt x="10" y="36"/>
                        <a:pt x="0" y="28"/>
                        <a:pt x="0" y="18"/>
                      </a:cubicBezTo>
                      <a:cubicBezTo>
                        <a:pt x="0" y="8"/>
                        <a:pt x="10"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7" name="Freeform 422"/>
                <p:cNvSpPr>
                  <a:spLocks/>
                </p:cNvSpPr>
                <p:nvPr/>
              </p:nvSpPr>
              <p:spPr bwMode="auto">
                <a:xfrm>
                  <a:off x="5154220"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8" name="Freeform 423"/>
                <p:cNvSpPr>
                  <a:spLocks/>
                </p:cNvSpPr>
                <p:nvPr/>
              </p:nvSpPr>
              <p:spPr bwMode="auto">
                <a:xfrm>
                  <a:off x="5684803" y="4962150"/>
                  <a:ext cx="411015" cy="156933"/>
                </a:xfrm>
                <a:custGeom>
                  <a:avLst/>
                  <a:gdLst>
                    <a:gd name="T0" fmla="*/ 21 w 96"/>
                    <a:gd name="T1" fmla="*/ 0 h 36"/>
                    <a:gd name="T2" fmla="*/ 75 w 96"/>
                    <a:gd name="T3" fmla="*/ 0 h 36"/>
                    <a:gd name="T4" fmla="*/ 96 w 96"/>
                    <a:gd name="T5" fmla="*/ 18 h 36"/>
                    <a:gd name="T6" fmla="*/ 75 w 96"/>
                    <a:gd name="T7" fmla="*/ 36 h 36"/>
                    <a:gd name="T8" fmla="*/ 21 w 96"/>
                    <a:gd name="T9" fmla="*/ 36 h 36"/>
                    <a:gd name="T10" fmla="*/ 0 w 96"/>
                    <a:gd name="T11" fmla="*/ 18 h 36"/>
                    <a:gd name="T12" fmla="*/ 21 w 9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21" y="0"/>
                      </a:moveTo>
                      <a:cubicBezTo>
                        <a:pt x="75" y="0"/>
                        <a:pt x="75" y="0"/>
                        <a:pt x="75" y="0"/>
                      </a:cubicBezTo>
                      <a:cubicBezTo>
                        <a:pt x="86" y="0"/>
                        <a:pt x="96" y="8"/>
                        <a:pt x="96" y="18"/>
                      </a:cubicBezTo>
                      <a:cubicBezTo>
                        <a:pt x="96" y="28"/>
                        <a:pt x="86" y="36"/>
                        <a:pt x="75" y="36"/>
                      </a:cubicBezTo>
                      <a:cubicBezTo>
                        <a:pt x="21" y="36"/>
                        <a:pt x="21" y="36"/>
                        <a:pt x="21" y="36"/>
                      </a:cubicBezTo>
                      <a:cubicBezTo>
                        <a:pt x="9" y="36"/>
                        <a:pt x="0" y="28"/>
                        <a:pt x="0" y="18"/>
                      </a:cubicBezTo>
                      <a:cubicBezTo>
                        <a:pt x="0" y="8"/>
                        <a:pt x="9" y="0"/>
                        <a:pt x="21" y="0"/>
                      </a:cubicBez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69" name="Freeform 424"/>
                <p:cNvSpPr>
                  <a:spLocks/>
                </p:cNvSpPr>
                <p:nvPr/>
              </p:nvSpPr>
              <p:spPr bwMode="auto">
                <a:xfrm>
                  <a:off x="5759533" y="4962150"/>
                  <a:ext cx="261555" cy="156933"/>
                </a:xfrm>
                <a:custGeom>
                  <a:avLst/>
                  <a:gdLst>
                    <a:gd name="T0" fmla="*/ 0 w 35"/>
                    <a:gd name="T1" fmla="*/ 21 h 21"/>
                    <a:gd name="T2" fmla="*/ 0 w 35"/>
                    <a:gd name="T3" fmla="*/ 0 h 21"/>
                    <a:gd name="T4" fmla="*/ 35 w 35"/>
                    <a:gd name="T5" fmla="*/ 0 h 21"/>
                    <a:gd name="T6" fmla="*/ 35 w 35"/>
                    <a:gd name="T7" fmla="*/ 21 h 21"/>
                    <a:gd name="T8" fmla="*/ 0 w 35"/>
                    <a:gd name="T9" fmla="*/ 21 h 21"/>
                    <a:gd name="T10" fmla="*/ 0 w 35"/>
                    <a:gd name="T11" fmla="*/ 21 h 21"/>
                  </a:gdLst>
                  <a:ahLst/>
                  <a:cxnLst>
                    <a:cxn ang="0">
                      <a:pos x="T0" y="T1"/>
                    </a:cxn>
                    <a:cxn ang="0">
                      <a:pos x="T2" y="T3"/>
                    </a:cxn>
                    <a:cxn ang="0">
                      <a:pos x="T4" y="T5"/>
                    </a:cxn>
                    <a:cxn ang="0">
                      <a:pos x="T6" y="T7"/>
                    </a:cxn>
                    <a:cxn ang="0">
                      <a:pos x="T8" y="T9"/>
                    </a:cxn>
                    <a:cxn ang="0">
                      <a:pos x="T10" y="T11"/>
                    </a:cxn>
                  </a:cxnLst>
                  <a:rect l="0" t="0" r="r" b="b"/>
                  <a:pathLst>
                    <a:path w="35" h="21">
                      <a:moveTo>
                        <a:pt x="0" y="21"/>
                      </a:moveTo>
                      <a:lnTo>
                        <a:pt x="0" y="0"/>
                      </a:lnTo>
                      <a:lnTo>
                        <a:pt x="35" y="0"/>
                      </a:lnTo>
                      <a:lnTo>
                        <a:pt x="35" y="21"/>
                      </a:lnTo>
                      <a:lnTo>
                        <a:pt x="0" y="21"/>
                      </a:lnTo>
                      <a:lnTo>
                        <a:pt x="0" y="21"/>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0" name="Freeform 425"/>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1" name="Freeform 426"/>
                <p:cNvSpPr>
                  <a:spLocks noEditPoints="1"/>
                </p:cNvSpPr>
                <p:nvPr/>
              </p:nvSpPr>
              <p:spPr bwMode="auto">
                <a:xfrm>
                  <a:off x="5027179" y="3064008"/>
                  <a:ext cx="1322721" cy="112095"/>
                </a:xfrm>
                <a:custGeom>
                  <a:avLst/>
                  <a:gdLst>
                    <a:gd name="T0" fmla="*/ 0 w 177"/>
                    <a:gd name="T1" fmla="*/ 4 h 15"/>
                    <a:gd name="T2" fmla="*/ 11 w 177"/>
                    <a:gd name="T3" fmla="*/ 4 h 15"/>
                    <a:gd name="T4" fmla="*/ 11 w 177"/>
                    <a:gd name="T5" fmla="*/ 11 h 15"/>
                    <a:gd name="T6" fmla="*/ 0 w 177"/>
                    <a:gd name="T7" fmla="*/ 11 h 15"/>
                    <a:gd name="T8" fmla="*/ 0 w 177"/>
                    <a:gd name="T9" fmla="*/ 4 h 15"/>
                    <a:gd name="T10" fmla="*/ 0 w 177"/>
                    <a:gd name="T11" fmla="*/ 4 h 15"/>
                    <a:gd name="T12" fmla="*/ 26 w 177"/>
                    <a:gd name="T13" fmla="*/ 11 h 15"/>
                    <a:gd name="T14" fmla="*/ 26 w 177"/>
                    <a:gd name="T15" fmla="*/ 4 h 15"/>
                    <a:gd name="T16" fmla="*/ 32 w 177"/>
                    <a:gd name="T17" fmla="*/ 4 h 15"/>
                    <a:gd name="T18" fmla="*/ 32 w 177"/>
                    <a:gd name="T19" fmla="*/ 11 h 15"/>
                    <a:gd name="T20" fmla="*/ 26 w 177"/>
                    <a:gd name="T21" fmla="*/ 11 h 15"/>
                    <a:gd name="T22" fmla="*/ 26 w 177"/>
                    <a:gd name="T23" fmla="*/ 11 h 15"/>
                    <a:gd name="T24" fmla="*/ 46 w 177"/>
                    <a:gd name="T25" fmla="*/ 11 h 15"/>
                    <a:gd name="T26" fmla="*/ 46 w 177"/>
                    <a:gd name="T27" fmla="*/ 4 h 15"/>
                    <a:gd name="T28" fmla="*/ 88 w 177"/>
                    <a:gd name="T29" fmla="*/ 4 h 15"/>
                    <a:gd name="T30" fmla="*/ 88 w 177"/>
                    <a:gd name="T31" fmla="*/ 11 h 15"/>
                    <a:gd name="T32" fmla="*/ 46 w 177"/>
                    <a:gd name="T33" fmla="*/ 11 h 15"/>
                    <a:gd name="T34" fmla="*/ 46 w 177"/>
                    <a:gd name="T35" fmla="*/ 11 h 15"/>
                    <a:gd name="T36" fmla="*/ 111 w 177"/>
                    <a:gd name="T37" fmla="*/ 11 h 15"/>
                    <a:gd name="T38" fmla="*/ 111 w 177"/>
                    <a:gd name="T39" fmla="*/ 4 h 15"/>
                    <a:gd name="T40" fmla="*/ 114 w 177"/>
                    <a:gd name="T41" fmla="*/ 4 h 15"/>
                    <a:gd name="T42" fmla="*/ 114 w 177"/>
                    <a:gd name="T43" fmla="*/ 11 h 15"/>
                    <a:gd name="T44" fmla="*/ 111 w 177"/>
                    <a:gd name="T45" fmla="*/ 11 h 15"/>
                    <a:gd name="T46" fmla="*/ 111 w 177"/>
                    <a:gd name="T47" fmla="*/ 11 h 15"/>
                    <a:gd name="T48" fmla="*/ 136 w 177"/>
                    <a:gd name="T49" fmla="*/ 4 h 15"/>
                    <a:gd name="T50" fmla="*/ 155 w 177"/>
                    <a:gd name="T51" fmla="*/ 4 h 15"/>
                    <a:gd name="T52" fmla="*/ 155 w 177"/>
                    <a:gd name="T53" fmla="*/ 0 h 15"/>
                    <a:gd name="T54" fmla="*/ 177 w 177"/>
                    <a:gd name="T55" fmla="*/ 0 h 15"/>
                    <a:gd name="T56" fmla="*/ 177 w 177"/>
                    <a:gd name="T57" fmla="*/ 15 h 15"/>
                    <a:gd name="T58" fmla="*/ 155 w 177"/>
                    <a:gd name="T59" fmla="*/ 15 h 15"/>
                    <a:gd name="T60" fmla="*/ 155 w 177"/>
                    <a:gd name="T61" fmla="*/ 11 h 15"/>
                    <a:gd name="T62" fmla="*/ 136 w 177"/>
                    <a:gd name="T63" fmla="*/ 11 h 15"/>
                    <a:gd name="T64" fmla="*/ 136 w 177"/>
                    <a:gd name="T65" fmla="*/ 4 h 15"/>
                    <a:gd name="T66" fmla="*/ 136 w 177"/>
                    <a:gd name="T6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5">
                      <a:moveTo>
                        <a:pt x="0" y="4"/>
                      </a:moveTo>
                      <a:lnTo>
                        <a:pt x="11" y="4"/>
                      </a:lnTo>
                      <a:lnTo>
                        <a:pt x="11" y="11"/>
                      </a:lnTo>
                      <a:lnTo>
                        <a:pt x="0" y="11"/>
                      </a:lnTo>
                      <a:lnTo>
                        <a:pt x="0" y="4"/>
                      </a:lnTo>
                      <a:lnTo>
                        <a:pt x="0" y="4"/>
                      </a:lnTo>
                      <a:close/>
                      <a:moveTo>
                        <a:pt x="26" y="11"/>
                      </a:moveTo>
                      <a:lnTo>
                        <a:pt x="26" y="4"/>
                      </a:lnTo>
                      <a:lnTo>
                        <a:pt x="32" y="4"/>
                      </a:lnTo>
                      <a:lnTo>
                        <a:pt x="32" y="11"/>
                      </a:lnTo>
                      <a:lnTo>
                        <a:pt x="26" y="11"/>
                      </a:lnTo>
                      <a:lnTo>
                        <a:pt x="26" y="11"/>
                      </a:lnTo>
                      <a:close/>
                      <a:moveTo>
                        <a:pt x="46" y="11"/>
                      </a:moveTo>
                      <a:lnTo>
                        <a:pt x="46" y="4"/>
                      </a:lnTo>
                      <a:lnTo>
                        <a:pt x="88" y="4"/>
                      </a:lnTo>
                      <a:lnTo>
                        <a:pt x="88" y="11"/>
                      </a:lnTo>
                      <a:lnTo>
                        <a:pt x="46" y="11"/>
                      </a:lnTo>
                      <a:lnTo>
                        <a:pt x="46" y="11"/>
                      </a:lnTo>
                      <a:close/>
                      <a:moveTo>
                        <a:pt x="111" y="11"/>
                      </a:moveTo>
                      <a:lnTo>
                        <a:pt x="111" y="4"/>
                      </a:lnTo>
                      <a:lnTo>
                        <a:pt x="114" y="4"/>
                      </a:lnTo>
                      <a:lnTo>
                        <a:pt x="114" y="11"/>
                      </a:lnTo>
                      <a:lnTo>
                        <a:pt x="111" y="11"/>
                      </a:lnTo>
                      <a:lnTo>
                        <a:pt x="111" y="11"/>
                      </a:lnTo>
                      <a:close/>
                      <a:moveTo>
                        <a:pt x="136" y="4"/>
                      </a:moveTo>
                      <a:lnTo>
                        <a:pt x="155" y="4"/>
                      </a:lnTo>
                      <a:lnTo>
                        <a:pt x="155" y="0"/>
                      </a:lnTo>
                      <a:lnTo>
                        <a:pt x="177" y="0"/>
                      </a:lnTo>
                      <a:lnTo>
                        <a:pt x="177" y="15"/>
                      </a:lnTo>
                      <a:lnTo>
                        <a:pt x="155" y="15"/>
                      </a:lnTo>
                      <a:lnTo>
                        <a:pt x="155" y="11"/>
                      </a:lnTo>
                      <a:lnTo>
                        <a:pt x="136" y="11"/>
                      </a:lnTo>
                      <a:lnTo>
                        <a:pt x="136" y="4"/>
                      </a:lnTo>
                      <a:lnTo>
                        <a:pt x="136" y="4"/>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2" name="Freeform 427"/>
                <p:cNvSpPr>
                  <a:spLocks/>
                </p:cNvSpPr>
                <p:nvPr/>
              </p:nvSpPr>
              <p:spPr bwMode="auto">
                <a:xfrm>
                  <a:off x="5109382" y="2981805"/>
                  <a:ext cx="112095" cy="269028"/>
                </a:xfrm>
                <a:custGeom>
                  <a:avLst/>
                  <a:gdLst>
                    <a:gd name="T0" fmla="*/ 0 w 15"/>
                    <a:gd name="T1" fmla="*/ 0 h 36"/>
                    <a:gd name="T2" fmla="*/ 8 w 15"/>
                    <a:gd name="T3" fmla="*/ 6 h 36"/>
                    <a:gd name="T4" fmla="*/ 8 w 15"/>
                    <a:gd name="T5" fmla="*/ 11 h 36"/>
                    <a:gd name="T6" fmla="*/ 14 w 15"/>
                    <a:gd name="T7" fmla="*/ 11 h 36"/>
                    <a:gd name="T8" fmla="*/ 15 w 15"/>
                    <a:gd name="T9" fmla="*/ 12 h 36"/>
                    <a:gd name="T10" fmla="*/ 15 w 15"/>
                    <a:gd name="T11" fmla="*/ 24 h 36"/>
                    <a:gd name="T12" fmla="*/ 0 w 15"/>
                    <a:gd name="T13" fmla="*/ 36 h 36"/>
                    <a:gd name="T14" fmla="*/ 0 w 15"/>
                    <a:gd name="T15" fmla="*/ 0 h 36"/>
                    <a:gd name="T16" fmla="*/ 0 w 1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6">
                      <a:moveTo>
                        <a:pt x="0" y="0"/>
                      </a:moveTo>
                      <a:lnTo>
                        <a:pt x="8" y="6"/>
                      </a:lnTo>
                      <a:lnTo>
                        <a:pt x="8" y="11"/>
                      </a:lnTo>
                      <a:lnTo>
                        <a:pt x="14" y="11"/>
                      </a:lnTo>
                      <a:lnTo>
                        <a:pt x="15" y="12"/>
                      </a:lnTo>
                      <a:lnTo>
                        <a:pt x="15" y="24"/>
                      </a:lnTo>
                      <a:lnTo>
                        <a:pt x="0" y="36"/>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3" name="Freeform 429"/>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solidFill>
                  <a:srgbClr val="FFFFFF"/>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4" name="Freeform 430"/>
                <p:cNvSpPr>
                  <a:spLocks/>
                </p:cNvSpPr>
                <p:nvPr/>
              </p:nvSpPr>
              <p:spPr bwMode="auto">
                <a:xfrm>
                  <a:off x="5266315" y="2981805"/>
                  <a:ext cx="104622" cy="269028"/>
                </a:xfrm>
                <a:custGeom>
                  <a:avLst/>
                  <a:gdLst>
                    <a:gd name="T0" fmla="*/ 14 w 14"/>
                    <a:gd name="T1" fmla="*/ 0 h 36"/>
                    <a:gd name="T2" fmla="*/ 0 w 14"/>
                    <a:gd name="T3" fmla="*/ 12 h 36"/>
                    <a:gd name="T4" fmla="*/ 0 w 14"/>
                    <a:gd name="T5" fmla="*/ 24 h 36"/>
                    <a:gd name="T6" fmla="*/ 14 w 14"/>
                    <a:gd name="T7" fmla="*/ 36 h 36"/>
                    <a:gd name="T8" fmla="*/ 14 w 14"/>
                    <a:gd name="T9" fmla="*/ 0 h 36"/>
                    <a:gd name="T10" fmla="*/ 14 w 14"/>
                    <a:gd name="T11" fmla="*/ 0 h 36"/>
                  </a:gdLst>
                  <a:ahLst/>
                  <a:cxnLst>
                    <a:cxn ang="0">
                      <a:pos x="T0" y="T1"/>
                    </a:cxn>
                    <a:cxn ang="0">
                      <a:pos x="T2" y="T3"/>
                    </a:cxn>
                    <a:cxn ang="0">
                      <a:pos x="T4" y="T5"/>
                    </a:cxn>
                    <a:cxn ang="0">
                      <a:pos x="T6" y="T7"/>
                    </a:cxn>
                    <a:cxn ang="0">
                      <a:pos x="T8" y="T9"/>
                    </a:cxn>
                    <a:cxn ang="0">
                      <a:pos x="T10" y="T11"/>
                    </a:cxn>
                  </a:cxnLst>
                  <a:rect l="0" t="0" r="r" b="b"/>
                  <a:pathLst>
                    <a:path w="14" h="36">
                      <a:moveTo>
                        <a:pt x="14" y="0"/>
                      </a:moveTo>
                      <a:lnTo>
                        <a:pt x="0" y="12"/>
                      </a:lnTo>
                      <a:lnTo>
                        <a:pt x="0" y="24"/>
                      </a:lnTo>
                      <a:lnTo>
                        <a:pt x="14" y="36"/>
                      </a:lnTo>
                      <a:lnTo>
                        <a:pt x="14" y="0"/>
                      </a:lnTo>
                      <a:lnTo>
                        <a:pt x="14"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5" name="Freeform 431"/>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6" name="Freeform 432"/>
                <p:cNvSpPr>
                  <a:spLocks/>
                </p:cNvSpPr>
                <p:nvPr/>
              </p:nvSpPr>
              <p:spPr bwMode="auto">
                <a:xfrm>
                  <a:off x="5684803" y="2922021"/>
                  <a:ext cx="171879" cy="381123"/>
                </a:xfrm>
                <a:custGeom>
                  <a:avLst/>
                  <a:gdLst>
                    <a:gd name="T0" fmla="*/ 0 w 23"/>
                    <a:gd name="T1" fmla="*/ 0 h 51"/>
                    <a:gd name="T2" fmla="*/ 23 w 23"/>
                    <a:gd name="T3" fmla="*/ 15 h 51"/>
                    <a:gd name="T4" fmla="*/ 23 w 23"/>
                    <a:gd name="T5" fmla="*/ 37 h 51"/>
                    <a:gd name="T6" fmla="*/ 0 w 23"/>
                    <a:gd name="T7" fmla="*/ 51 h 51"/>
                    <a:gd name="T8" fmla="*/ 0 w 23"/>
                    <a:gd name="T9" fmla="*/ 0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23" y="15"/>
                      </a:lnTo>
                      <a:lnTo>
                        <a:pt x="23" y="37"/>
                      </a:lnTo>
                      <a:lnTo>
                        <a:pt x="0" y="51"/>
                      </a:lnTo>
                      <a:lnTo>
                        <a:pt x="0" y="0"/>
                      </a:lnTo>
                      <a:lnTo>
                        <a:pt x="0"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7" name="Freeform 433"/>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78" name="Freeform 434"/>
                <p:cNvSpPr>
                  <a:spLocks/>
                </p:cNvSpPr>
                <p:nvPr/>
              </p:nvSpPr>
              <p:spPr bwMode="auto">
                <a:xfrm>
                  <a:off x="5879101" y="2922021"/>
                  <a:ext cx="164406" cy="381123"/>
                </a:xfrm>
                <a:custGeom>
                  <a:avLst/>
                  <a:gdLst>
                    <a:gd name="T0" fmla="*/ 22 w 22"/>
                    <a:gd name="T1" fmla="*/ 0 h 51"/>
                    <a:gd name="T2" fmla="*/ 0 w 22"/>
                    <a:gd name="T3" fmla="*/ 15 h 51"/>
                    <a:gd name="T4" fmla="*/ 0 w 22"/>
                    <a:gd name="T5" fmla="*/ 37 h 51"/>
                    <a:gd name="T6" fmla="*/ 22 w 22"/>
                    <a:gd name="T7" fmla="*/ 51 h 51"/>
                    <a:gd name="T8" fmla="*/ 22 w 22"/>
                    <a:gd name="T9" fmla="*/ 0 h 51"/>
                    <a:gd name="T10" fmla="*/ 22 w 22"/>
                    <a:gd name="T11" fmla="*/ 0 h 51"/>
                  </a:gdLst>
                  <a:ahLst/>
                  <a:cxnLst>
                    <a:cxn ang="0">
                      <a:pos x="T0" y="T1"/>
                    </a:cxn>
                    <a:cxn ang="0">
                      <a:pos x="T2" y="T3"/>
                    </a:cxn>
                    <a:cxn ang="0">
                      <a:pos x="T4" y="T5"/>
                    </a:cxn>
                    <a:cxn ang="0">
                      <a:pos x="T6" y="T7"/>
                    </a:cxn>
                    <a:cxn ang="0">
                      <a:pos x="T8" y="T9"/>
                    </a:cxn>
                    <a:cxn ang="0">
                      <a:pos x="T10" y="T11"/>
                    </a:cxn>
                  </a:cxnLst>
                  <a:rect l="0" t="0" r="r" b="b"/>
                  <a:pathLst>
                    <a:path w="22" h="51">
                      <a:moveTo>
                        <a:pt x="22" y="0"/>
                      </a:moveTo>
                      <a:lnTo>
                        <a:pt x="0" y="15"/>
                      </a:lnTo>
                      <a:lnTo>
                        <a:pt x="0" y="37"/>
                      </a:lnTo>
                      <a:lnTo>
                        <a:pt x="22" y="51"/>
                      </a:lnTo>
                      <a:lnTo>
                        <a:pt x="22" y="0"/>
                      </a:lnTo>
                      <a:lnTo>
                        <a:pt x="22" y="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79" name="Freeform 435"/>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solidFill>
                  <a:srgbClr val="FFFFFF"/>
                </a:solidFill>
                <a:ln w="15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80" name="Freeform 436"/>
                <p:cNvSpPr>
                  <a:spLocks/>
                </p:cNvSpPr>
                <p:nvPr/>
              </p:nvSpPr>
              <p:spPr bwMode="auto">
                <a:xfrm>
                  <a:off x="5169166" y="2966859"/>
                  <a:ext cx="44838" cy="97149"/>
                </a:xfrm>
                <a:custGeom>
                  <a:avLst/>
                  <a:gdLst>
                    <a:gd name="T0" fmla="*/ 0 w 6"/>
                    <a:gd name="T1" fmla="*/ 13 h 13"/>
                    <a:gd name="T2" fmla="*/ 0 w 6"/>
                    <a:gd name="T3" fmla="*/ 0 h 13"/>
                    <a:gd name="T4" fmla="*/ 6 w 6"/>
                    <a:gd name="T5" fmla="*/ 0 h 13"/>
                    <a:gd name="T6" fmla="*/ 6 w 6"/>
                    <a:gd name="T7" fmla="*/ 13 h 13"/>
                    <a:gd name="T8" fmla="*/ 0 w 6"/>
                    <a:gd name="T9" fmla="*/ 13 h 13"/>
                    <a:gd name="T10" fmla="*/ 0 w 6"/>
                    <a:gd name="T11" fmla="*/ 13 h 13"/>
                  </a:gdLst>
                  <a:ahLst/>
                  <a:cxnLst>
                    <a:cxn ang="0">
                      <a:pos x="T0" y="T1"/>
                    </a:cxn>
                    <a:cxn ang="0">
                      <a:pos x="T2" y="T3"/>
                    </a:cxn>
                    <a:cxn ang="0">
                      <a:pos x="T4" y="T5"/>
                    </a:cxn>
                    <a:cxn ang="0">
                      <a:pos x="T6" y="T7"/>
                    </a:cxn>
                    <a:cxn ang="0">
                      <a:pos x="T8" y="T9"/>
                    </a:cxn>
                    <a:cxn ang="0">
                      <a:pos x="T10" y="T11"/>
                    </a:cxn>
                  </a:cxnLst>
                  <a:rect l="0" t="0" r="r" b="b"/>
                  <a:pathLst>
                    <a:path w="6" h="13">
                      <a:moveTo>
                        <a:pt x="0" y="13"/>
                      </a:moveTo>
                      <a:lnTo>
                        <a:pt x="0" y="0"/>
                      </a:lnTo>
                      <a:lnTo>
                        <a:pt x="6" y="0"/>
                      </a:lnTo>
                      <a:lnTo>
                        <a:pt x="6" y="13"/>
                      </a:lnTo>
                      <a:lnTo>
                        <a:pt x="0" y="13"/>
                      </a:lnTo>
                      <a:lnTo>
                        <a:pt x="0" y="13"/>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81" name="Freeform 437"/>
                <p:cNvSpPr>
                  <a:spLocks/>
                </p:cNvSpPr>
                <p:nvPr/>
              </p:nvSpPr>
              <p:spPr bwMode="auto">
                <a:xfrm>
                  <a:off x="5953831" y="5014461"/>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2" name="Freeform 438"/>
                <p:cNvSpPr>
                  <a:spLocks noEditPoints="1"/>
                </p:cNvSpPr>
                <p:nvPr/>
              </p:nvSpPr>
              <p:spPr bwMode="auto">
                <a:xfrm>
                  <a:off x="588657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3" name="Freeform 439"/>
                <p:cNvSpPr>
                  <a:spLocks/>
                </p:cNvSpPr>
                <p:nvPr/>
              </p:nvSpPr>
              <p:spPr bwMode="auto">
                <a:xfrm>
                  <a:off x="5849209"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4" name="Freeform 440"/>
                <p:cNvSpPr>
                  <a:spLocks/>
                </p:cNvSpPr>
                <p:nvPr/>
              </p:nvSpPr>
              <p:spPr bwMode="auto">
                <a:xfrm>
                  <a:off x="580437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5" name="Freeform 441"/>
                <p:cNvSpPr>
                  <a:spLocks/>
                </p:cNvSpPr>
                <p:nvPr/>
              </p:nvSpPr>
              <p:spPr bwMode="auto">
                <a:xfrm>
                  <a:off x="5355991" y="5014461"/>
                  <a:ext cx="29892" cy="44838"/>
                </a:xfrm>
                <a:custGeom>
                  <a:avLst/>
                  <a:gdLst>
                    <a:gd name="T0" fmla="*/ 4 w 4"/>
                    <a:gd name="T1" fmla="*/ 6 h 6"/>
                    <a:gd name="T2" fmla="*/ 4 w 4"/>
                    <a:gd name="T3" fmla="*/ 4 h 6"/>
                    <a:gd name="T4" fmla="*/ 1 w 4"/>
                    <a:gd name="T5" fmla="*/ 4 h 6"/>
                    <a:gd name="T6" fmla="*/ 1 w 4"/>
                    <a:gd name="T7" fmla="*/ 4 h 6"/>
                    <a:gd name="T8" fmla="*/ 2 w 4"/>
                    <a:gd name="T9" fmla="*/ 4 h 6"/>
                    <a:gd name="T10" fmla="*/ 2 w 4"/>
                    <a:gd name="T11" fmla="*/ 3 h 6"/>
                    <a:gd name="T12" fmla="*/ 3 w 4"/>
                    <a:gd name="T13" fmla="*/ 3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1 h 6"/>
                    <a:gd name="T36" fmla="*/ 3 w 4"/>
                    <a:gd name="T37" fmla="*/ 1 h 6"/>
                    <a:gd name="T38" fmla="*/ 3 w 4"/>
                    <a:gd name="T39" fmla="*/ 2 h 6"/>
                    <a:gd name="T40" fmla="*/ 2 w 4"/>
                    <a:gd name="T41" fmla="*/ 2 h 6"/>
                    <a:gd name="T42" fmla="*/ 2 w 4"/>
                    <a:gd name="T43" fmla="*/ 3 h 6"/>
                    <a:gd name="T44" fmla="*/ 1 w 4"/>
                    <a:gd name="T45" fmla="*/ 3 h 6"/>
                    <a:gd name="T46" fmla="*/ 1 w 4"/>
                    <a:gd name="T47" fmla="*/ 4 h 6"/>
                    <a:gd name="T48" fmla="*/ 0 w 4"/>
                    <a:gd name="T49" fmla="*/ 4 h 6"/>
                    <a:gd name="T50" fmla="*/ 0 w 4"/>
                    <a:gd name="T51" fmla="*/ 4 h 6"/>
                    <a:gd name="T52" fmla="*/ 0 w 4"/>
                    <a:gd name="T53" fmla="*/ 4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4"/>
                      </a:lnTo>
                      <a:lnTo>
                        <a:pt x="1" y="4"/>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4"/>
                      </a:lnTo>
                      <a:lnTo>
                        <a:pt x="0" y="4"/>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6" name="Freeform 442"/>
                <p:cNvSpPr>
                  <a:spLocks noEditPoints="1"/>
                </p:cNvSpPr>
                <p:nvPr/>
              </p:nvSpPr>
              <p:spPr bwMode="auto">
                <a:xfrm>
                  <a:off x="528873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7" name="Freeform 443"/>
                <p:cNvSpPr>
                  <a:spLocks/>
                </p:cNvSpPr>
                <p:nvPr/>
              </p:nvSpPr>
              <p:spPr bwMode="auto">
                <a:xfrm>
                  <a:off x="524389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8" name="Freeform 444"/>
                <p:cNvSpPr>
                  <a:spLocks/>
                </p:cNvSpPr>
                <p:nvPr/>
              </p:nvSpPr>
              <p:spPr bwMode="auto">
                <a:xfrm>
                  <a:off x="5206531"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89" name="Freeform 445"/>
                <p:cNvSpPr>
                  <a:spLocks/>
                </p:cNvSpPr>
                <p:nvPr/>
              </p:nvSpPr>
              <p:spPr bwMode="auto">
                <a:xfrm>
                  <a:off x="4750678" y="5014461"/>
                  <a:ext cx="29892" cy="44838"/>
                </a:xfrm>
                <a:custGeom>
                  <a:avLst/>
                  <a:gdLst>
                    <a:gd name="T0" fmla="*/ 4 w 4"/>
                    <a:gd name="T1" fmla="*/ 4 h 6"/>
                    <a:gd name="T2" fmla="*/ 4 w 4"/>
                    <a:gd name="T3" fmla="*/ 3 h 6"/>
                    <a:gd name="T4" fmla="*/ 3 w 4"/>
                    <a:gd name="T5" fmla="*/ 3 h 6"/>
                    <a:gd name="T6" fmla="*/ 3 w 4"/>
                    <a:gd name="T7" fmla="*/ 2 h 6"/>
                    <a:gd name="T8" fmla="*/ 3 w 4"/>
                    <a:gd name="T9" fmla="*/ 2 h 6"/>
                    <a:gd name="T10" fmla="*/ 3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3 w 4"/>
                    <a:gd name="T25" fmla="*/ 1 h 6"/>
                    <a:gd name="T26" fmla="*/ 3 w 4"/>
                    <a:gd name="T27" fmla="*/ 2 h 6"/>
                    <a:gd name="T28" fmla="*/ 2 w 4"/>
                    <a:gd name="T29" fmla="*/ 2 h 6"/>
                    <a:gd name="T30" fmla="*/ 2 w 4"/>
                    <a:gd name="T31" fmla="*/ 2 h 6"/>
                    <a:gd name="T32" fmla="*/ 1 w 4"/>
                    <a:gd name="T33" fmla="*/ 2 h 6"/>
                    <a:gd name="T34" fmla="*/ 1 w 4"/>
                    <a:gd name="T35" fmla="*/ 3 h 6"/>
                    <a:gd name="T36" fmla="*/ 3 w 4"/>
                    <a:gd name="T37" fmla="*/ 3 h 6"/>
                    <a:gd name="T38" fmla="*/ 3 w 4"/>
                    <a:gd name="T39" fmla="*/ 4 h 6"/>
                    <a:gd name="T40" fmla="*/ 1 w 4"/>
                    <a:gd name="T41" fmla="*/ 4 h 6"/>
                    <a:gd name="T42" fmla="*/ 1 w 4"/>
                    <a:gd name="T43" fmla="*/ 4 h 6"/>
                    <a:gd name="T44" fmla="*/ 0 w 4"/>
                    <a:gd name="T45" fmla="*/ 4 h 6"/>
                    <a:gd name="T46" fmla="*/ 0 w 4"/>
                    <a:gd name="T47" fmla="*/ 4 h 6"/>
                    <a:gd name="T48" fmla="*/ 1 w 4"/>
                    <a:gd name="T49" fmla="*/ 4 h 6"/>
                    <a:gd name="T50" fmla="*/ 1 w 4"/>
                    <a:gd name="T51" fmla="*/ 6 h 6"/>
                    <a:gd name="T52" fmla="*/ 3 w 4"/>
                    <a:gd name="T53" fmla="*/ 6 h 6"/>
                    <a:gd name="T54" fmla="*/ 3 w 4"/>
                    <a:gd name="T55" fmla="*/ 4 h 6"/>
                    <a:gd name="T56" fmla="*/ 4 w 4"/>
                    <a:gd name="T57" fmla="*/ 4 h 6"/>
                    <a:gd name="T58" fmla="*/ 4 w 4"/>
                    <a:gd name="T5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4"/>
                      </a:moveTo>
                      <a:lnTo>
                        <a:pt x="4" y="3"/>
                      </a:lnTo>
                      <a:lnTo>
                        <a:pt x="3" y="3"/>
                      </a:lnTo>
                      <a:lnTo>
                        <a:pt x="3" y="2"/>
                      </a:lnTo>
                      <a:lnTo>
                        <a:pt x="3" y="2"/>
                      </a:lnTo>
                      <a:lnTo>
                        <a:pt x="3" y="2"/>
                      </a:lnTo>
                      <a:lnTo>
                        <a:pt x="3" y="2"/>
                      </a:lnTo>
                      <a:lnTo>
                        <a:pt x="3" y="1"/>
                      </a:lnTo>
                      <a:lnTo>
                        <a:pt x="4" y="1"/>
                      </a:lnTo>
                      <a:lnTo>
                        <a:pt x="4" y="0"/>
                      </a:lnTo>
                      <a:lnTo>
                        <a:pt x="0" y="0"/>
                      </a:lnTo>
                      <a:lnTo>
                        <a:pt x="0" y="1"/>
                      </a:lnTo>
                      <a:lnTo>
                        <a:pt x="3" y="1"/>
                      </a:lnTo>
                      <a:lnTo>
                        <a:pt x="3" y="2"/>
                      </a:lnTo>
                      <a:lnTo>
                        <a:pt x="2" y="2"/>
                      </a:lnTo>
                      <a:lnTo>
                        <a:pt x="2" y="2"/>
                      </a:lnTo>
                      <a:lnTo>
                        <a:pt x="1" y="2"/>
                      </a:lnTo>
                      <a:lnTo>
                        <a:pt x="1" y="3"/>
                      </a:lnTo>
                      <a:lnTo>
                        <a:pt x="3" y="3"/>
                      </a:lnTo>
                      <a:lnTo>
                        <a:pt x="3" y="4"/>
                      </a:lnTo>
                      <a:lnTo>
                        <a:pt x="1" y="4"/>
                      </a:lnTo>
                      <a:lnTo>
                        <a:pt x="1" y="4"/>
                      </a:lnTo>
                      <a:lnTo>
                        <a:pt x="0" y="4"/>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0" name="Freeform 446"/>
                <p:cNvSpPr>
                  <a:spLocks noEditPoints="1"/>
                </p:cNvSpPr>
                <p:nvPr/>
              </p:nvSpPr>
              <p:spPr bwMode="auto">
                <a:xfrm>
                  <a:off x="4690894"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2 h 6"/>
                    <a:gd name="T38" fmla="*/ 0 w 4"/>
                    <a:gd name="T39" fmla="*/ 2 h 6"/>
                    <a:gd name="T40" fmla="*/ 0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1" name="Freeform 447"/>
                <p:cNvSpPr>
                  <a:spLocks/>
                </p:cNvSpPr>
                <p:nvPr/>
              </p:nvSpPr>
              <p:spPr bwMode="auto">
                <a:xfrm>
                  <a:off x="4646056" y="5014461"/>
                  <a:ext cx="29892" cy="44838"/>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2" name="Freeform 448"/>
                <p:cNvSpPr>
                  <a:spLocks/>
                </p:cNvSpPr>
                <p:nvPr/>
              </p:nvSpPr>
              <p:spPr bwMode="auto">
                <a:xfrm>
                  <a:off x="4608691" y="5014461"/>
                  <a:ext cx="29892" cy="44838"/>
                </a:xfrm>
                <a:custGeom>
                  <a:avLst/>
                  <a:gdLst>
                    <a:gd name="T0" fmla="*/ 4 w 4"/>
                    <a:gd name="T1" fmla="*/ 6 h 6"/>
                    <a:gd name="T2" fmla="*/ 4 w 4"/>
                    <a:gd name="T3" fmla="*/ 0 h 6"/>
                    <a:gd name="T4" fmla="*/ 3 w 4"/>
                    <a:gd name="T5" fmla="*/ 0 h 6"/>
                    <a:gd name="T6" fmla="*/ 3 w 4"/>
                    <a:gd name="T7" fmla="*/ 2 h 6"/>
                    <a:gd name="T8" fmla="*/ 0 w 4"/>
                    <a:gd name="T9" fmla="*/ 2 h 6"/>
                    <a:gd name="T10" fmla="*/ 0 w 4"/>
                    <a:gd name="T11" fmla="*/ 0 h 6"/>
                    <a:gd name="T12" fmla="*/ 0 w 4"/>
                    <a:gd name="T13" fmla="*/ 0 h 6"/>
                    <a:gd name="T14" fmla="*/ 0 w 4"/>
                    <a:gd name="T15" fmla="*/ 6 h 6"/>
                    <a:gd name="T16" fmla="*/ 0 w 4"/>
                    <a:gd name="T17" fmla="*/ 6 h 6"/>
                    <a:gd name="T18" fmla="*/ 0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0" y="2"/>
                      </a:lnTo>
                      <a:lnTo>
                        <a:pt x="0" y="0"/>
                      </a:lnTo>
                      <a:lnTo>
                        <a:pt x="0" y="0"/>
                      </a:lnTo>
                      <a:lnTo>
                        <a:pt x="0" y="6"/>
                      </a:lnTo>
                      <a:lnTo>
                        <a:pt x="0" y="6"/>
                      </a:lnTo>
                      <a:lnTo>
                        <a:pt x="0"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3" name="Freeform 449"/>
                <p:cNvSpPr>
                  <a:spLocks noEditPoints="1"/>
                </p:cNvSpPr>
                <p:nvPr/>
              </p:nvSpPr>
              <p:spPr bwMode="auto">
                <a:xfrm>
                  <a:off x="4152838" y="5014461"/>
                  <a:ext cx="37365" cy="44838"/>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2 h 6"/>
                    <a:gd name="T16" fmla="*/ 1 w 5"/>
                    <a:gd name="T17" fmla="*/ 2 h 6"/>
                    <a:gd name="T18" fmla="*/ 1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2 h 6"/>
                    <a:gd name="T46" fmla="*/ 2 w 5"/>
                    <a:gd name="T47" fmla="*/ 2 h 6"/>
                    <a:gd name="T48" fmla="*/ 2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6"/>
                      </a:lnTo>
                      <a:lnTo>
                        <a:pt x="4" y="6"/>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4" name="Freeform 450"/>
                <p:cNvSpPr>
                  <a:spLocks noEditPoints="1"/>
                </p:cNvSpPr>
                <p:nvPr/>
              </p:nvSpPr>
              <p:spPr bwMode="auto">
                <a:xfrm>
                  <a:off x="4085581"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5" name="Freeform 451"/>
                <p:cNvSpPr>
                  <a:spLocks/>
                </p:cNvSpPr>
                <p:nvPr/>
              </p:nvSpPr>
              <p:spPr bwMode="auto">
                <a:xfrm>
                  <a:off x="4048216"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6" name="Freeform 452"/>
                <p:cNvSpPr>
                  <a:spLocks/>
                </p:cNvSpPr>
                <p:nvPr/>
              </p:nvSpPr>
              <p:spPr bwMode="auto">
                <a:xfrm>
                  <a:off x="4003378"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7" name="Freeform 453"/>
                <p:cNvSpPr>
                  <a:spLocks noEditPoints="1"/>
                </p:cNvSpPr>
                <p:nvPr/>
              </p:nvSpPr>
              <p:spPr bwMode="auto">
                <a:xfrm>
                  <a:off x="2650765" y="5014461"/>
                  <a:ext cx="22419" cy="44838"/>
                </a:xfrm>
                <a:custGeom>
                  <a:avLst/>
                  <a:gdLst>
                    <a:gd name="T0" fmla="*/ 3 w 3"/>
                    <a:gd name="T1" fmla="*/ 4 h 6"/>
                    <a:gd name="T2" fmla="*/ 3 w 3"/>
                    <a:gd name="T3" fmla="*/ 3 h 6"/>
                    <a:gd name="T4" fmla="*/ 3 w 3"/>
                    <a:gd name="T5" fmla="*/ 3 h 6"/>
                    <a:gd name="T6" fmla="*/ 3 w 3"/>
                    <a:gd name="T7" fmla="*/ 2 h 6"/>
                    <a:gd name="T8" fmla="*/ 0 w 3"/>
                    <a:gd name="T9" fmla="*/ 2 h 6"/>
                    <a:gd name="T10" fmla="*/ 0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0 w 3"/>
                    <a:gd name="T25" fmla="*/ 1 h 6"/>
                    <a:gd name="T26" fmla="*/ 0 w 3"/>
                    <a:gd name="T27" fmla="*/ 2 h 6"/>
                    <a:gd name="T28" fmla="*/ 0 w 3"/>
                    <a:gd name="T29" fmla="*/ 2 h 6"/>
                    <a:gd name="T30" fmla="*/ 0 w 3"/>
                    <a:gd name="T31" fmla="*/ 4 h 6"/>
                    <a:gd name="T32" fmla="*/ 0 w 3"/>
                    <a:gd name="T33" fmla="*/ 4 h 6"/>
                    <a:gd name="T34" fmla="*/ 0 w 3"/>
                    <a:gd name="T35" fmla="*/ 6 h 6"/>
                    <a:gd name="T36" fmla="*/ 3 w 3"/>
                    <a:gd name="T37" fmla="*/ 6 h 6"/>
                    <a:gd name="T38" fmla="*/ 3 w 3"/>
                    <a:gd name="T39" fmla="*/ 4 h 6"/>
                    <a:gd name="T40" fmla="*/ 3 w 3"/>
                    <a:gd name="T41" fmla="*/ 4 h 6"/>
                    <a:gd name="T42" fmla="*/ 3 w 3"/>
                    <a:gd name="T43" fmla="*/ 4 h 6"/>
                    <a:gd name="T44" fmla="*/ 3 w 3"/>
                    <a:gd name="T45" fmla="*/ 4 h 6"/>
                    <a:gd name="T46" fmla="*/ 0 w 3"/>
                    <a:gd name="T47" fmla="*/ 4 h 6"/>
                    <a:gd name="T48" fmla="*/ 0 w 3"/>
                    <a:gd name="T49" fmla="*/ 3 h 6"/>
                    <a:gd name="T50" fmla="*/ 3 w 3"/>
                    <a:gd name="T51" fmla="*/ 3 h 6"/>
                    <a:gd name="T52" fmla="*/ 3 w 3"/>
                    <a:gd name="T53" fmla="*/ 4 h 6"/>
                    <a:gd name="T54" fmla="*/ 3 w 3"/>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4"/>
                      </a:lnTo>
                      <a:lnTo>
                        <a:pt x="0" y="4"/>
                      </a:lnTo>
                      <a:lnTo>
                        <a:pt x="0" y="6"/>
                      </a:lnTo>
                      <a:lnTo>
                        <a:pt x="3" y="6"/>
                      </a:lnTo>
                      <a:lnTo>
                        <a:pt x="3" y="4"/>
                      </a:lnTo>
                      <a:lnTo>
                        <a:pt x="3" y="4"/>
                      </a:lnTo>
                      <a:lnTo>
                        <a:pt x="3" y="4"/>
                      </a:lnTo>
                      <a:close/>
                      <a:moveTo>
                        <a:pt x="3" y="4"/>
                      </a:moveTo>
                      <a:lnTo>
                        <a:pt x="0" y="4"/>
                      </a:lnTo>
                      <a:lnTo>
                        <a:pt x="0"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8" name="Freeform 454"/>
                <p:cNvSpPr>
                  <a:spLocks noEditPoints="1"/>
                </p:cNvSpPr>
                <p:nvPr/>
              </p:nvSpPr>
              <p:spPr bwMode="auto">
                <a:xfrm>
                  <a:off x="258350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299" name="Freeform 455"/>
                <p:cNvSpPr>
                  <a:spLocks/>
                </p:cNvSpPr>
                <p:nvPr/>
              </p:nvSpPr>
              <p:spPr bwMode="auto">
                <a:xfrm>
                  <a:off x="2538670" y="5014461"/>
                  <a:ext cx="37365" cy="44838"/>
                </a:xfrm>
                <a:custGeom>
                  <a:avLst/>
                  <a:gdLst>
                    <a:gd name="T0" fmla="*/ 5 w 5"/>
                    <a:gd name="T1" fmla="*/ 1 h 6"/>
                    <a:gd name="T2" fmla="*/ 5 w 5"/>
                    <a:gd name="T3" fmla="*/ 0 h 6"/>
                    <a:gd name="T4" fmla="*/ 0 w 5"/>
                    <a:gd name="T5" fmla="*/ 0 h 6"/>
                    <a:gd name="T6" fmla="*/ 0 w 5"/>
                    <a:gd name="T7" fmla="*/ 1 h 6"/>
                    <a:gd name="T8" fmla="*/ 2 w 5"/>
                    <a:gd name="T9" fmla="*/ 1 h 6"/>
                    <a:gd name="T10" fmla="*/ 2 w 5"/>
                    <a:gd name="T11" fmla="*/ 6 h 6"/>
                    <a:gd name="T12" fmla="*/ 3 w 5"/>
                    <a:gd name="T13" fmla="*/ 6 h 6"/>
                    <a:gd name="T14" fmla="*/ 3 w 5"/>
                    <a:gd name="T15" fmla="*/ 1 h 6"/>
                    <a:gd name="T16" fmla="*/ 5 w 5"/>
                    <a:gd name="T17" fmla="*/ 1 h 6"/>
                    <a:gd name="T18" fmla="*/ 5 w 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1"/>
                      </a:moveTo>
                      <a:lnTo>
                        <a:pt x="5" y="0"/>
                      </a:lnTo>
                      <a:lnTo>
                        <a:pt x="0" y="0"/>
                      </a:lnTo>
                      <a:lnTo>
                        <a:pt x="0" y="1"/>
                      </a:lnTo>
                      <a:lnTo>
                        <a:pt x="2" y="1"/>
                      </a:lnTo>
                      <a:lnTo>
                        <a:pt x="2" y="6"/>
                      </a:lnTo>
                      <a:lnTo>
                        <a:pt x="3" y="6"/>
                      </a:lnTo>
                      <a:lnTo>
                        <a:pt x="3" y="1"/>
                      </a:lnTo>
                      <a:lnTo>
                        <a:pt x="5" y="1"/>
                      </a:lnTo>
                      <a:lnTo>
                        <a:pt x="5"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0" name="Freeform 456"/>
                <p:cNvSpPr>
                  <a:spLocks/>
                </p:cNvSpPr>
                <p:nvPr/>
              </p:nvSpPr>
              <p:spPr bwMode="auto">
                <a:xfrm>
                  <a:off x="250130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1" name="Freeform 457"/>
                <p:cNvSpPr>
                  <a:spLocks/>
                </p:cNvSpPr>
                <p:nvPr/>
              </p:nvSpPr>
              <p:spPr bwMode="auto">
                <a:xfrm>
                  <a:off x="2127655" y="5014461"/>
                  <a:ext cx="22419" cy="44838"/>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2" name="Freeform 458"/>
                <p:cNvSpPr>
                  <a:spLocks noEditPoints="1"/>
                </p:cNvSpPr>
                <p:nvPr/>
              </p:nvSpPr>
              <p:spPr bwMode="auto">
                <a:xfrm>
                  <a:off x="2060398" y="5014461"/>
                  <a:ext cx="29892" cy="44838"/>
                </a:xfrm>
                <a:custGeom>
                  <a:avLst/>
                  <a:gdLst>
                    <a:gd name="T0" fmla="*/ 4 w 4"/>
                    <a:gd name="T1" fmla="*/ 6 h 6"/>
                    <a:gd name="T2" fmla="*/ 4 w 4"/>
                    <a:gd name="T3" fmla="*/ 4 h 6"/>
                    <a:gd name="T4" fmla="*/ 3 w 4"/>
                    <a:gd name="T5" fmla="*/ 4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4" y="2"/>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3" name="Freeform 459"/>
                <p:cNvSpPr>
                  <a:spLocks/>
                </p:cNvSpPr>
                <p:nvPr/>
              </p:nvSpPr>
              <p:spPr bwMode="auto">
                <a:xfrm>
                  <a:off x="2023033" y="5014461"/>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4" name="Freeform 460"/>
                <p:cNvSpPr>
                  <a:spLocks/>
                </p:cNvSpPr>
                <p:nvPr/>
              </p:nvSpPr>
              <p:spPr bwMode="auto">
                <a:xfrm>
                  <a:off x="1978195" y="5014461"/>
                  <a:ext cx="29892" cy="44838"/>
                </a:xfrm>
                <a:custGeom>
                  <a:avLst/>
                  <a:gdLst>
                    <a:gd name="T0" fmla="*/ 4 w 4"/>
                    <a:gd name="T1" fmla="*/ 6 h 6"/>
                    <a:gd name="T2" fmla="*/ 4 w 4"/>
                    <a:gd name="T3" fmla="*/ 0 h 6"/>
                    <a:gd name="T4" fmla="*/ 3 w 4"/>
                    <a:gd name="T5" fmla="*/ 0 h 6"/>
                    <a:gd name="T6" fmla="*/ 3 w 4"/>
                    <a:gd name="T7" fmla="*/ 2 h 6"/>
                    <a:gd name="T8" fmla="*/ 1 w 4"/>
                    <a:gd name="T9" fmla="*/ 2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2"/>
                      </a:lnTo>
                      <a:lnTo>
                        <a:pt x="1" y="2"/>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5" name="Freeform 461"/>
                <p:cNvSpPr>
                  <a:spLocks noEditPoints="1"/>
                </p:cNvSpPr>
                <p:nvPr/>
              </p:nvSpPr>
              <p:spPr bwMode="auto">
                <a:xfrm>
                  <a:off x="3196294" y="5074245"/>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6 h 6"/>
                    <a:gd name="T24" fmla="*/ 4 w 4"/>
                    <a:gd name="T25" fmla="*/ 6 h 6"/>
                    <a:gd name="T26" fmla="*/ 4 w 4"/>
                    <a:gd name="T27" fmla="*/ 6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6 h 6"/>
                    <a:gd name="T42" fmla="*/ 1 w 4"/>
                    <a:gd name="T43" fmla="*/ 6 h 6"/>
                    <a:gd name="T44" fmla="*/ 1 w 4"/>
                    <a:gd name="T45" fmla="*/ 4 h 6"/>
                    <a:gd name="T46" fmla="*/ 3 w 4"/>
                    <a:gd name="T47" fmla="*/ 4 h 6"/>
                    <a:gd name="T48" fmla="*/ 3 w 4"/>
                    <a:gd name="T49" fmla="*/ 6 h 6"/>
                    <a:gd name="T50" fmla="*/ 3 w 4"/>
                    <a:gd name="T5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6" name="Freeform 462"/>
                <p:cNvSpPr>
                  <a:spLocks/>
                </p:cNvSpPr>
                <p:nvPr/>
              </p:nvSpPr>
              <p:spPr bwMode="auto">
                <a:xfrm>
                  <a:off x="3241132" y="5074245"/>
                  <a:ext cx="22419" cy="44838"/>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7" name="Freeform 463"/>
                <p:cNvSpPr>
                  <a:spLocks noEditPoints="1"/>
                </p:cNvSpPr>
                <p:nvPr/>
              </p:nvSpPr>
              <p:spPr bwMode="auto">
                <a:xfrm>
                  <a:off x="3271024" y="5074245"/>
                  <a:ext cx="37365" cy="44838"/>
                </a:xfrm>
                <a:custGeom>
                  <a:avLst/>
                  <a:gdLst>
                    <a:gd name="T0" fmla="*/ 5 w 5"/>
                    <a:gd name="T1" fmla="*/ 4 h 6"/>
                    <a:gd name="T2" fmla="*/ 5 w 5"/>
                    <a:gd name="T3" fmla="*/ 1 h 6"/>
                    <a:gd name="T4" fmla="*/ 4 w 5"/>
                    <a:gd name="T5" fmla="*/ 1 h 6"/>
                    <a:gd name="T6" fmla="*/ 4 w 5"/>
                    <a:gd name="T7" fmla="*/ 0 h 6"/>
                    <a:gd name="T8" fmla="*/ 0 w 5"/>
                    <a:gd name="T9" fmla="*/ 0 h 6"/>
                    <a:gd name="T10" fmla="*/ 0 w 5"/>
                    <a:gd name="T11" fmla="*/ 6 h 6"/>
                    <a:gd name="T12" fmla="*/ 1 w 5"/>
                    <a:gd name="T13" fmla="*/ 6 h 6"/>
                    <a:gd name="T14" fmla="*/ 1 w 5"/>
                    <a:gd name="T15" fmla="*/ 5 h 6"/>
                    <a:gd name="T16" fmla="*/ 4 w 5"/>
                    <a:gd name="T17" fmla="*/ 5 h 6"/>
                    <a:gd name="T18" fmla="*/ 4 w 5"/>
                    <a:gd name="T19" fmla="*/ 4 h 6"/>
                    <a:gd name="T20" fmla="*/ 5 w 5"/>
                    <a:gd name="T21" fmla="*/ 4 h 6"/>
                    <a:gd name="T22" fmla="*/ 5 w 5"/>
                    <a:gd name="T23" fmla="*/ 4 h 6"/>
                    <a:gd name="T24" fmla="*/ 4 w 5"/>
                    <a:gd name="T25" fmla="*/ 4 h 6"/>
                    <a:gd name="T26" fmla="*/ 1 w 5"/>
                    <a:gd name="T27" fmla="*/ 4 h 6"/>
                    <a:gd name="T28" fmla="*/ 1 w 5"/>
                    <a:gd name="T29" fmla="*/ 1 h 6"/>
                    <a:gd name="T30" fmla="*/ 4 w 5"/>
                    <a:gd name="T31" fmla="*/ 1 h 6"/>
                    <a:gd name="T32" fmla="*/ 4 w 5"/>
                    <a:gd name="T33" fmla="*/ 4 h 6"/>
                    <a:gd name="T34" fmla="*/ 4 w 5"/>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4"/>
                      </a:moveTo>
                      <a:lnTo>
                        <a:pt x="5" y="1"/>
                      </a:lnTo>
                      <a:lnTo>
                        <a:pt x="4" y="1"/>
                      </a:lnTo>
                      <a:lnTo>
                        <a:pt x="4" y="0"/>
                      </a:lnTo>
                      <a:lnTo>
                        <a:pt x="0" y="0"/>
                      </a:lnTo>
                      <a:lnTo>
                        <a:pt x="0" y="6"/>
                      </a:lnTo>
                      <a:lnTo>
                        <a:pt x="1" y="6"/>
                      </a:lnTo>
                      <a:lnTo>
                        <a:pt x="1" y="5"/>
                      </a:lnTo>
                      <a:lnTo>
                        <a:pt x="4" y="5"/>
                      </a:lnTo>
                      <a:lnTo>
                        <a:pt x="4" y="4"/>
                      </a:lnTo>
                      <a:lnTo>
                        <a:pt x="5" y="4"/>
                      </a:lnTo>
                      <a:lnTo>
                        <a:pt x="5"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8" name="Freeform 464"/>
                <p:cNvSpPr>
                  <a:spLocks noEditPoints="1"/>
                </p:cNvSpPr>
                <p:nvPr/>
              </p:nvSpPr>
              <p:spPr bwMode="auto">
                <a:xfrm>
                  <a:off x="3293443" y="4797744"/>
                  <a:ext cx="22419" cy="37365"/>
                </a:xfrm>
                <a:custGeom>
                  <a:avLst/>
                  <a:gdLst>
                    <a:gd name="T0" fmla="*/ 3 w 3"/>
                    <a:gd name="T1" fmla="*/ 4 h 5"/>
                    <a:gd name="T2" fmla="*/ 3 w 3"/>
                    <a:gd name="T3" fmla="*/ 2 h 5"/>
                    <a:gd name="T4" fmla="*/ 3 w 3"/>
                    <a:gd name="T5" fmla="*/ 2 h 5"/>
                    <a:gd name="T6" fmla="*/ 3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3 w 3"/>
                    <a:gd name="T21" fmla="*/ 4 h 5"/>
                    <a:gd name="T22" fmla="*/ 3 w 3"/>
                    <a:gd name="T23" fmla="*/ 4 h 5"/>
                    <a:gd name="T24" fmla="*/ 3 w 3"/>
                    <a:gd name="T25" fmla="*/ 4 h 5"/>
                    <a:gd name="T26" fmla="*/ 3 w 3"/>
                    <a:gd name="T27" fmla="*/ 4 h 5"/>
                    <a:gd name="T28" fmla="*/ 3 w 3"/>
                    <a:gd name="T29" fmla="*/ 4 h 5"/>
                    <a:gd name="T30" fmla="*/ 2 w 3"/>
                    <a:gd name="T31" fmla="*/ 4 h 5"/>
                    <a:gd name="T32" fmla="*/ 2 w 3"/>
                    <a:gd name="T33" fmla="*/ 4 h 5"/>
                    <a:gd name="T34" fmla="*/ 1 w 3"/>
                    <a:gd name="T35" fmla="*/ 4 h 5"/>
                    <a:gd name="T36" fmla="*/ 1 w 3"/>
                    <a:gd name="T37" fmla="*/ 0 h 5"/>
                    <a:gd name="T38" fmla="*/ 2 w 3"/>
                    <a:gd name="T39" fmla="*/ 0 h 5"/>
                    <a:gd name="T40" fmla="*/ 2 w 3"/>
                    <a:gd name="T41" fmla="*/ 2 h 5"/>
                    <a:gd name="T42" fmla="*/ 3 w 3"/>
                    <a:gd name="T43" fmla="*/ 2 h 5"/>
                    <a:gd name="T44" fmla="*/ 3 w 3"/>
                    <a:gd name="T45" fmla="*/ 4 h 5"/>
                    <a:gd name="T46" fmla="*/ 3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2"/>
                      </a:lnTo>
                      <a:lnTo>
                        <a:pt x="3" y="2"/>
                      </a:lnTo>
                      <a:lnTo>
                        <a:pt x="3" y="0"/>
                      </a:lnTo>
                      <a:lnTo>
                        <a:pt x="2" y="0"/>
                      </a:lnTo>
                      <a:lnTo>
                        <a:pt x="2" y="0"/>
                      </a:lnTo>
                      <a:lnTo>
                        <a:pt x="0" y="0"/>
                      </a:lnTo>
                      <a:lnTo>
                        <a:pt x="0" y="5"/>
                      </a:lnTo>
                      <a:lnTo>
                        <a:pt x="2" y="5"/>
                      </a:lnTo>
                      <a:lnTo>
                        <a:pt x="2" y="4"/>
                      </a:lnTo>
                      <a:lnTo>
                        <a:pt x="3" y="4"/>
                      </a:lnTo>
                      <a:lnTo>
                        <a:pt x="3" y="4"/>
                      </a:lnTo>
                      <a:lnTo>
                        <a:pt x="3" y="4"/>
                      </a:lnTo>
                      <a:lnTo>
                        <a:pt x="3" y="4"/>
                      </a:lnTo>
                      <a:close/>
                      <a:moveTo>
                        <a:pt x="3" y="4"/>
                      </a:moveTo>
                      <a:lnTo>
                        <a:pt x="2" y="4"/>
                      </a:lnTo>
                      <a:lnTo>
                        <a:pt x="2" y="4"/>
                      </a:lnTo>
                      <a:lnTo>
                        <a:pt x="1" y="4"/>
                      </a:lnTo>
                      <a:lnTo>
                        <a:pt x="1"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09" name="Freeform 465"/>
                <p:cNvSpPr>
                  <a:spLocks/>
                </p:cNvSpPr>
                <p:nvPr/>
              </p:nvSpPr>
              <p:spPr bwMode="auto">
                <a:xfrm>
                  <a:off x="3330808" y="4797744"/>
                  <a:ext cx="22419" cy="37365"/>
                </a:xfrm>
                <a:custGeom>
                  <a:avLst/>
                  <a:gdLst>
                    <a:gd name="T0" fmla="*/ 3 w 3"/>
                    <a:gd name="T1" fmla="*/ 5 h 5"/>
                    <a:gd name="T2" fmla="*/ 3 w 3"/>
                    <a:gd name="T3" fmla="*/ 4 h 5"/>
                    <a:gd name="T4" fmla="*/ 0 w 3"/>
                    <a:gd name="T5" fmla="*/ 4 h 5"/>
                    <a:gd name="T6" fmla="*/ 0 w 3"/>
                    <a:gd name="T7" fmla="*/ 3 h 5"/>
                    <a:gd name="T8" fmla="*/ 2 w 3"/>
                    <a:gd name="T9" fmla="*/ 3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3"/>
                      </a:lnTo>
                      <a:lnTo>
                        <a:pt x="2" y="3"/>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0" name="Freeform 466"/>
                <p:cNvSpPr>
                  <a:spLocks noEditPoints="1"/>
                </p:cNvSpPr>
                <p:nvPr/>
              </p:nvSpPr>
              <p:spPr bwMode="auto">
                <a:xfrm>
                  <a:off x="3353227" y="4797744"/>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2 h 5"/>
                    <a:gd name="T42" fmla="*/ 3 w 4"/>
                    <a:gd name="T43" fmla="*/ 2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1" name="Freeform 467"/>
                <p:cNvSpPr>
                  <a:spLocks/>
                </p:cNvSpPr>
                <p:nvPr/>
              </p:nvSpPr>
              <p:spPr bwMode="auto">
                <a:xfrm>
                  <a:off x="3390592" y="4797744"/>
                  <a:ext cx="22419"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2" name="Freeform 468"/>
                <p:cNvSpPr>
                  <a:spLocks noEditPoints="1"/>
                </p:cNvSpPr>
                <p:nvPr/>
              </p:nvSpPr>
              <p:spPr bwMode="auto">
                <a:xfrm>
                  <a:off x="3420484"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3" y="3"/>
                      </a:lnTo>
                      <a:lnTo>
                        <a:pt x="3"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3" name="Freeform 469"/>
                <p:cNvSpPr>
                  <a:spLocks noEditPoints="1"/>
                </p:cNvSpPr>
                <p:nvPr/>
              </p:nvSpPr>
              <p:spPr bwMode="auto">
                <a:xfrm>
                  <a:off x="3457849" y="4797744"/>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2 h 5"/>
                    <a:gd name="T42" fmla="*/ 2 w 3"/>
                    <a:gd name="T43" fmla="*/ 2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4" name="Freeform 470"/>
                <p:cNvSpPr>
                  <a:spLocks/>
                </p:cNvSpPr>
                <p:nvPr/>
              </p:nvSpPr>
              <p:spPr bwMode="auto">
                <a:xfrm>
                  <a:off x="3480268" y="4797744"/>
                  <a:ext cx="37365" cy="37365"/>
                </a:xfrm>
                <a:custGeom>
                  <a:avLst/>
                  <a:gdLst>
                    <a:gd name="T0" fmla="*/ 5 w 5"/>
                    <a:gd name="T1" fmla="*/ 0 h 5"/>
                    <a:gd name="T2" fmla="*/ 5 w 5"/>
                    <a:gd name="T3" fmla="*/ 0 h 5"/>
                    <a:gd name="T4" fmla="*/ 0 w 5"/>
                    <a:gd name="T5" fmla="*/ 0 h 5"/>
                    <a:gd name="T6" fmla="*/ 0 w 5"/>
                    <a:gd name="T7" fmla="*/ 0 h 5"/>
                    <a:gd name="T8" fmla="*/ 2 w 5"/>
                    <a:gd name="T9" fmla="*/ 0 h 5"/>
                    <a:gd name="T10" fmla="*/ 2 w 5"/>
                    <a:gd name="T11" fmla="*/ 5 h 5"/>
                    <a:gd name="T12" fmla="*/ 3 w 5"/>
                    <a:gd name="T13" fmla="*/ 5 h 5"/>
                    <a:gd name="T14" fmla="*/ 3 w 5"/>
                    <a:gd name="T15" fmla="*/ 0 h 5"/>
                    <a:gd name="T16" fmla="*/ 5 w 5"/>
                    <a:gd name="T17" fmla="*/ 0 h 5"/>
                    <a:gd name="T18" fmla="*/ 5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0"/>
                      </a:moveTo>
                      <a:lnTo>
                        <a:pt x="5" y="0"/>
                      </a:lnTo>
                      <a:lnTo>
                        <a:pt x="0" y="0"/>
                      </a:lnTo>
                      <a:lnTo>
                        <a:pt x="0" y="0"/>
                      </a:lnTo>
                      <a:lnTo>
                        <a:pt x="2" y="0"/>
                      </a:lnTo>
                      <a:lnTo>
                        <a:pt x="2" y="5"/>
                      </a:lnTo>
                      <a:lnTo>
                        <a:pt x="3" y="5"/>
                      </a:lnTo>
                      <a:lnTo>
                        <a:pt x="3" y="0"/>
                      </a:lnTo>
                      <a:lnTo>
                        <a:pt x="5" y="0"/>
                      </a:lnTo>
                      <a:lnTo>
                        <a:pt x="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5" name="Freeform 471"/>
                <p:cNvSpPr>
                  <a:spLocks noEditPoints="1"/>
                </p:cNvSpPr>
                <p:nvPr/>
              </p:nvSpPr>
              <p:spPr bwMode="auto">
                <a:xfrm>
                  <a:off x="3517633" y="4797744"/>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6" name="Freeform 472"/>
                <p:cNvSpPr>
                  <a:spLocks noEditPoints="1"/>
                </p:cNvSpPr>
                <p:nvPr/>
              </p:nvSpPr>
              <p:spPr bwMode="auto">
                <a:xfrm>
                  <a:off x="3554998" y="4797744"/>
                  <a:ext cx="29892" cy="37365"/>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7" name="Freeform 473"/>
                <p:cNvSpPr>
                  <a:spLocks/>
                </p:cNvSpPr>
                <p:nvPr/>
              </p:nvSpPr>
              <p:spPr bwMode="auto">
                <a:xfrm>
                  <a:off x="5961304" y="4170012"/>
                  <a:ext cx="29892" cy="52311"/>
                </a:xfrm>
                <a:custGeom>
                  <a:avLst/>
                  <a:gdLst>
                    <a:gd name="T0" fmla="*/ 4 w 4"/>
                    <a:gd name="T1" fmla="*/ 6 h 7"/>
                    <a:gd name="T2" fmla="*/ 4 w 4"/>
                    <a:gd name="T3" fmla="*/ 5 h 7"/>
                    <a:gd name="T4" fmla="*/ 3 w 4"/>
                    <a:gd name="T5" fmla="*/ 5 h 7"/>
                    <a:gd name="T6" fmla="*/ 3 w 4"/>
                    <a:gd name="T7" fmla="*/ 6 h 7"/>
                    <a:gd name="T8" fmla="*/ 1 w 4"/>
                    <a:gd name="T9" fmla="*/ 6 h 7"/>
                    <a:gd name="T10" fmla="*/ 1 w 4"/>
                    <a:gd name="T11" fmla="*/ 2 h 7"/>
                    <a:gd name="T12" fmla="*/ 3 w 4"/>
                    <a:gd name="T13" fmla="*/ 2 h 7"/>
                    <a:gd name="T14" fmla="*/ 3 w 4"/>
                    <a:gd name="T15" fmla="*/ 3 h 7"/>
                    <a:gd name="T16" fmla="*/ 4 w 4"/>
                    <a:gd name="T17" fmla="*/ 3 h 7"/>
                    <a:gd name="T18" fmla="*/ 4 w 4"/>
                    <a:gd name="T19" fmla="*/ 2 h 7"/>
                    <a:gd name="T20" fmla="*/ 3 w 4"/>
                    <a:gd name="T21" fmla="*/ 2 h 7"/>
                    <a:gd name="T22" fmla="*/ 3 w 4"/>
                    <a:gd name="T23" fmla="*/ 0 h 7"/>
                    <a:gd name="T24" fmla="*/ 1 w 4"/>
                    <a:gd name="T25" fmla="*/ 0 h 7"/>
                    <a:gd name="T26" fmla="*/ 1 w 4"/>
                    <a:gd name="T27" fmla="*/ 2 h 7"/>
                    <a:gd name="T28" fmla="*/ 0 w 4"/>
                    <a:gd name="T29" fmla="*/ 2 h 7"/>
                    <a:gd name="T30" fmla="*/ 0 w 4"/>
                    <a:gd name="T31" fmla="*/ 6 h 7"/>
                    <a:gd name="T32" fmla="*/ 1 w 4"/>
                    <a:gd name="T33" fmla="*/ 6 h 7"/>
                    <a:gd name="T34" fmla="*/ 1 w 4"/>
                    <a:gd name="T35" fmla="*/ 7 h 7"/>
                    <a:gd name="T36" fmla="*/ 3 w 4"/>
                    <a:gd name="T37" fmla="*/ 7 h 7"/>
                    <a:gd name="T38" fmla="*/ 3 w 4"/>
                    <a:gd name="T39" fmla="*/ 6 h 7"/>
                    <a:gd name="T40" fmla="*/ 4 w 4"/>
                    <a:gd name="T41" fmla="*/ 6 h 7"/>
                    <a:gd name="T42" fmla="*/ 4 w 4"/>
                    <a:gd name="T4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6"/>
                      </a:moveTo>
                      <a:lnTo>
                        <a:pt x="4" y="5"/>
                      </a:lnTo>
                      <a:lnTo>
                        <a:pt x="3" y="5"/>
                      </a:lnTo>
                      <a:lnTo>
                        <a:pt x="3" y="6"/>
                      </a:lnTo>
                      <a:lnTo>
                        <a:pt x="1" y="6"/>
                      </a:lnTo>
                      <a:lnTo>
                        <a:pt x="1" y="2"/>
                      </a:lnTo>
                      <a:lnTo>
                        <a:pt x="3" y="2"/>
                      </a:lnTo>
                      <a:lnTo>
                        <a:pt x="3" y="3"/>
                      </a:lnTo>
                      <a:lnTo>
                        <a:pt x="4" y="3"/>
                      </a:lnTo>
                      <a:lnTo>
                        <a:pt x="4" y="2"/>
                      </a:lnTo>
                      <a:lnTo>
                        <a:pt x="3" y="2"/>
                      </a:lnTo>
                      <a:lnTo>
                        <a:pt x="3" y="0"/>
                      </a:lnTo>
                      <a:lnTo>
                        <a:pt x="1" y="0"/>
                      </a:lnTo>
                      <a:lnTo>
                        <a:pt x="1" y="2"/>
                      </a:lnTo>
                      <a:lnTo>
                        <a:pt x="0" y="2"/>
                      </a:lnTo>
                      <a:lnTo>
                        <a:pt x="0" y="6"/>
                      </a:lnTo>
                      <a:lnTo>
                        <a:pt x="1" y="6"/>
                      </a:lnTo>
                      <a:lnTo>
                        <a:pt x="1" y="7"/>
                      </a:lnTo>
                      <a:lnTo>
                        <a:pt x="3" y="7"/>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8" name="Freeform 474"/>
                <p:cNvSpPr>
                  <a:spLocks/>
                </p:cNvSpPr>
                <p:nvPr/>
              </p:nvSpPr>
              <p:spPr bwMode="auto">
                <a:xfrm>
                  <a:off x="5998669" y="4170012"/>
                  <a:ext cx="29892" cy="52311"/>
                </a:xfrm>
                <a:custGeom>
                  <a:avLst/>
                  <a:gdLst>
                    <a:gd name="T0" fmla="*/ 4 w 4"/>
                    <a:gd name="T1" fmla="*/ 7 h 7"/>
                    <a:gd name="T2" fmla="*/ 4 w 4"/>
                    <a:gd name="T3" fmla="*/ 0 h 7"/>
                    <a:gd name="T4" fmla="*/ 4 w 4"/>
                    <a:gd name="T5" fmla="*/ 0 h 7"/>
                    <a:gd name="T6" fmla="*/ 4 w 4"/>
                    <a:gd name="T7" fmla="*/ 4 h 7"/>
                    <a:gd name="T8" fmla="*/ 3 w 4"/>
                    <a:gd name="T9" fmla="*/ 4 h 7"/>
                    <a:gd name="T10" fmla="*/ 3 w 4"/>
                    <a:gd name="T11" fmla="*/ 3 h 7"/>
                    <a:gd name="T12" fmla="*/ 2 w 4"/>
                    <a:gd name="T13" fmla="*/ 3 h 7"/>
                    <a:gd name="T14" fmla="*/ 2 w 4"/>
                    <a:gd name="T15" fmla="*/ 3 h 7"/>
                    <a:gd name="T16" fmla="*/ 1 w 4"/>
                    <a:gd name="T17" fmla="*/ 3 h 7"/>
                    <a:gd name="T18" fmla="*/ 1 w 4"/>
                    <a:gd name="T19" fmla="*/ 0 h 7"/>
                    <a:gd name="T20" fmla="*/ 0 w 4"/>
                    <a:gd name="T21" fmla="*/ 0 h 7"/>
                    <a:gd name="T22" fmla="*/ 0 w 4"/>
                    <a:gd name="T23" fmla="*/ 7 h 7"/>
                    <a:gd name="T24" fmla="*/ 1 w 4"/>
                    <a:gd name="T25" fmla="*/ 7 h 7"/>
                    <a:gd name="T26" fmla="*/ 1 w 4"/>
                    <a:gd name="T27" fmla="*/ 3 h 7"/>
                    <a:gd name="T28" fmla="*/ 2 w 4"/>
                    <a:gd name="T29" fmla="*/ 3 h 7"/>
                    <a:gd name="T30" fmla="*/ 2 w 4"/>
                    <a:gd name="T31" fmla="*/ 4 h 7"/>
                    <a:gd name="T32" fmla="*/ 3 w 4"/>
                    <a:gd name="T33" fmla="*/ 4 h 7"/>
                    <a:gd name="T34" fmla="*/ 3 w 4"/>
                    <a:gd name="T35" fmla="*/ 5 h 7"/>
                    <a:gd name="T36" fmla="*/ 4 w 4"/>
                    <a:gd name="T37" fmla="*/ 5 h 7"/>
                    <a:gd name="T38" fmla="*/ 4 w 4"/>
                    <a:gd name="T39" fmla="*/ 7 h 7"/>
                    <a:gd name="T40" fmla="*/ 4 w 4"/>
                    <a:gd name="T41" fmla="*/ 7 h 7"/>
                    <a:gd name="T42" fmla="*/ 4 w 4"/>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7">
                      <a:moveTo>
                        <a:pt x="4" y="7"/>
                      </a:moveTo>
                      <a:lnTo>
                        <a:pt x="4" y="0"/>
                      </a:lnTo>
                      <a:lnTo>
                        <a:pt x="4" y="0"/>
                      </a:lnTo>
                      <a:lnTo>
                        <a:pt x="4" y="4"/>
                      </a:lnTo>
                      <a:lnTo>
                        <a:pt x="3" y="4"/>
                      </a:lnTo>
                      <a:lnTo>
                        <a:pt x="3" y="3"/>
                      </a:lnTo>
                      <a:lnTo>
                        <a:pt x="2" y="3"/>
                      </a:lnTo>
                      <a:lnTo>
                        <a:pt x="2" y="3"/>
                      </a:lnTo>
                      <a:lnTo>
                        <a:pt x="1" y="3"/>
                      </a:lnTo>
                      <a:lnTo>
                        <a:pt x="1" y="0"/>
                      </a:lnTo>
                      <a:lnTo>
                        <a:pt x="0" y="0"/>
                      </a:lnTo>
                      <a:lnTo>
                        <a:pt x="0" y="7"/>
                      </a:lnTo>
                      <a:lnTo>
                        <a:pt x="1" y="7"/>
                      </a:lnTo>
                      <a:lnTo>
                        <a:pt x="1" y="3"/>
                      </a:lnTo>
                      <a:lnTo>
                        <a:pt x="2" y="3"/>
                      </a:lnTo>
                      <a:lnTo>
                        <a:pt x="2" y="4"/>
                      </a:lnTo>
                      <a:lnTo>
                        <a:pt x="3" y="4"/>
                      </a:lnTo>
                      <a:lnTo>
                        <a:pt x="3" y="5"/>
                      </a:lnTo>
                      <a:lnTo>
                        <a:pt x="4" y="5"/>
                      </a:lnTo>
                      <a:lnTo>
                        <a:pt x="4" y="7"/>
                      </a:lnTo>
                      <a:lnTo>
                        <a:pt x="4" y="7"/>
                      </a:lnTo>
                      <a:lnTo>
                        <a:pt x="4"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19" name="Freeform 475"/>
                <p:cNvSpPr>
                  <a:spLocks noEditPoints="1"/>
                </p:cNvSpPr>
                <p:nvPr/>
              </p:nvSpPr>
              <p:spPr bwMode="auto">
                <a:xfrm>
                  <a:off x="6043507" y="4170012"/>
                  <a:ext cx="37365" cy="52311"/>
                </a:xfrm>
                <a:custGeom>
                  <a:avLst/>
                  <a:gdLst>
                    <a:gd name="T0" fmla="*/ 5 w 5"/>
                    <a:gd name="T1" fmla="*/ 4 h 7"/>
                    <a:gd name="T2" fmla="*/ 5 w 5"/>
                    <a:gd name="T3" fmla="*/ 2 h 7"/>
                    <a:gd name="T4" fmla="*/ 4 w 5"/>
                    <a:gd name="T5" fmla="*/ 2 h 7"/>
                    <a:gd name="T6" fmla="*/ 4 w 5"/>
                    <a:gd name="T7" fmla="*/ 0 h 7"/>
                    <a:gd name="T8" fmla="*/ 0 w 5"/>
                    <a:gd name="T9" fmla="*/ 0 h 7"/>
                    <a:gd name="T10" fmla="*/ 0 w 5"/>
                    <a:gd name="T11" fmla="*/ 7 h 7"/>
                    <a:gd name="T12" fmla="*/ 1 w 5"/>
                    <a:gd name="T13" fmla="*/ 7 h 7"/>
                    <a:gd name="T14" fmla="*/ 1 w 5"/>
                    <a:gd name="T15" fmla="*/ 5 h 7"/>
                    <a:gd name="T16" fmla="*/ 4 w 5"/>
                    <a:gd name="T17" fmla="*/ 5 h 7"/>
                    <a:gd name="T18" fmla="*/ 4 w 5"/>
                    <a:gd name="T19" fmla="*/ 4 h 7"/>
                    <a:gd name="T20" fmla="*/ 5 w 5"/>
                    <a:gd name="T21" fmla="*/ 4 h 7"/>
                    <a:gd name="T22" fmla="*/ 5 w 5"/>
                    <a:gd name="T23" fmla="*/ 4 h 7"/>
                    <a:gd name="T24" fmla="*/ 4 w 5"/>
                    <a:gd name="T25" fmla="*/ 4 h 7"/>
                    <a:gd name="T26" fmla="*/ 1 w 5"/>
                    <a:gd name="T27" fmla="*/ 4 h 7"/>
                    <a:gd name="T28" fmla="*/ 1 w 5"/>
                    <a:gd name="T29" fmla="*/ 2 h 7"/>
                    <a:gd name="T30" fmla="*/ 4 w 5"/>
                    <a:gd name="T31" fmla="*/ 2 h 7"/>
                    <a:gd name="T32" fmla="*/ 4 w 5"/>
                    <a:gd name="T33" fmla="*/ 4 h 7"/>
                    <a:gd name="T34" fmla="*/ 4 w 5"/>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5" y="4"/>
                      </a:moveTo>
                      <a:lnTo>
                        <a:pt x="5" y="2"/>
                      </a:lnTo>
                      <a:lnTo>
                        <a:pt x="4" y="2"/>
                      </a:lnTo>
                      <a:lnTo>
                        <a:pt x="4" y="0"/>
                      </a:lnTo>
                      <a:lnTo>
                        <a:pt x="0" y="0"/>
                      </a:lnTo>
                      <a:lnTo>
                        <a:pt x="0" y="7"/>
                      </a:lnTo>
                      <a:lnTo>
                        <a:pt x="1" y="7"/>
                      </a:lnTo>
                      <a:lnTo>
                        <a:pt x="1" y="5"/>
                      </a:lnTo>
                      <a:lnTo>
                        <a:pt x="4" y="5"/>
                      </a:lnTo>
                      <a:lnTo>
                        <a:pt x="4" y="4"/>
                      </a:lnTo>
                      <a:lnTo>
                        <a:pt x="5" y="4"/>
                      </a:lnTo>
                      <a:lnTo>
                        <a:pt x="5" y="4"/>
                      </a:lnTo>
                      <a:close/>
                      <a:moveTo>
                        <a:pt x="4" y="4"/>
                      </a:moveTo>
                      <a:lnTo>
                        <a:pt x="1" y="4"/>
                      </a:lnTo>
                      <a:lnTo>
                        <a:pt x="1"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0" name="Freeform 476"/>
                <p:cNvSpPr>
                  <a:spLocks/>
                </p:cNvSpPr>
                <p:nvPr/>
              </p:nvSpPr>
              <p:spPr bwMode="auto">
                <a:xfrm>
                  <a:off x="5789425" y="3602064"/>
                  <a:ext cx="29892" cy="44838"/>
                </a:xfrm>
                <a:custGeom>
                  <a:avLst/>
                  <a:gdLst>
                    <a:gd name="T0" fmla="*/ 4 w 4"/>
                    <a:gd name="T1" fmla="*/ 5 h 6"/>
                    <a:gd name="T2" fmla="*/ 4 w 4"/>
                    <a:gd name="T3" fmla="*/ 4 h 6"/>
                    <a:gd name="T4" fmla="*/ 3 w 4"/>
                    <a:gd name="T5" fmla="*/ 4 h 6"/>
                    <a:gd name="T6" fmla="*/ 3 w 4"/>
                    <a:gd name="T7" fmla="*/ 5 h 6"/>
                    <a:gd name="T8" fmla="*/ 0 w 4"/>
                    <a:gd name="T9" fmla="*/ 5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1" name="Freeform 477"/>
                <p:cNvSpPr>
                  <a:spLocks noEditPoints="1"/>
                </p:cNvSpPr>
                <p:nvPr/>
              </p:nvSpPr>
              <p:spPr bwMode="auto">
                <a:xfrm>
                  <a:off x="5826790" y="3602064"/>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2" name="Freeform 478"/>
                <p:cNvSpPr>
                  <a:spLocks/>
                </p:cNvSpPr>
                <p:nvPr/>
              </p:nvSpPr>
              <p:spPr bwMode="auto">
                <a:xfrm>
                  <a:off x="5871628" y="3602064"/>
                  <a:ext cx="29892" cy="44838"/>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1" y="2"/>
                      </a:lnTo>
                      <a:lnTo>
                        <a:pt x="1" y="1"/>
                      </a:lnTo>
                      <a:lnTo>
                        <a:pt x="3" y="1"/>
                      </a:lnTo>
                      <a:lnTo>
                        <a:pt x="3" y="2"/>
                      </a:lnTo>
                      <a:lnTo>
                        <a:pt x="4" y="2"/>
                      </a:lnTo>
                      <a:lnTo>
                        <a:pt x="4" y="1"/>
                      </a:lnTo>
                      <a:lnTo>
                        <a:pt x="3" y="1"/>
                      </a:lnTo>
                      <a:lnTo>
                        <a:pt x="3" y="0"/>
                      </a:lnTo>
                      <a:lnTo>
                        <a:pt x="1" y="0"/>
                      </a:lnTo>
                      <a:lnTo>
                        <a:pt x="1" y="1"/>
                      </a:lnTo>
                      <a:lnTo>
                        <a:pt x="0" y="1"/>
                      </a:lnTo>
                      <a:lnTo>
                        <a:pt x="0" y="2"/>
                      </a:lnTo>
                      <a:lnTo>
                        <a:pt x="1" y="2"/>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3" name="Freeform 479"/>
                <p:cNvSpPr>
                  <a:spLocks noEditPoints="1"/>
                </p:cNvSpPr>
                <p:nvPr/>
              </p:nvSpPr>
              <p:spPr bwMode="auto">
                <a:xfrm>
                  <a:off x="5908993" y="3602064"/>
                  <a:ext cx="29892" cy="44838"/>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3 w 4"/>
                    <a:gd name="T37" fmla="*/ 2 h 6"/>
                    <a:gd name="T38" fmla="*/ 1 w 4"/>
                    <a:gd name="T39" fmla="*/ 2 h 6"/>
                    <a:gd name="T40" fmla="*/ 1 w 4"/>
                    <a:gd name="T41" fmla="*/ 1 h 6"/>
                    <a:gd name="T42" fmla="*/ 3 w 4"/>
                    <a:gd name="T43" fmla="*/ 1 h 6"/>
                    <a:gd name="T44" fmla="*/ 3 w 4"/>
                    <a:gd name="T45" fmla="*/ 2 h 6"/>
                    <a:gd name="T46" fmla="*/ 3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1" y="6"/>
                      </a:lnTo>
                      <a:lnTo>
                        <a:pt x="1" y="3"/>
                      </a:lnTo>
                      <a:lnTo>
                        <a:pt x="3" y="3"/>
                      </a:lnTo>
                      <a:lnTo>
                        <a:pt x="3" y="4"/>
                      </a:lnTo>
                      <a:lnTo>
                        <a:pt x="4" y="4"/>
                      </a:lnTo>
                      <a:lnTo>
                        <a:pt x="4" y="6"/>
                      </a:lnTo>
                      <a:lnTo>
                        <a:pt x="4" y="6"/>
                      </a:lnTo>
                      <a:lnTo>
                        <a:pt x="4" y="6"/>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4" name="Freeform 480"/>
                <p:cNvSpPr>
                  <a:spLocks/>
                </p:cNvSpPr>
                <p:nvPr/>
              </p:nvSpPr>
              <p:spPr bwMode="auto">
                <a:xfrm>
                  <a:off x="5752060" y="3101373"/>
                  <a:ext cx="22419"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5" name="Freeform 481"/>
                <p:cNvSpPr>
                  <a:spLocks noEditPoints="1"/>
                </p:cNvSpPr>
                <p:nvPr/>
              </p:nvSpPr>
              <p:spPr bwMode="auto">
                <a:xfrm>
                  <a:off x="5774479" y="3101373"/>
                  <a:ext cx="29892" cy="37365"/>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2" y="5"/>
                      </a:lnTo>
                      <a:lnTo>
                        <a:pt x="2" y="4"/>
                      </a:lnTo>
                      <a:lnTo>
                        <a:pt x="4" y="4"/>
                      </a:lnTo>
                      <a:lnTo>
                        <a:pt x="4" y="3"/>
                      </a:lnTo>
                      <a:lnTo>
                        <a:pt x="4" y="3"/>
                      </a:lnTo>
                      <a:lnTo>
                        <a:pt x="4" y="3"/>
                      </a:lnTo>
                      <a:close/>
                      <a:moveTo>
                        <a:pt x="4" y="3"/>
                      </a:moveTo>
                      <a:lnTo>
                        <a:pt x="2" y="3"/>
                      </a:lnTo>
                      <a:lnTo>
                        <a:pt x="2"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6" name="Freeform 482"/>
                <p:cNvSpPr>
                  <a:spLocks/>
                </p:cNvSpPr>
                <p:nvPr/>
              </p:nvSpPr>
              <p:spPr bwMode="auto">
                <a:xfrm>
                  <a:off x="5931412" y="3101373"/>
                  <a:ext cx="14946" cy="37365"/>
                </a:xfrm>
                <a:custGeom>
                  <a:avLst/>
                  <a:gdLst>
                    <a:gd name="T0" fmla="*/ 2 w 2"/>
                    <a:gd name="T1" fmla="*/ 5 h 5"/>
                    <a:gd name="T2" fmla="*/ 2 w 2"/>
                    <a:gd name="T3" fmla="*/ 4 h 5"/>
                    <a:gd name="T4" fmla="*/ 0 w 2"/>
                    <a:gd name="T5" fmla="*/ 4 h 5"/>
                    <a:gd name="T6" fmla="*/ 0 w 2"/>
                    <a:gd name="T7" fmla="*/ 0 h 5"/>
                    <a:gd name="T8" fmla="*/ 0 w 2"/>
                    <a:gd name="T9" fmla="*/ 0 h 5"/>
                    <a:gd name="T10" fmla="*/ 0 w 2"/>
                    <a:gd name="T11" fmla="*/ 5 h 5"/>
                    <a:gd name="T12" fmla="*/ 2 w 2"/>
                    <a:gd name="T13" fmla="*/ 5 h 5"/>
                    <a:gd name="T14" fmla="*/ 2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5"/>
                      </a:moveTo>
                      <a:lnTo>
                        <a:pt x="2" y="4"/>
                      </a:lnTo>
                      <a:lnTo>
                        <a:pt x="0" y="4"/>
                      </a:lnTo>
                      <a:lnTo>
                        <a:pt x="0" y="0"/>
                      </a:lnTo>
                      <a:lnTo>
                        <a:pt x="0" y="0"/>
                      </a:lnTo>
                      <a:lnTo>
                        <a:pt x="0"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7" name="Freeform 483"/>
                <p:cNvSpPr>
                  <a:spLocks noEditPoints="1"/>
                </p:cNvSpPr>
                <p:nvPr/>
              </p:nvSpPr>
              <p:spPr bwMode="auto">
                <a:xfrm>
                  <a:off x="5961304" y="3101373"/>
                  <a:ext cx="22419" cy="37365"/>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8" name="Freeform 484"/>
                <p:cNvSpPr>
                  <a:spLocks/>
                </p:cNvSpPr>
                <p:nvPr/>
              </p:nvSpPr>
              <p:spPr bwMode="auto">
                <a:xfrm>
                  <a:off x="5139274" y="3093900"/>
                  <a:ext cx="22419" cy="37365"/>
                </a:xfrm>
                <a:custGeom>
                  <a:avLst/>
                  <a:gdLst>
                    <a:gd name="T0" fmla="*/ 3 w 3"/>
                    <a:gd name="T1" fmla="*/ 5 h 5"/>
                    <a:gd name="T2" fmla="*/ 3 w 3"/>
                    <a:gd name="T3" fmla="*/ 0 h 5"/>
                    <a:gd name="T4" fmla="*/ 3 w 3"/>
                    <a:gd name="T5" fmla="*/ 0 h 5"/>
                    <a:gd name="T6" fmla="*/ 3 w 3"/>
                    <a:gd name="T7" fmla="*/ 3 h 5"/>
                    <a:gd name="T8" fmla="*/ 0 w 3"/>
                    <a:gd name="T9" fmla="*/ 3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3"/>
                      </a:lnTo>
                      <a:lnTo>
                        <a:pt x="0" y="3"/>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29" name="Freeform 485"/>
                <p:cNvSpPr>
                  <a:spLocks noEditPoints="1"/>
                </p:cNvSpPr>
                <p:nvPr/>
              </p:nvSpPr>
              <p:spPr bwMode="auto">
                <a:xfrm>
                  <a:off x="5169166" y="3093900"/>
                  <a:ext cx="37365" cy="37365"/>
                </a:xfrm>
                <a:custGeom>
                  <a:avLst/>
                  <a:gdLst>
                    <a:gd name="T0" fmla="*/ 5 w 5"/>
                    <a:gd name="T1" fmla="*/ 3 h 5"/>
                    <a:gd name="T2" fmla="*/ 5 w 5"/>
                    <a:gd name="T3" fmla="*/ 1 h 5"/>
                    <a:gd name="T4" fmla="*/ 3 w 5"/>
                    <a:gd name="T5" fmla="*/ 1 h 5"/>
                    <a:gd name="T6" fmla="*/ 3 w 5"/>
                    <a:gd name="T7" fmla="*/ 0 h 5"/>
                    <a:gd name="T8" fmla="*/ 0 w 5"/>
                    <a:gd name="T9" fmla="*/ 0 h 5"/>
                    <a:gd name="T10" fmla="*/ 0 w 5"/>
                    <a:gd name="T11" fmla="*/ 5 h 5"/>
                    <a:gd name="T12" fmla="*/ 1 w 5"/>
                    <a:gd name="T13" fmla="*/ 5 h 5"/>
                    <a:gd name="T14" fmla="*/ 1 w 5"/>
                    <a:gd name="T15" fmla="*/ 4 h 5"/>
                    <a:gd name="T16" fmla="*/ 3 w 5"/>
                    <a:gd name="T17" fmla="*/ 4 h 5"/>
                    <a:gd name="T18" fmla="*/ 3 w 5"/>
                    <a:gd name="T19" fmla="*/ 3 h 5"/>
                    <a:gd name="T20" fmla="*/ 5 w 5"/>
                    <a:gd name="T21" fmla="*/ 3 h 5"/>
                    <a:gd name="T22" fmla="*/ 5 w 5"/>
                    <a:gd name="T23" fmla="*/ 3 h 5"/>
                    <a:gd name="T24" fmla="*/ 3 w 5"/>
                    <a:gd name="T25" fmla="*/ 3 h 5"/>
                    <a:gd name="T26" fmla="*/ 1 w 5"/>
                    <a:gd name="T27" fmla="*/ 3 h 5"/>
                    <a:gd name="T28" fmla="*/ 1 w 5"/>
                    <a:gd name="T29" fmla="*/ 1 h 5"/>
                    <a:gd name="T30" fmla="*/ 3 w 5"/>
                    <a:gd name="T31" fmla="*/ 1 h 5"/>
                    <a:gd name="T32" fmla="*/ 3 w 5"/>
                    <a:gd name="T33" fmla="*/ 3 h 5"/>
                    <a:gd name="T34" fmla="*/ 3 w 5"/>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5">
                      <a:moveTo>
                        <a:pt x="5" y="3"/>
                      </a:moveTo>
                      <a:lnTo>
                        <a:pt x="5" y="1"/>
                      </a:lnTo>
                      <a:lnTo>
                        <a:pt x="3" y="1"/>
                      </a:lnTo>
                      <a:lnTo>
                        <a:pt x="3" y="0"/>
                      </a:lnTo>
                      <a:lnTo>
                        <a:pt x="0" y="0"/>
                      </a:lnTo>
                      <a:lnTo>
                        <a:pt x="0" y="5"/>
                      </a:lnTo>
                      <a:lnTo>
                        <a:pt x="1" y="5"/>
                      </a:lnTo>
                      <a:lnTo>
                        <a:pt x="1" y="4"/>
                      </a:lnTo>
                      <a:lnTo>
                        <a:pt x="3" y="4"/>
                      </a:lnTo>
                      <a:lnTo>
                        <a:pt x="3" y="3"/>
                      </a:lnTo>
                      <a:lnTo>
                        <a:pt x="5" y="3"/>
                      </a:lnTo>
                      <a:lnTo>
                        <a:pt x="5"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0" name="Freeform 486"/>
                <p:cNvSpPr>
                  <a:spLocks/>
                </p:cNvSpPr>
                <p:nvPr/>
              </p:nvSpPr>
              <p:spPr bwMode="auto">
                <a:xfrm>
                  <a:off x="5296207" y="3093900"/>
                  <a:ext cx="7473"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1" name="Freeform 487"/>
                <p:cNvSpPr>
                  <a:spLocks noEditPoints="1"/>
                </p:cNvSpPr>
                <p:nvPr/>
              </p:nvSpPr>
              <p:spPr bwMode="auto">
                <a:xfrm>
                  <a:off x="5303680" y="3093900"/>
                  <a:ext cx="29892" cy="37365"/>
                </a:xfrm>
                <a:custGeom>
                  <a:avLst/>
                  <a:gdLst>
                    <a:gd name="T0" fmla="*/ 4 w 4"/>
                    <a:gd name="T1" fmla="*/ 3 h 5"/>
                    <a:gd name="T2" fmla="*/ 4 w 4"/>
                    <a:gd name="T3" fmla="*/ 1 h 5"/>
                    <a:gd name="T4" fmla="*/ 4 w 4"/>
                    <a:gd name="T5" fmla="*/ 1 h 5"/>
                    <a:gd name="T6" fmla="*/ 4 w 4"/>
                    <a:gd name="T7" fmla="*/ 0 h 5"/>
                    <a:gd name="T8" fmla="*/ 0 w 4"/>
                    <a:gd name="T9" fmla="*/ 0 h 5"/>
                    <a:gd name="T10" fmla="*/ 0 w 4"/>
                    <a:gd name="T11" fmla="*/ 5 h 5"/>
                    <a:gd name="T12" fmla="*/ 2 w 4"/>
                    <a:gd name="T13" fmla="*/ 5 h 5"/>
                    <a:gd name="T14" fmla="*/ 2 w 4"/>
                    <a:gd name="T15" fmla="*/ 4 h 5"/>
                    <a:gd name="T16" fmla="*/ 4 w 4"/>
                    <a:gd name="T17" fmla="*/ 4 h 5"/>
                    <a:gd name="T18" fmla="*/ 4 w 4"/>
                    <a:gd name="T19" fmla="*/ 3 h 5"/>
                    <a:gd name="T20" fmla="*/ 4 w 4"/>
                    <a:gd name="T21" fmla="*/ 3 h 5"/>
                    <a:gd name="T22" fmla="*/ 4 w 4"/>
                    <a:gd name="T23" fmla="*/ 3 h 5"/>
                    <a:gd name="T24" fmla="*/ 4 w 4"/>
                    <a:gd name="T25" fmla="*/ 3 h 5"/>
                    <a:gd name="T26" fmla="*/ 2 w 4"/>
                    <a:gd name="T27" fmla="*/ 3 h 5"/>
                    <a:gd name="T28" fmla="*/ 2 w 4"/>
                    <a:gd name="T29" fmla="*/ 1 h 5"/>
                    <a:gd name="T30" fmla="*/ 4 w 4"/>
                    <a:gd name="T31" fmla="*/ 1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4" y="1"/>
                      </a:lnTo>
                      <a:lnTo>
                        <a:pt x="4" y="0"/>
                      </a:lnTo>
                      <a:lnTo>
                        <a:pt x="0" y="0"/>
                      </a:lnTo>
                      <a:lnTo>
                        <a:pt x="0" y="5"/>
                      </a:lnTo>
                      <a:lnTo>
                        <a:pt x="2" y="5"/>
                      </a:lnTo>
                      <a:lnTo>
                        <a:pt x="2" y="4"/>
                      </a:lnTo>
                      <a:lnTo>
                        <a:pt x="4" y="4"/>
                      </a:lnTo>
                      <a:lnTo>
                        <a:pt x="4" y="3"/>
                      </a:lnTo>
                      <a:lnTo>
                        <a:pt x="4" y="3"/>
                      </a:lnTo>
                      <a:lnTo>
                        <a:pt x="4"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2" name="Freeform 488"/>
                <p:cNvSpPr>
                  <a:spLocks noEditPoints="1"/>
                </p:cNvSpPr>
                <p:nvPr/>
              </p:nvSpPr>
              <p:spPr bwMode="auto">
                <a:xfrm>
                  <a:off x="1716640" y="4521243"/>
                  <a:ext cx="29892" cy="44838"/>
                </a:xfrm>
                <a:custGeom>
                  <a:avLst/>
                  <a:gdLst>
                    <a:gd name="T0" fmla="*/ 4 w 4"/>
                    <a:gd name="T1" fmla="*/ 3 h 6"/>
                    <a:gd name="T2" fmla="*/ 4 w 4"/>
                    <a:gd name="T3" fmla="*/ 1 h 6"/>
                    <a:gd name="T4" fmla="*/ 4 w 4"/>
                    <a:gd name="T5" fmla="*/ 1 h 6"/>
                    <a:gd name="T6" fmla="*/ 4 w 4"/>
                    <a:gd name="T7" fmla="*/ 0 h 6"/>
                    <a:gd name="T8" fmla="*/ 0 w 4"/>
                    <a:gd name="T9" fmla="*/ 0 h 6"/>
                    <a:gd name="T10" fmla="*/ 0 w 4"/>
                    <a:gd name="T11" fmla="*/ 6 h 6"/>
                    <a:gd name="T12" fmla="*/ 1 w 4"/>
                    <a:gd name="T13" fmla="*/ 6 h 6"/>
                    <a:gd name="T14" fmla="*/ 1 w 4"/>
                    <a:gd name="T15" fmla="*/ 4 h 6"/>
                    <a:gd name="T16" fmla="*/ 4 w 4"/>
                    <a:gd name="T17" fmla="*/ 4 h 6"/>
                    <a:gd name="T18" fmla="*/ 4 w 4"/>
                    <a:gd name="T19" fmla="*/ 3 h 6"/>
                    <a:gd name="T20" fmla="*/ 4 w 4"/>
                    <a:gd name="T21" fmla="*/ 3 h 6"/>
                    <a:gd name="T22" fmla="*/ 4 w 4"/>
                    <a:gd name="T23" fmla="*/ 3 h 6"/>
                    <a:gd name="T24" fmla="*/ 4 w 4"/>
                    <a:gd name="T25" fmla="*/ 3 h 6"/>
                    <a:gd name="T26" fmla="*/ 1 w 4"/>
                    <a:gd name="T27" fmla="*/ 3 h 6"/>
                    <a:gd name="T28" fmla="*/ 1 w 4"/>
                    <a:gd name="T29" fmla="*/ 1 h 6"/>
                    <a:gd name="T30" fmla="*/ 4 w 4"/>
                    <a:gd name="T31" fmla="*/ 1 h 6"/>
                    <a:gd name="T32" fmla="*/ 4 w 4"/>
                    <a:gd name="T33" fmla="*/ 3 h 6"/>
                    <a:gd name="T34" fmla="*/ 4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4" y="1"/>
                      </a:lnTo>
                      <a:lnTo>
                        <a:pt x="4" y="0"/>
                      </a:lnTo>
                      <a:lnTo>
                        <a:pt x="0" y="0"/>
                      </a:lnTo>
                      <a:lnTo>
                        <a:pt x="0" y="6"/>
                      </a:lnTo>
                      <a:lnTo>
                        <a:pt x="1" y="6"/>
                      </a:lnTo>
                      <a:lnTo>
                        <a:pt x="1" y="4"/>
                      </a:lnTo>
                      <a:lnTo>
                        <a:pt x="4" y="4"/>
                      </a:lnTo>
                      <a:lnTo>
                        <a:pt x="4" y="3"/>
                      </a:lnTo>
                      <a:lnTo>
                        <a:pt x="4" y="3"/>
                      </a:lnTo>
                      <a:lnTo>
                        <a:pt x="4" y="3"/>
                      </a:lnTo>
                      <a:close/>
                      <a:moveTo>
                        <a:pt x="4" y="3"/>
                      </a:moveTo>
                      <a:lnTo>
                        <a:pt x="1" y="3"/>
                      </a:lnTo>
                      <a:lnTo>
                        <a:pt x="1"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3" name="Freeform 489"/>
                <p:cNvSpPr>
                  <a:spLocks/>
                </p:cNvSpPr>
                <p:nvPr/>
              </p:nvSpPr>
              <p:spPr bwMode="auto">
                <a:xfrm>
                  <a:off x="1761478" y="4521243"/>
                  <a:ext cx="29892" cy="44838"/>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4" name="Freeform 490"/>
                <p:cNvSpPr>
                  <a:spLocks/>
                </p:cNvSpPr>
                <p:nvPr/>
              </p:nvSpPr>
              <p:spPr bwMode="auto">
                <a:xfrm>
                  <a:off x="180631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5" name="Freeform 491"/>
                <p:cNvSpPr>
                  <a:spLocks noEditPoints="1"/>
                </p:cNvSpPr>
                <p:nvPr/>
              </p:nvSpPr>
              <p:spPr bwMode="auto">
                <a:xfrm>
                  <a:off x="1843681" y="4521243"/>
                  <a:ext cx="29892" cy="44838"/>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0 w 4"/>
                    <a:gd name="T21" fmla="*/ 6 h 6"/>
                    <a:gd name="T22" fmla="*/ 0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0 w 4"/>
                    <a:gd name="T39" fmla="*/ 3 h 6"/>
                    <a:gd name="T40" fmla="*/ 0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0" y="6"/>
                      </a:lnTo>
                      <a:lnTo>
                        <a:pt x="0" y="3"/>
                      </a:lnTo>
                      <a:lnTo>
                        <a:pt x="2" y="3"/>
                      </a:lnTo>
                      <a:lnTo>
                        <a:pt x="2" y="4"/>
                      </a:lnTo>
                      <a:lnTo>
                        <a:pt x="3" y="4"/>
                      </a:lnTo>
                      <a:lnTo>
                        <a:pt x="3" y="6"/>
                      </a:lnTo>
                      <a:lnTo>
                        <a:pt x="4" y="6"/>
                      </a:lnTo>
                      <a:lnTo>
                        <a:pt x="4"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6" name="Freeform 492"/>
                <p:cNvSpPr>
                  <a:spLocks/>
                </p:cNvSpPr>
                <p:nvPr/>
              </p:nvSpPr>
              <p:spPr bwMode="auto">
                <a:xfrm>
                  <a:off x="1888519" y="4521243"/>
                  <a:ext cx="22419" cy="44838"/>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7" name="Freeform 493"/>
                <p:cNvSpPr>
                  <a:spLocks/>
                </p:cNvSpPr>
                <p:nvPr/>
              </p:nvSpPr>
              <p:spPr bwMode="auto">
                <a:xfrm>
                  <a:off x="1918411" y="4521243"/>
                  <a:ext cx="44838" cy="44838"/>
                </a:xfrm>
                <a:custGeom>
                  <a:avLst/>
                  <a:gdLst>
                    <a:gd name="T0" fmla="*/ 6 w 6"/>
                    <a:gd name="T1" fmla="*/ 3 h 6"/>
                    <a:gd name="T2" fmla="*/ 6 w 6"/>
                    <a:gd name="T3" fmla="*/ 0 h 6"/>
                    <a:gd name="T4" fmla="*/ 5 w 6"/>
                    <a:gd name="T5" fmla="*/ 0 h 6"/>
                    <a:gd name="T6" fmla="*/ 5 w 6"/>
                    <a:gd name="T7" fmla="*/ 3 h 6"/>
                    <a:gd name="T8" fmla="*/ 4 w 6"/>
                    <a:gd name="T9" fmla="*/ 3 h 6"/>
                    <a:gd name="T10" fmla="*/ 4 w 6"/>
                    <a:gd name="T11" fmla="*/ 4 h 6"/>
                    <a:gd name="T12" fmla="*/ 4 w 6"/>
                    <a:gd name="T13" fmla="*/ 4 h 6"/>
                    <a:gd name="T14" fmla="*/ 4 w 6"/>
                    <a:gd name="T15" fmla="*/ 3 h 6"/>
                    <a:gd name="T16" fmla="*/ 3 w 6"/>
                    <a:gd name="T17" fmla="*/ 3 h 6"/>
                    <a:gd name="T18" fmla="*/ 3 w 6"/>
                    <a:gd name="T19" fmla="*/ 4 h 6"/>
                    <a:gd name="T20" fmla="*/ 2 w 6"/>
                    <a:gd name="T21" fmla="*/ 4 h 6"/>
                    <a:gd name="T22" fmla="*/ 2 w 6"/>
                    <a:gd name="T23" fmla="*/ 3 h 6"/>
                    <a:gd name="T24" fmla="*/ 1 w 6"/>
                    <a:gd name="T25" fmla="*/ 3 h 6"/>
                    <a:gd name="T26" fmla="*/ 1 w 6"/>
                    <a:gd name="T27" fmla="*/ 0 h 6"/>
                    <a:gd name="T28" fmla="*/ 0 w 6"/>
                    <a:gd name="T29" fmla="*/ 0 h 6"/>
                    <a:gd name="T30" fmla="*/ 0 w 6"/>
                    <a:gd name="T31" fmla="*/ 3 h 6"/>
                    <a:gd name="T32" fmla="*/ 1 w 6"/>
                    <a:gd name="T33" fmla="*/ 3 h 6"/>
                    <a:gd name="T34" fmla="*/ 1 w 6"/>
                    <a:gd name="T35" fmla="*/ 4 h 6"/>
                    <a:gd name="T36" fmla="*/ 2 w 6"/>
                    <a:gd name="T37" fmla="*/ 4 h 6"/>
                    <a:gd name="T38" fmla="*/ 2 w 6"/>
                    <a:gd name="T39" fmla="*/ 6 h 6"/>
                    <a:gd name="T40" fmla="*/ 3 w 6"/>
                    <a:gd name="T41" fmla="*/ 6 h 6"/>
                    <a:gd name="T42" fmla="*/ 3 w 6"/>
                    <a:gd name="T43" fmla="*/ 4 h 6"/>
                    <a:gd name="T44" fmla="*/ 4 w 6"/>
                    <a:gd name="T45" fmla="*/ 4 h 6"/>
                    <a:gd name="T46" fmla="*/ 4 w 6"/>
                    <a:gd name="T47" fmla="*/ 6 h 6"/>
                    <a:gd name="T48" fmla="*/ 4 w 6"/>
                    <a:gd name="T49" fmla="*/ 6 h 6"/>
                    <a:gd name="T50" fmla="*/ 4 w 6"/>
                    <a:gd name="T51" fmla="*/ 4 h 6"/>
                    <a:gd name="T52" fmla="*/ 5 w 6"/>
                    <a:gd name="T53" fmla="*/ 4 h 6"/>
                    <a:gd name="T54" fmla="*/ 5 w 6"/>
                    <a:gd name="T55" fmla="*/ 3 h 6"/>
                    <a:gd name="T56" fmla="*/ 6 w 6"/>
                    <a:gd name="T57" fmla="*/ 3 h 6"/>
                    <a:gd name="T58" fmla="*/ 6 w 6"/>
                    <a:gd name="T5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3"/>
                      </a:moveTo>
                      <a:lnTo>
                        <a:pt x="6" y="0"/>
                      </a:lnTo>
                      <a:lnTo>
                        <a:pt x="5" y="0"/>
                      </a:lnTo>
                      <a:lnTo>
                        <a:pt x="5" y="3"/>
                      </a:lnTo>
                      <a:lnTo>
                        <a:pt x="4" y="3"/>
                      </a:lnTo>
                      <a:lnTo>
                        <a:pt x="4" y="4"/>
                      </a:lnTo>
                      <a:lnTo>
                        <a:pt x="4" y="4"/>
                      </a:lnTo>
                      <a:lnTo>
                        <a:pt x="4" y="3"/>
                      </a:lnTo>
                      <a:lnTo>
                        <a:pt x="3" y="3"/>
                      </a:lnTo>
                      <a:lnTo>
                        <a:pt x="3" y="4"/>
                      </a:lnTo>
                      <a:lnTo>
                        <a:pt x="2" y="4"/>
                      </a:lnTo>
                      <a:lnTo>
                        <a:pt x="2" y="3"/>
                      </a:lnTo>
                      <a:lnTo>
                        <a:pt x="1" y="3"/>
                      </a:lnTo>
                      <a:lnTo>
                        <a:pt x="1" y="0"/>
                      </a:lnTo>
                      <a:lnTo>
                        <a:pt x="0" y="0"/>
                      </a:lnTo>
                      <a:lnTo>
                        <a:pt x="0" y="3"/>
                      </a:lnTo>
                      <a:lnTo>
                        <a:pt x="1" y="3"/>
                      </a:lnTo>
                      <a:lnTo>
                        <a:pt x="1" y="4"/>
                      </a:lnTo>
                      <a:lnTo>
                        <a:pt x="2" y="4"/>
                      </a:lnTo>
                      <a:lnTo>
                        <a:pt x="2" y="6"/>
                      </a:lnTo>
                      <a:lnTo>
                        <a:pt x="3" y="6"/>
                      </a:lnTo>
                      <a:lnTo>
                        <a:pt x="3" y="4"/>
                      </a:lnTo>
                      <a:lnTo>
                        <a:pt x="4" y="4"/>
                      </a:lnTo>
                      <a:lnTo>
                        <a:pt x="4" y="6"/>
                      </a:lnTo>
                      <a:lnTo>
                        <a:pt x="4" y="6"/>
                      </a:lnTo>
                      <a:lnTo>
                        <a:pt x="4" y="4"/>
                      </a:lnTo>
                      <a:lnTo>
                        <a:pt x="5" y="4"/>
                      </a:lnTo>
                      <a:lnTo>
                        <a:pt x="5" y="3"/>
                      </a:lnTo>
                      <a:lnTo>
                        <a:pt x="6" y="3"/>
                      </a:lnTo>
                      <a:lnTo>
                        <a:pt x="6"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8" name="Freeform 494"/>
                <p:cNvSpPr>
                  <a:spLocks noEditPoints="1"/>
                </p:cNvSpPr>
                <p:nvPr/>
              </p:nvSpPr>
              <p:spPr bwMode="auto">
                <a:xfrm>
                  <a:off x="1978195" y="4521243"/>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39" name="Freeform 495"/>
                <p:cNvSpPr>
                  <a:spLocks/>
                </p:cNvSpPr>
                <p:nvPr/>
              </p:nvSpPr>
              <p:spPr bwMode="auto">
                <a:xfrm>
                  <a:off x="2023033" y="4521243"/>
                  <a:ext cx="22419" cy="44838"/>
                </a:xfrm>
                <a:custGeom>
                  <a:avLst/>
                  <a:gdLst>
                    <a:gd name="T0" fmla="*/ 3 w 3"/>
                    <a:gd name="T1" fmla="*/ 5 h 6"/>
                    <a:gd name="T2" fmla="*/ 3 w 3"/>
                    <a:gd name="T3" fmla="*/ 0 h 6"/>
                    <a:gd name="T4" fmla="*/ 2 w 3"/>
                    <a:gd name="T5" fmla="*/ 0 h 6"/>
                    <a:gd name="T6" fmla="*/ 2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2" y="0"/>
                      </a:lnTo>
                      <a:lnTo>
                        <a:pt x="2" y="5"/>
                      </a:lnTo>
                      <a:lnTo>
                        <a:pt x="0" y="5"/>
                      </a:lnTo>
                      <a:lnTo>
                        <a:pt x="0" y="0"/>
                      </a:lnTo>
                      <a:lnTo>
                        <a:pt x="0" y="0"/>
                      </a:lnTo>
                      <a:lnTo>
                        <a:pt x="0" y="5"/>
                      </a:lnTo>
                      <a:lnTo>
                        <a:pt x="0" y="5"/>
                      </a:lnTo>
                      <a:lnTo>
                        <a:pt x="0" y="6"/>
                      </a:lnTo>
                      <a:lnTo>
                        <a:pt x="2" y="6"/>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0" name="Freeform 496"/>
                <p:cNvSpPr>
                  <a:spLocks/>
                </p:cNvSpPr>
                <p:nvPr/>
              </p:nvSpPr>
              <p:spPr bwMode="auto">
                <a:xfrm>
                  <a:off x="2060398"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1" name="Freeform 497"/>
                <p:cNvSpPr>
                  <a:spLocks/>
                </p:cNvSpPr>
                <p:nvPr/>
              </p:nvSpPr>
              <p:spPr bwMode="auto">
                <a:xfrm>
                  <a:off x="2105236" y="4521243"/>
                  <a:ext cx="29892" cy="44838"/>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2" name="Freeform 498"/>
                <p:cNvSpPr>
                  <a:spLocks/>
                </p:cNvSpPr>
                <p:nvPr/>
              </p:nvSpPr>
              <p:spPr bwMode="auto">
                <a:xfrm>
                  <a:off x="1873573"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3" name="Freeform 499"/>
                <p:cNvSpPr>
                  <a:spLocks/>
                </p:cNvSpPr>
                <p:nvPr/>
              </p:nvSpPr>
              <p:spPr bwMode="auto">
                <a:xfrm>
                  <a:off x="1910938"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4" name="Freeform 500"/>
                <p:cNvSpPr>
                  <a:spLocks noEditPoints="1"/>
                </p:cNvSpPr>
                <p:nvPr/>
              </p:nvSpPr>
              <p:spPr bwMode="auto">
                <a:xfrm>
                  <a:off x="1948303" y="4775325"/>
                  <a:ext cx="29892" cy="44838"/>
                </a:xfrm>
                <a:custGeom>
                  <a:avLst/>
                  <a:gdLst>
                    <a:gd name="T0" fmla="*/ 4 w 4"/>
                    <a:gd name="T1" fmla="*/ 5 h 6"/>
                    <a:gd name="T2" fmla="*/ 4 w 4"/>
                    <a:gd name="T3" fmla="*/ 2 h 6"/>
                    <a:gd name="T4" fmla="*/ 4 w 4"/>
                    <a:gd name="T5" fmla="*/ 2 h 6"/>
                    <a:gd name="T6" fmla="*/ 4 w 4"/>
                    <a:gd name="T7" fmla="*/ 2 h 6"/>
                    <a:gd name="T8" fmla="*/ 3 w 4"/>
                    <a:gd name="T9" fmla="*/ 2 h 6"/>
                    <a:gd name="T10" fmla="*/ 3 w 4"/>
                    <a:gd name="T11" fmla="*/ 0 h 6"/>
                    <a:gd name="T12" fmla="*/ 0 w 4"/>
                    <a:gd name="T13" fmla="*/ 0 h 6"/>
                    <a:gd name="T14" fmla="*/ 0 w 4"/>
                    <a:gd name="T15" fmla="*/ 6 h 6"/>
                    <a:gd name="T16" fmla="*/ 3 w 4"/>
                    <a:gd name="T17" fmla="*/ 6 h 6"/>
                    <a:gd name="T18" fmla="*/ 3 w 4"/>
                    <a:gd name="T19" fmla="*/ 6 h 6"/>
                    <a:gd name="T20" fmla="*/ 4 w 4"/>
                    <a:gd name="T21" fmla="*/ 6 h 6"/>
                    <a:gd name="T22" fmla="*/ 4 w 4"/>
                    <a:gd name="T23" fmla="*/ 5 h 6"/>
                    <a:gd name="T24" fmla="*/ 4 w 4"/>
                    <a:gd name="T25" fmla="*/ 5 h 6"/>
                    <a:gd name="T26" fmla="*/ 4 w 4"/>
                    <a:gd name="T27" fmla="*/ 5 h 6"/>
                    <a:gd name="T28" fmla="*/ 4 w 4"/>
                    <a:gd name="T29" fmla="*/ 5 h 6"/>
                    <a:gd name="T30" fmla="*/ 3 w 4"/>
                    <a:gd name="T31" fmla="*/ 5 h 6"/>
                    <a:gd name="T32" fmla="*/ 3 w 4"/>
                    <a:gd name="T33" fmla="*/ 6 h 6"/>
                    <a:gd name="T34" fmla="*/ 1 w 4"/>
                    <a:gd name="T35" fmla="*/ 6 h 6"/>
                    <a:gd name="T36" fmla="*/ 1 w 4"/>
                    <a:gd name="T37" fmla="*/ 2 h 6"/>
                    <a:gd name="T38" fmla="*/ 3 w 4"/>
                    <a:gd name="T39" fmla="*/ 2 h 6"/>
                    <a:gd name="T40" fmla="*/ 3 w 4"/>
                    <a:gd name="T41" fmla="*/ 2 h 6"/>
                    <a:gd name="T42" fmla="*/ 4 w 4"/>
                    <a:gd name="T43" fmla="*/ 2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4" y="2"/>
                      </a:lnTo>
                      <a:lnTo>
                        <a:pt x="4" y="2"/>
                      </a:lnTo>
                      <a:lnTo>
                        <a:pt x="3" y="2"/>
                      </a:lnTo>
                      <a:lnTo>
                        <a:pt x="3" y="0"/>
                      </a:lnTo>
                      <a:lnTo>
                        <a:pt x="0" y="0"/>
                      </a:lnTo>
                      <a:lnTo>
                        <a:pt x="0" y="6"/>
                      </a:lnTo>
                      <a:lnTo>
                        <a:pt x="3" y="6"/>
                      </a:lnTo>
                      <a:lnTo>
                        <a:pt x="3" y="6"/>
                      </a:lnTo>
                      <a:lnTo>
                        <a:pt x="4" y="6"/>
                      </a:lnTo>
                      <a:lnTo>
                        <a:pt x="4" y="5"/>
                      </a:lnTo>
                      <a:lnTo>
                        <a:pt x="4" y="5"/>
                      </a:lnTo>
                      <a:lnTo>
                        <a:pt x="4" y="5"/>
                      </a:lnTo>
                      <a:close/>
                      <a:moveTo>
                        <a:pt x="4" y="5"/>
                      </a:moveTo>
                      <a:lnTo>
                        <a:pt x="3" y="5"/>
                      </a:lnTo>
                      <a:lnTo>
                        <a:pt x="3" y="6"/>
                      </a:lnTo>
                      <a:lnTo>
                        <a:pt x="1" y="6"/>
                      </a:lnTo>
                      <a:lnTo>
                        <a:pt x="1" y="2"/>
                      </a:lnTo>
                      <a:lnTo>
                        <a:pt x="3" y="2"/>
                      </a:lnTo>
                      <a:lnTo>
                        <a:pt x="3" y="2"/>
                      </a:lnTo>
                      <a:lnTo>
                        <a:pt x="4" y="2"/>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5" name="Freeform 501"/>
                <p:cNvSpPr>
                  <a:spLocks/>
                </p:cNvSpPr>
                <p:nvPr/>
              </p:nvSpPr>
              <p:spPr bwMode="auto">
                <a:xfrm>
                  <a:off x="2023033" y="4805217"/>
                  <a:ext cx="14946"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6" name="Freeform 502"/>
                <p:cNvSpPr>
                  <a:spLocks/>
                </p:cNvSpPr>
                <p:nvPr/>
              </p:nvSpPr>
              <p:spPr bwMode="auto">
                <a:xfrm>
                  <a:off x="2052925" y="4775325"/>
                  <a:ext cx="14946" cy="44838"/>
                </a:xfrm>
                <a:custGeom>
                  <a:avLst/>
                  <a:gdLst>
                    <a:gd name="T0" fmla="*/ 2 w 2"/>
                    <a:gd name="T1" fmla="*/ 6 h 6"/>
                    <a:gd name="T2" fmla="*/ 2 w 2"/>
                    <a:gd name="T3" fmla="*/ 0 h 6"/>
                    <a:gd name="T4" fmla="*/ 1 w 2"/>
                    <a:gd name="T5" fmla="*/ 0 h 6"/>
                    <a:gd name="T6" fmla="*/ 1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2"/>
                      </a:lnTo>
                      <a:lnTo>
                        <a:pt x="1" y="2"/>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7" name="Freeform 503"/>
                <p:cNvSpPr>
                  <a:spLocks/>
                </p:cNvSpPr>
                <p:nvPr/>
              </p:nvSpPr>
              <p:spPr bwMode="auto">
                <a:xfrm>
                  <a:off x="2082817" y="48201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8" name="Freeform 504"/>
                <p:cNvSpPr>
                  <a:spLocks noEditPoints="1"/>
                </p:cNvSpPr>
                <p:nvPr/>
              </p:nvSpPr>
              <p:spPr bwMode="auto">
                <a:xfrm>
                  <a:off x="2090290" y="4775325"/>
                  <a:ext cx="29892" cy="44838"/>
                </a:xfrm>
                <a:custGeom>
                  <a:avLst/>
                  <a:gdLst>
                    <a:gd name="T0" fmla="*/ 4 w 4"/>
                    <a:gd name="T1" fmla="*/ 5 h 6"/>
                    <a:gd name="T2" fmla="*/ 4 w 4"/>
                    <a:gd name="T3" fmla="*/ 2 h 6"/>
                    <a:gd name="T4" fmla="*/ 4 w 4"/>
                    <a:gd name="T5" fmla="*/ 2 h 6"/>
                    <a:gd name="T6" fmla="*/ 4 w 4"/>
                    <a:gd name="T7" fmla="*/ 0 h 6"/>
                    <a:gd name="T8" fmla="*/ 2 w 4"/>
                    <a:gd name="T9" fmla="*/ 0 h 6"/>
                    <a:gd name="T10" fmla="*/ 2 w 4"/>
                    <a:gd name="T11" fmla="*/ 2 h 6"/>
                    <a:gd name="T12" fmla="*/ 0 w 4"/>
                    <a:gd name="T13" fmla="*/ 2 h 6"/>
                    <a:gd name="T14" fmla="*/ 0 w 4"/>
                    <a:gd name="T15" fmla="*/ 3 h 6"/>
                    <a:gd name="T16" fmla="*/ 2 w 4"/>
                    <a:gd name="T17" fmla="*/ 3 h 6"/>
                    <a:gd name="T18" fmla="*/ 2 w 4"/>
                    <a:gd name="T19" fmla="*/ 4 h 6"/>
                    <a:gd name="T20" fmla="*/ 4 w 4"/>
                    <a:gd name="T21" fmla="*/ 4 h 6"/>
                    <a:gd name="T22" fmla="*/ 4 w 4"/>
                    <a:gd name="T23" fmla="*/ 5 h 6"/>
                    <a:gd name="T24" fmla="*/ 3 w 4"/>
                    <a:gd name="T25" fmla="*/ 5 h 6"/>
                    <a:gd name="T26" fmla="*/ 3 w 4"/>
                    <a:gd name="T27" fmla="*/ 6 h 6"/>
                    <a:gd name="T28" fmla="*/ 2 w 4"/>
                    <a:gd name="T29" fmla="*/ 6 h 6"/>
                    <a:gd name="T30" fmla="*/ 2 w 4"/>
                    <a:gd name="T31" fmla="*/ 6 h 6"/>
                    <a:gd name="T32" fmla="*/ 3 w 4"/>
                    <a:gd name="T33" fmla="*/ 6 h 6"/>
                    <a:gd name="T34" fmla="*/ 3 w 4"/>
                    <a:gd name="T35" fmla="*/ 6 h 6"/>
                    <a:gd name="T36" fmla="*/ 4 w 4"/>
                    <a:gd name="T37" fmla="*/ 6 h 6"/>
                    <a:gd name="T38" fmla="*/ 4 w 4"/>
                    <a:gd name="T39" fmla="*/ 5 h 6"/>
                    <a:gd name="T40" fmla="*/ 4 w 4"/>
                    <a:gd name="T41" fmla="*/ 5 h 6"/>
                    <a:gd name="T42" fmla="*/ 4 w 4"/>
                    <a:gd name="T43" fmla="*/ 5 h 6"/>
                    <a:gd name="T44" fmla="*/ 4 w 4"/>
                    <a:gd name="T45" fmla="*/ 3 h 6"/>
                    <a:gd name="T46" fmla="*/ 2 w 4"/>
                    <a:gd name="T47" fmla="*/ 3 h 6"/>
                    <a:gd name="T48" fmla="*/ 2 w 4"/>
                    <a:gd name="T49" fmla="*/ 2 h 6"/>
                    <a:gd name="T50" fmla="*/ 4 w 4"/>
                    <a:gd name="T51" fmla="*/ 2 h 6"/>
                    <a:gd name="T52" fmla="*/ 4 w 4"/>
                    <a:gd name="T53" fmla="*/ 3 h 6"/>
                    <a:gd name="T54" fmla="*/ 4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2"/>
                      </a:lnTo>
                      <a:lnTo>
                        <a:pt x="4" y="2"/>
                      </a:lnTo>
                      <a:lnTo>
                        <a:pt x="4" y="0"/>
                      </a:lnTo>
                      <a:lnTo>
                        <a:pt x="2" y="0"/>
                      </a:lnTo>
                      <a:lnTo>
                        <a:pt x="2" y="2"/>
                      </a:lnTo>
                      <a:lnTo>
                        <a:pt x="0" y="2"/>
                      </a:lnTo>
                      <a:lnTo>
                        <a:pt x="0" y="3"/>
                      </a:lnTo>
                      <a:lnTo>
                        <a:pt x="2" y="3"/>
                      </a:lnTo>
                      <a:lnTo>
                        <a:pt x="2" y="4"/>
                      </a:lnTo>
                      <a:lnTo>
                        <a:pt x="4" y="4"/>
                      </a:lnTo>
                      <a:lnTo>
                        <a:pt x="4" y="5"/>
                      </a:lnTo>
                      <a:lnTo>
                        <a:pt x="3" y="5"/>
                      </a:lnTo>
                      <a:lnTo>
                        <a:pt x="3" y="6"/>
                      </a:lnTo>
                      <a:lnTo>
                        <a:pt x="2" y="6"/>
                      </a:lnTo>
                      <a:lnTo>
                        <a:pt x="2" y="6"/>
                      </a:lnTo>
                      <a:lnTo>
                        <a:pt x="3" y="6"/>
                      </a:lnTo>
                      <a:lnTo>
                        <a:pt x="3" y="6"/>
                      </a:lnTo>
                      <a:lnTo>
                        <a:pt x="4" y="6"/>
                      </a:lnTo>
                      <a:lnTo>
                        <a:pt x="4" y="5"/>
                      </a:lnTo>
                      <a:lnTo>
                        <a:pt x="4" y="5"/>
                      </a:lnTo>
                      <a:lnTo>
                        <a:pt x="4" y="5"/>
                      </a:lnTo>
                      <a:close/>
                      <a:moveTo>
                        <a:pt x="4" y="3"/>
                      </a:moveTo>
                      <a:lnTo>
                        <a:pt x="2" y="3"/>
                      </a:lnTo>
                      <a:lnTo>
                        <a:pt x="2"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49" name="Freeform 505"/>
                <p:cNvSpPr>
                  <a:spLocks noEditPoints="1"/>
                </p:cNvSpPr>
                <p:nvPr/>
              </p:nvSpPr>
              <p:spPr bwMode="auto">
                <a:xfrm>
                  <a:off x="2135128" y="4775325"/>
                  <a:ext cx="29892" cy="44838"/>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1 w 4"/>
                    <a:gd name="T13" fmla="*/ 2 h 6"/>
                    <a:gd name="T14" fmla="*/ 1 w 4"/>
                    <a:gd name="T15" fmla="*/ 2 h 6"/>
                    <a:gd name="T16" fmla="*/ 3 w 4"/>
                    <a:gd name="T17" fmla="*/ 2 h 6"/>
                    <a:gd name="T18" fmla="*/ 3 w 4"/>
                    <a:gd name="T19" fmla="*/ 0 h 6"/>
                    <a:gd name="T20" fmla="*/ 1 w 4"/>
                    <a:gd name="T21" fmla="*/ 0 h 6"/>
                    <a:gd name="T22" fmla="*/ 1 w 4"/>
                    <a:gd name="T23" fmla="*/ 2 h 6"/>
                    <a:gd name="T24" fmla="*/ 1 w 4"/>
                    <a:gd name="T25" fmla="*/ 2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1" y="2"/>
                      </a:lnTo>
                      <a:lnTo>
                        <a:pt x="1" y="2"/>
                      </a:lnTo>
                      <a:lnTo>
                        <a:pt x="3" y="2"/>
                      </a:lnTo>
                      <a:lnTo>
                        <a:pt x="3" y="0"/>
                      </a:lnTo>
                      <a:lnTo>
                        <a:pt x="1" y="0"/>
                      </a:lnTo>
                      <a:lnTo>
                        <a:pt x="1" y="2"/>
                      </a:lnTo>
                      <a:lnTo>
                        <a:pt x="1" y="2"/>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0" name="Freeform 506"/>
                <p:cNvSpPr>
                  <a:spLocks/>
                </p:cNvSpPr>
                <p:nvPr/>
              </p:nvSpPr>
              <p:spPr bwMode="auto">
                <a:xfrm>
                  <a:off x="2172493" y="4775325"/>
                  <a:ext cx="29892" cy="44838"/>
                </a:xfrm>
                <a:custGeom>
                  <a:avLst/>
                  <a:gdLst>
                    <a:gd name="T0" fmla="*/ 4 w 4"/>
                    <a:gd name="T1" fmla="*/ 3 h 6"/>
                    <a:gd name="T2" fmla="*/ 4 w 4"/>
                    <a:gd name="T3" fmla="*/ 0 h 6"/>
                    <a:gd name="T4" fmla="*/ 0 w 4"/>
                    <a:gd name="T5" fmla="*/ 0 h 6"/>
                    <a:gd name="T6" fmla="*/ 0 w 4"/>
                    <a:gd name="T7" fmla="*/ 2 h 6"/>
                    <a:gd name="T8" fmla="*/ 3 w 4"/>
                    <a:gd name="T9" fmla="*/ 2 h 6"/>
                    <a:gd name="T10" fmla="*/ 3 w 4"/>
                    <a:gd name="T11" fmla="*/ 3 h 6"/>
                    <a:gd name="T12" fmla="*/ 3 w 4"/>
                    <a:gd name="T13" fmla="*/ 3 h 6"/>
                    <a:gd name="T14" fmla="*/ 3 w 4"/>
                    <a:gd name="T15" fmla="*/ 5 h 6"/>
                    <a:gd name="T16" fmla="*/ 1 w 4"/>
                    <a:gd name="T17" fmla="*/ 5 h 6"/>
                    <a:gd name="T18" fmla="*/ 1 w 4"/>
                    <a:gd name="T19" fmla="*/ 6 h 6"/>
                    <a:gd name="T20" fmla="*/ 3 w 4"/>
                    <a:gd name="T21" fmla="*/ 6 h 6"/>
                    <a:gd name="T22" fmla="*/ 3 w 4"/>
                    <a:gd name="T23" fmla="*/ 5 h 6"/>
                    <a:gd name="T24" fmla="*/ 3 w 4"/>
                    <a:gd name="T25" fmla="*/ 5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2"/>
                      </a:lnTo>
                      <a:lnTo>
                        <a:pt x="3" y="2"/>
                      </a:lnTo>
                      <a:lnTo>
                        <a:pt x="3" y="3"/>
                      </a:lnTo>
                      <a:lnTo>
                        <a:pt x="3" y="3"/>
                      </a:lnTo>
                      <a:lnTo>
                        <a:pt x="3" y="5"/>
                      </a:lnTo>
                      <a:lnTo>
                        <a:pt x="1" y="5"/>
                      </a:lnTo>
                      <a:lnTo>
                        <a:pt x="1" y="6"/>
                      </a:lnTo>
                      <a:lnTo>
                        <a:pt x="3" y="6"/>
                      </a:lnTo>
                      <a:lnTo>
                        <a:pt x="3" y="5"/>
                      </a:lnTo>
                      <a:lnTo>
                        <a:pt x="3" y="5"/>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1" name="Freeform 507"/>
                <p:cNvSpPr>
                  <a:spLocks noEditPoints="1"/>
                </p:cNvSpPr>
                <p:nvPr/>
              </p:nvSpPr>
              <p:spPr bwMode="auto">
                <a:xfrm>
                  <a:off x="1873573" y="4857528"/>
                  <a:ext cx="29892" cy="37365"/>
                </a:xfrm>
                <a:custGeom>
                  <a:avLst/>
                  <a:gdLst>
                    <a:gd name="T0" fmla="*/ 4 w 4"/>
                    <a:gd name="T1" fmla="*/ 4 h 5"/>
                    <a:gd name="T2" fmla="*/ 4 w 4"/>
                    <a:gd name="T3" fmla="*/ 1 h 5"/>
                    <a:gd name="T4" fmla="*/ 3 w 4"/>
                    <a:gd name="T5" fmla="*/ 1 h 5"/>
                    <a:gd name="T6" fmla="*/ 3 w 4"/>
                    <a:gd name="T7" fmla="*/ 1 h 5"/>
                    <a:gd name="T8" fmla="*/ 2 w 4"/>
                    <a:gd name="T9" fmla="*/ 1 h 5"/>
                    <a:gd name="T10" fmla="*/ 2 w 4"/>
                    <a:gd name="T11" fmla="*/ 0 h 5"/>
                    <a:gd name="T12" fmla="*/ 0 w 4"/>
                    <a:gd name="T13" fmla="*/ 0 h 5"/>
                    <a:gd name="T14" fmla="*/ 0 w 4"/>
                    <a:gd name="T15" fmla="*/ 5 h 5"/>
                    <a:gd name="T16" fmla="*/ 2 w 4"/>
                    <a:gd name="T17" fmla="*/ 5 h 5"/>
                    <a:gd name="T18" fmla="*/ 2 w 4"/>
                    <a:gd name="T19" fmla="*/ 5 h 5"/>
                    <a:gd name="T20" fmla="*/ 3 w 4"/>
                    <a:gd name="T21" fmla="*/ 5 h 5"/>
                    <a:gd name="T22" fmla="*/ 3 w 4"/>
                    <a:gd name="T23" fmla="*/ 4 h 5"/>
                    <a:gd name="T24" fmla="*/ 4 w 4"/>
                    <a:gd name="T25" fmla="*/ 4 h 5"/>
                    <a:gd name="T26" fmla="*/ 4 w 4"/>
                    <a:gd name="T27" fmla="*/ 4 h 5"/>
                    <a:gd name="T28" fmla="*/ 3 w 4"/>
                    <a:gd name="T29" fmla="*/ 4 h 5"/>
                    <a:gd name="T30" fmla="*/ 2 w 4"/>
                    <a:gd name="T31" fmla="*/ 4 h 5"/>
                    <a:gd name="T32" fmla="*/ 2 w 4"/>
                    <a:gd name="T33" fmla="*/ 5 h 5"/>
                    <a:gd name="T34" fmla="*/ 0 w 4"/>
                    <a:gd name="T35" fmla="*/ 5 h 5"/>
                    <a:gd name="T36" fmla="*/ 0 w 4"/>
                    <a:gd name="T37" fmla="*/ 1 h 5"/>
                    <a:gd name="T38" fmla="*/ 2 w 4"/>
                    <a:gd name="T39" fmla="*/ 1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2" y="1"/>
                      </a:lnTo>
                      <a:lnTo>
                        <a:pt x="2" y="0"/>
                      </a:lnTo>
                      <a:lnTo>
                        <a:pt x="0" y="0"/>
                      </a:lnTo>
                      <a:lnTo>
                        <a:pt x="0" y="5"/>
                      </a:lnTo>
                      <a:lnTo>
                        <a:pt x="2" y="5"/>
                      </a:lnTo>
                      <a:lnTo>
                        <a:pt x="2" y="5"/>
                      </a:lnTo>
                      <a:lnTo>
                        <a:pt x="3" y="5"/>
                      </a:lnTo>
                      <a:lnTo>
                        <a:pt x="3" y="4"/>
                      </a:lnTo>
                      <a:lnTo>
                        <a:pt x="4" y="4"/>
                      </a:lnTo>
                      <a:lnTo>
                        <a:pt x="4" y="4"/>
                      </a:lnTo>
                      <a:close/>
                      <a:moveTo>
                        <a:pt x="3" y="4"/>
                      </a:moveTo>
                      <a:lnTo>
                        <a:pt x="2" y="4"/>
                      </a:lnTo>
                      <a:lnTo>
                        <a:pt x="2" y="5"/>
                      </a:lnTo>
                      <a:lnTo>
                        <a:pt x="0" y="5"/>
                      </a:lnTo>
                      <a:lnTo>
                        <a:pt x="0" y="1"/>
                      </a:lnTo>
                      <a:lnTo>
                        <a:pt x="2" y="1"/>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2" name="Freeform 508"/>
                <p:cNvSpPr>
                  <a:spLocks/>
                </p:cNvSpPr>
                <p:nvPr/>
              </p:nvSpPr>
              <p:spPr bwMode="auto">
                <a:xfrm>
                  <a:off x="1910938" y="4857528"/>
                  <a:ext cx="29892" cy="37365"/>
                </a:xfrm>
                <a:custGeom>
                  <a:avLst/>
                  <a:gdLst>
                    <a:gd name="T0" fmla="*/ 4 w 4"/>
                    <a:gd name="T1" fmla="*/ 5 h 5"/>
                    <a:gd name="T2" fmla="*/ 4 w 4"/>
                    <a:gd name="T3" fmla="*/ 4 h 5"/>
                    <a:gd name="T4" fmla="*/ 3 w 4"/>
                    <a:gd name="T5" fmla="*/ 4 h 5"/>
                    <a:gd name="T6" fmla="*/ 3 w 4"/>
                    <a:gd name="T7" fmla="*/ 5 h 5"/>
                    <a:gd name="T8" fmla="*/ 1 w 4"/>
                    <a:gd name="T9" fmla="*/ 5 h 5"/>
                    <a:gd name="T10" fmla="*/ 1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3" y="4"/>
                      </a:lnTo>
                      <a:lnTo>
                        <a:pt x="3" y="5"/>
                      </a:lnTo>
                      <a:lnTo>
                        <a:pt x="1" y="5"/>
                      </a:lnTo>
                      <a:lnTo>
                        <a:pt x="1" y="1"/>
                      </a:lnTo>
                      <a:lnTo>
                        <a:pt x="3" y="1"/>
                      </a:lnTo>
                      <a:lnTo>
                        <a:pt x="3" y="1"/>
                      </a:lnTo>
                      <a:lnTo>
                        <a:pt x="4" y="1"/>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3" name="Freeform 509"/>
                <p:cNvSpPr>
                  <a:spLocks noEditPoints="1"/>
                </p:cNvSpPr>
                <p:nvPr/>
              </p:nvSpPr>
              <p:spPr bwMode="auto">
                <a:xfrm>
                  <a:off x="1948303" y="4857528"/>
                  <a:ext cx="29892" cy="37365"/>
                </a:xfrm>
                <a:custGeom>
                  <a:avLst/>
                  <a:gdLst>
                    <a:gd name="T0" fmla="*/ 4 w 4"/>
                    <a:gd name="T1" fmla="*/ 5 h 5"/>
                    <a:gd name="T2" fmla="*/ 4 w 4"/>
                    <a:gd name="T3" fmla="*/ 3 h 5"/>
                    <a:gd name="T4" fmla="*/ 4 w 4"/>
                    <a:gd name="T5" fmla="*/ 3 h 5"/>
                    <a:gd name="T6" fmla="*/ 4 w 4"/>
                    <a:gd name="T7" fmla="*/ 1 h 5"/>
                    <a:gd name="T8" fmla="*/ 3 w 4"/>
                    <a:gd name="T9" fmla="*/ 1 h 5"/>
                    <a:gd name="T10" fmla="*/ 3 w 4"/>
                    <a:gd name="T11" fmla="*/ 0 h 5"/>
                    <a:gd name="T12" fmla="*/ 2 w 4"/>
                    <a:gd name="T13" fmla="*/ 0 h 5"/>
                    <a:gd name="T14" fmla="*/ 2 w 4"/>
                    <a:gd name="T15" fmla="*/ 1 h 5"/>
                    <a:gd name="T16" fmla="*/ 1 w 4"/>
                    <a:gd name="T17" fmla="*/ 1 h 5"/>
                    <a:gd name="T18" fmla="*/ 1 w 4"/>
                    <a:gd name="T19" fmla="*/ 3 h 5"/>
                    <a:gd name="T20" fmla="*/ 0 w 4"/>
                    <a:gd name="T21" fmla="*/ 3 h 5"/>
                    <a:gd name="T22" fmla="*/ 0 w 4"/>
                    <a:gd name="T23" fmla="*/ 5 h 5"/>
                    <a:gd name="T24" fmla="*/ 1 w 4"/>
                    <a:gd name="T25" fmla="*/ 5 h 5"/>
                    <a:gd name="T26" fmla="*/ 1 w 4"/>
                    <a:gd name="T27" fmla="*/ 4 h 5"/>
                    <a:gd name="T28" fmla="*/ 4 w 4"/>
                    <a:gd name="T29" fmla="*/ 4 h 5"/>
                    <a:gd name="T30" fmla="*/ 4 w 4"/>
                    <a:gd name="T31" fmla="*/ 5 h 5"/>
                    <a:gd name="T32" fmla="*/ 4 w 4"/>
                    <a:gd name="T33" fmla="*/ 5 h 5"/>
                    <a:gd name="T34" fmla="*/ 4 w 4"/>
                    <a:gd name="T35" fmla="*/ 5 h 5"/>
                    <a:gd name="T36" fmla="*/ 3 w 4"/>
                    <a:gd name="T37" fmla="*/ 3 h 5"/>
                    <a:gd name="T38" fmla="*/ 2 w 4"/>
                    <a:gd name="T39" fmla="*/ 3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1"/>
                      </a:lnTo>
                      <a:lnTo>
                        <a:pt x="3" y="1"/>
                      </a:lnTo>
                      <a:lnTo>
                        <a:pt x="3" y="0"/>
                      </a:lnTo>
                      <a:lnTo>
                        <a:pt x="2" y="0"/>
                      </a:lnTo>
                      <a:lnTo>
                        <a:pt x="2" y="1"/>
                      </a:lnTo>
                      <a:lnTo>
                        <a:pt x="1" y="1"/>
                      </a:lnTo>
                      <a:lnTo>
                        <a:pt x="1" y="3"/>
                      </a:lnTo>
                      <a:lnTo>
                        <a:pt x="0" y="3"/>
                      </a:lnTo>
                      <a:lnTo>
                        <a:pt x="0" y="5"/>
                      </a:lnTo>
                      <a:lnTo>
                        <a:pt x="1" y="5"/>
                      </a:lnTo>
                      <a:lnTo>
                        <a:pt x="1" y="4"/>
                      </a:lnTo>
                      <a:lnTo>
                        <a:pt x="4" y="4"/>
                      </a:lnTo>
                      <a:lnTo>
                        <a:pt x="4" y="5"/>
                      </a:lnTo>
                      <a:lnTo>
                        <a:pt x="4" y="5"/>
                      </a:lnTo>
                      <a:lnTo>
                        <a:pt x="4" y="5"/>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4" name="Freeform 510"/>
                <p:cNvSpPr>
                  <a:spLocks/>
                </p:cNvSpPr>
                <p:nvPr/>
              </p:nvSpPr>
              <p:spPr bwMode="auto">
                <a:xfrm>
                  <a:off x="2023033"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5" name="Freeform 511"/>
                <p:cNvSpPr>
                  <a:spLocks/>
                </p:cNvSpPr>
                <p:nvPr/>
              </p:nvSpPr>
              <p:spPr bwMode="auto">
                <a:xfrm>
                  <a:off x="2045452" y="4857528"/>
                  <a:ext cx="29892" cy="37365"/>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1 h 5"/>
                    <a:gd name="T12" fmla="*/ 4 w 4"/>
                    <a:gd name="T13" fmla="*/ 1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4 h 5"/>
                    <a:gd name="T28" fmla="*/ 0 w 4"/>
                    <a:gd name="T29" fmla="*/ 4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6" name="Freeform 512"/>
                <p:cNvSpPr>
                  <a:spLocks/>
                </p:cNvSpPr>
                <p:nvPr/>
              </p:nvSpPr>
              <p:spPr bwMode="auto">
                <a:xfrm>
                  <a:off x="2082817" y="489489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7" name="Freeform 513"/>
                <p:cNvSpPr>
                  <a:spLocks noEditPoints="1"/>
                </p:cNvSpPr>
                <p:nvPr/>
              </p:nvSpPr>
              <p:spPr bwMode="auto">
                <a:xfrm>
                  <a:off x="210523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2 w 4"/>
                    <a:gd name="T29" fmla="*/ 5 h 5"/>
                    <a:gd name="T30" fmla="*/ 0 w 4"/>
                    <a:gd name="T31" fmla="*/ 5 h 5"/>
                    <a:gd name="T32" fmla="*/ 0 w 4"/>
                    <a:gd name="T33" fmla="*/ 1 h 5"/>
                    <a:gd name="T34" fmla="*/ 2 w 4"/>
                    <a:gd name="T35" fmla="*/ 1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8" name="Freeform 514"/>
                <p:cNvSpPr>
                  <a:spLocks noEditPoints="1"/>
                </p:cNvSpPr>
                <p:nvPr/>
              </p:nvSpPr>
              <p:spPr bwMode="auto">
                <a:xfrm>
                  <a:off x="2142601"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0 w 4"/>
                    <a:gd name="T31" fmla="*/ 5 h 5"/>
                    <a:gd name="T32" fmla="*/ 0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59" name="Freeform 515"/>
                <p:cNvSpPr>
                  <a:spLocks noEditPoints="1"/>
                </p:cNvSpPr>
                <p:nvPr/>
              </p:nvSpPr>
              <p:spPr bwMode="auto">
                <a:xfrm>
                  <a:off x="2179966" y="4857528"/>
                  <a:ext cx="29892" cy="37365"/>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0" name="Freeform 516"/>
                <p:cNvSpPr>
                  <a:spLocks/>
                </p:cNvSpPr>
                <p:nvPr/>
              </p:nvSpPr>
              <p:spPr bwMode="auto">
                <a:xfrm>
                  <a:off x="2404156"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2 w 4"/>
                    <a:gd name="T13" fmla="*/ 6 h 6"/>
                    <a:gd name="T14" fmla="*/ 2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2" y="6"/>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1" name="Freeform 517"/>
                <p:cNvSpPr>
                  <a:spLocks/>
                </p:cNvSpPr>
                <p:nvPr/>
              </p:nvSpPr>
              <p:spPr bwMode="auto">
                <a:xfrm>
                  <a:off x="2441521" y="4775325"/>
                  <a:ext cx="29892" cy="44838"/>
                </a:xfrm>
                <a:custGeom>
                  <a:avLst/>
                  <a:gdLst>
                    <a:gd name="T0" fmla="*/ 4 w 4"/>
                    <a:gd name="T1" fmla="*/ 2 h 6"/>
                    <a:gd name="T2" fmla="*/ 4 w 4"/>
                    <a:gd name="T3" fmla="*/ 0 h 6"/>
                    <a:gd name="T4" fmla="*/ 0 w 4"/>
                    <a:gd name="T5" fmla="*/ 0 h 6"/>
                    <a:gd name="T6" fmla="*/ 0 w 4"/>
                    <a:gd name="T7" fmla="*/ 2 h 6"/>
                    <a:gd name="T8" fmla="*/ 2 w 4"/>
                    <a:gd name="T9" fmla="*/ 2 h 6"/>
                    <a:gd name="T10" fmla="*/ 2 w 4"/>
                    <a:gd name="T11" fmla="*/ 6 h 6"/>
                    <a:gd name="T12" fmla="*/ 3 w 4"/>
                    <a:gd name="T13" fmla="*/ 6 h 6"/>
                    <a:gd name="T14" fmla="*/ 3 w 4"/>
                    <a:gd name="T15" fmla="*/ 2 h 6"/>
                    <a:gd name="T16" fmla="*/ 4 w 4"/>
                    <a:gd name="T17" fmla="*/ 2 h 6"/>
                    <a:gd name="T18" fmla="*/ 4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2"/>
                      </a:moveTo>
                      <a:lnTo>
                        <a:pt x="4" y="0"/>
                      </a:lnTo>
                      <a:lnTo>
                        <a:pt x="0" y="0"/>
                      </a:lnTo>
                      <a:lnTo>
                        <a:pt x="0" y="2"/>
                      </a:lnTo>
                      <a:lnTo>
                        <a:pt x="2" y="2"/>
                      </a:lnTo>
                      <a:lnTo>
                        <a:pt x="2" y="6"/>
                      </a:lnTo>
                      <a:lnTo>
                        <a:pt x="3" y="6"/>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2" name="Freeform 518"/>
                <p:cNvSpPr>
                  <a:spLocks noEditPoints="1"/>
                </p:cNvSpPr>
                <p:nvPr/>
              </p:nvSpPr>
              <p:spPr bwMode="auto">
                <a:xfrm>
                  <a:off x="2486359" y="4775325"/>
                  <a:ext cx="22419" cy="44838"/>
                </a:xfrm>
                <a:custGeom>
                  <a:avLst/>
                  <a:gdLst>
                    <a:gd name="T0" fmla="*/ 3 w 3"/>
                    <a:gd name="T1" fmla="*/ 5 h 6"/>
                    <a:gd name="T2" fmla="*/ 3 w 3"/>
                    <a:gd name="T3" fmla="*/ 2 h 6"/>
                    <a:gd name="T4" fmla="*/ 3 w 3"/>
                    <a:gd name="T5" fmla="*/ 2 h 6"/>
                    <a:gd name="T6" fmla="*/ 3 w 3"/>
                    <a:gd name="T7" fmla="*/ 2 h 6"/>
                    <a:gd name="T8" fmla="*/ 2 w 3"/>
                    <a:gd name="T9" fmla="*/ 2 h 6"/>
                    <a:gd name="T10" fmla="*/ 2 w 3"/>
                    <a:gd name="T11" fmla="*/ 0 h 6"/>
                    <a:gd name="T12" fmla="*/ 0 w 3"/>
                    <a:gd name="T13" fmla="*/ 0 h 6"/>
                    <a:gd name="T14" fmla="*/ 0 w 3"/>
                    <a:gd name="T15" fmla="*/ 6 h 6"/>
                    <a:gd name="T16" fmla="*/ 2 w 3"/>
                    <a:gd name="T17" fmla="*/ 6 h 6"/>
                    <a:gd name="T18" fmla="*/ 2 w 3"/>
                    <a:gd name="T19" fmla="*/ 6 h 6"/>
                    <a:gd name="T20" fmla="*/ 3 w 3"/>
                    <a:gd name="T21" fmla="*/ 6 h 6"/>
                    <a:gd name="T22" fmla="*/ 3 w 3"/>
                    <a:gd name="T23" fmla="*/ 5 h 6"/>
                    <a:gd name="T24" fmla="*/ 3 w 3"/>
                    <a:gd name="T25" fmla="*/ 5 h 6"/>
                    <a:gd name="T26" fmla="*/ 3 w 3"/>
                    <a:gd name="T27" fmla="*/ 5 h 6"/>
                    <a:gd name="T28" fmla="*/ 3 w 3"/>
                    <a:gd name="T29" fmla="*/ 5 h 6"/>
                    <a:gd name="T30" fmla="*/ 2 w 3"/>
                    <a:gd name="T31" fmla="*/ 5 h 6"/>
                    <a:gd name="T32" fmla="*/ 2 w 3"/>
                    <a:gd name="T33" fmla="*/ 6 h 6"/>
                    <a:gd name="T34" fmla="*/ 1 w 3"/>
                    <a:gd name="T35" fmla="*/ 6 h 6"/>
                    <a:gd name="T36" fmla="*/ 1 w 3"/>
                    <a:gd name="T37" fmla="*/ 2 h 6"/>
                    <a:gd name="T38" fmla="*/ 2 w 3"/>
                    <a:gd name="T39" fmla="*/ 2 h 6"/>
                    <a:gd name="T40" fmla="*/ 2 w 3"/>
                    <a:gd name="T41" fmla="*/ 2 h 6"/>
                    <a:gd name="T42" fmla="*/ 3 w 3"/>
                    <a:gd name="T43" fmla="*/ 2 h 6"/>
                    <a:gd name="T44" fmla="*/ 3 w 3"/>
                    <a:gd name="T45" fmla="*/ 5 h 6"/>
                    <a:gd name="T46" fmla="*/ 3 w 3"/>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5"/>
                      </a:moveTo>
                      <a:lnTo>
                        <a:pt x="3" y="2"/>
                      </a:lnTo>
                      <a:lnTo>
                        <a:pt x="3" y="2"/>
                      </a:lnTo>
                      <a:lnTo>
                        <a:pt x="3" y="2"/>
                      </a:lnTo>
                      <a:lnTo>
                        <a:pt x="2" y="2"/>
                      </a:lnTo>
                      <a:lnTo>
                        <a:pt x="2" y="0"/>
                      </a:lnTo>
                      <a:lnTo>
                        <a:pt x="0" y="0"/>
                      </a:lnTo>
                      <a:lnTo>
                        <a:pt x="0" y="6"/>
                      </a:lnTo>
                      <a:lnTo>
                        <a:pt x="2" y="6"/>
                      </a:lnTo>
                      <a:lnTo>
                        <a:pt x="2" y="6"/>
                      </a:lnTo>
                      <a:lnTo>
                        <a:pt x="3" y="6"/>
                      </a:lnTo>
                      <a:lnTo>
                        <a:pt x="3" y="5"/>
                      </a:lnTo>
                      <a:lnTo>
                        <a:pt x="3" y="5"/>
                      </a:lnTo>
                      <a:lnTo>
                        <a:pt x="3" y="5"/>
                      </a:lnTo>
                      <a:close/>
                      <a:moveTo>
                        <a:pt x="3" y="5"/>
                      </a:moveTo>
                      <a:lnTo>
                        <a:pt x="2" y="5"/>
                      </a:lnTo>
                      <a:lnTo>
                        <a:pt x="2" y="6"/>
                      </a:lnTo>
                      <a:lnTo>
                        <a:pt x="1" y="6"/>
                      </a:lnTo>
                      <a:lnTo>
                        <a:pt x="1" y="2"/>
                      </a:lnTo>
                      <a:lnTo>
                        <a:pt x="2" y="2"/>
                      </a:lnTo>
                      <a:lnTo>
                        <a:pt x="2"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3" name="Freeform 519"/>
                <p:cNvSpPr>
                  <a:spLocks/>
                </p:cNvSpPr>
                <p:nvPr/>
              </p:nvSpPr>
              <p:spPr bwMode="auto">
                <a:xfrm>
                  <a:off x="2553616" y="4805217"/>
                  <a:ext cx="22419" cy="7473"/>
                </a:xfrm>
                <a:custGeom>
                  <a:avLst/>
                  <a:gdLst>
                    <a:gd name="T0" fmla="*/ 3 w 3"/>
                    <a:gd name="T1" fmla="*/ 1 h 1"/>
                    <a:gd name="T2" fmla="*/ 3 w 3"/>
                    <a:gd name="T3" fmla="*/ 0 h 1"/>
                    <a:gd name="T4" fmla="*/ 0 w 3"/>
                    <a:gd name="T5" fmla="*/ 0 h 1"/>
                    <a:gd name="T6" fmla="*/ 0 w 3"/>
                    <a:gd name="T7" fmla="*/ 1 h 1"/>
                    <a:gd name="T8" fmla="*/ 3 w 3"/>
                    <a:gd name="T9" fmla="*/ 1 h 1"/>
                    <a:gd name="T10" fmla="*/ 3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3" y="1"/>
                      </a:moveTo>
                      <a:lnTo>
                        <a:pt x="3" y="0"/>
                      </a:lnTo>
                      <a:lnTo>
                        <a:pt x="0" y="0"/>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4" name="Freeform 520"/>
                <p:cNvSpPr>
                  <a:spLocks noEditPoints="1"/>
                </p:cNvSpPr>
                <p:nvPr/>
              </p:nvSpPr>
              <p:spPr bwMode="auto">
                <a:xfrm>
                  <a:off x="2583508" y="4775325"/>
                  <a:ext cx="29892" cy="44838"/>
                </a:xfrm>
                <a:custGeom>
                  <a:avLst/>
                  <a:gdLst>
                    <a:gd name="T0" fmla="*/ 4 w 4"/>
                    <a:gd name="T1" fmla="*/ 6 h 6"/>
                    <a:gd name="T2" fmla="*/ 4 w 4"/>
                    <a:gd name="T3" fmla="*/ 2 h 6"/>
                    <a:gd name="T4" fmla="*/ 4 w 4"/>
                    <a:gd name="T5" fmla="*/ 2 h 6"/>
                    <a:gd name="T6" fmla="*/ 4 w 4"/>
                    <a:gd name="T7" fmla="*/ 0 h 6"/>
                    <a:gd name="T8" fmla="*/ 1 w 4"/>
                    <a:gd name="T9" fmla="*/ 0 h 6"/>
                    <a:gd name="T10" fmla="*/ 1 w 4"/>
                    <a:gd name="T11" fmla="*/ 2 h 6"/>
                    <a:gd name="T12" fmla="*/ 0 w 4"/>
                    <a:gd name="T13" fmla="*/ 2 h 6"/>
                    <a:gd name="T14" fmla="*/ 0 w 4"/>
                    <a:gd name="T15" fmla="*/ 6 h 6"/>
                    <a:gd name="T16" fmla="*/ 1 w 4"/>
                    <a:gd name="T17" fmla="*/ 6 h 6"/>
                    <a:gd name="T18" fmla="*/ 1 w 4"/>
                    <a:gd name="T19" fmla="*/ 6 h 6"/>
                    <a:gd name="T20" fmla="*/ 4 w 4"/>
                    <a:gd name="T21" fmla="*/ 6 h 6"/>
                    <a:gd name="T22" fmla="*/ 4 w 4"/>
                    <a:gd name="T23" fmla="*/ 6 h 6"/>
                    <a:gd name="T24" fmla="*/ 4 w 4"/>
                    <a:gd name="T25" fmla="*/ 6 h 6"/>
                    <a:gd name="T26" fmla="*/ 4 w 4"/>
                    <a:gd name="T27" fmla="*/ 6 h 6"/>
                    <a:gd name="T28" fmla="*/ 3 w 4"/>
                    <a:gd name="T29" fmla="*/ 6 h 6"/>
                    <a:gd name="T30" fmla="*/ 1 w 4"/>
                    <a:gd name="T31" fmla="*/ 6 h 6"/>
                    <a:gd name="T32" fmla="*/ 1 w 4"/>
                    <a:gd name="T33" fmla="*/ 2 h 6"/>
                    <a:gd name="T34" fmla="*/ 3 w 4"/>
                    <a:gd name="T35" fmla="*/ 2 h 6"/>
                    <a:gd name="T36" fmla="*/ 3 w 4"/>
                    <a:gd name="T37" fmla="*/ 6 h 6"/>
                    <a:gd name="T38" fmla="*/ 3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2"/>
                      </a:lnTo>
                      <a:lnTo>
                        <a:pt x="4" y="2"/>
                      </a:lnTo>
                      <a:lnTo>
                        <a:pt x="4" y="0"/>
                      </a:lnTo>
                      <a:lnTo>
                        <a:pt x="1" y="0"/>
                      </a:lnTo>
                      <a:lnTo>
                        <a:pt x="1" y="2"/>
                      </a:lnTo>
                      <a:lnTo>
                        <a:pt x="0" y="2"/>
                      </a:lnTo>
                      <a:lnTo>
                        <a:pt x="0" y="6"/>
                      </a:lnTo>
                      <a:lnTo>
                        <a:pt x="1" y="6"/>
                      </a:lnTo>
                      <a:lnTo>
                        <a:pt x="1" y="6"/>
                      </a:lnTo>
                      <a:lnTo>
                        <a:pt x="4" y="6"/>
                      </a:lnTo>
                      <a:lnTo>
                        <a:pt x="4" y="6"/>
                      </a:lnTo>
                      <a:lnTo>
                        <a:pt x="4" y="6"/>
                      </a:lnTo>
                      <a:lnTo>
                        <a:pt x="4" y="6"/>
                      </a:lnTo>
                      <a:close/>
                      <a:moveTo>
                        <a:pt x="3" y="6"/>
                      </a:moveTo>
                      <a:lnTo>
                        <a:pt x="1" y="6"/>
                      </a:lnTo>
                      <a:lnTo>
                        <a:pt x="1"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5" name="Freeform 521"/>
                <p:cNvSpPr>
                  <a:spLocks/>
                </p:cNvSpPr>
                <p:nvPr/>
              </p:nvSpPr>
              <p:spPr bwMode="auto">
                <a:xfrm>
                  <a:off x="2620873" y="482016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6" name="Freeform 522"/>
                <p:cNvSpPr>
                  <a:spLocks noEditPoints="1"/>
                </p:cNvSpPr>
                <p:nvPr/>
              </p:nvSpPr>
              <p:spPr bwMode="auto">
                <a:xfrm>
                  <a:off x="2643292" y="4775325"/>
                  <a:ext cx="22419" cy="44838"/>
                </a:xfrm>
                <a:custGeom>
                  <a:avLst/>
                  <a:gdLst>
                    <a:gd name="T0" fmla="*/ 3 w 3"/>
                    <a:gd name="T1" fmla="*/ 6 h 6"/>
                    <a:gd name="T2" fmla="*/ 3 w 3"/>
                    <a:gd name="T3" fmla="*/ 2 h 6"/>
                    <a:gd name="T4" fmla="*/ 3 w 3"/>
                    <a:gd name="T5" fmla="*/ 2 h 6"/>
                    <a:gd name="T6" fmla="*/ 3 w 3"/>
                    <a:gd name="T7" fmla="*/ 0 h 6"/>
                    <a:gd name="T8" fmla="*/ 0 w 3"/>
                    <a:gd name="T9" fmla="*/ 0 h 6"/>
                    <a:gd name="T10" fmla="*/ 0 w 3"/>
                    <a:gd name="T11" fmla="*/ 2 h 6"/>
                    <a:gd name="T12" fmla="*/ 0 w 3"/>
                    <a:gd name="T13" fmla="*/ 2 h 6"/>
                    <a:gd name="T14" fmla="*/ 0 w 3"/>
                    <a:gd name="T15" fmla="*/ 6 h 6"/>
                    <a:gd name="T16" fmla="*/ 0 w 3"/>
                    <a:gd name="T17" fmla="*/ 6 h 6"/>
                    <a:gd name="T18" fmla="*/ 0 w 3"/>
                    <a:gd name="T19" fmla="*/ 6 h 6"/>
                    <a:gd name="T20" fmla="*/ 3 w 3"/>
                    <a:gd name="T21" fmla="*/ 6 h 6"/>
                    <a:gd name="T22" fmla="*/ 3 w 3"/>
                    <a:gd name="T23" fmla="*/ 6 h 6"/>
                    <a:gd name="T24" fmla="*/ 3 w 3"/>
                    <a:gd name="T25" fmla="*/ 6 h 6"/>
                    <a:gd name="T26" fmla="*/ 3 w 3"/>
                    <a:gd name="T27" fmla="*/ 6 h 6"/>
                    <a:gd name="T28" fmla="*/ 3 w 3"/>
                    <a:gd name="T29" fmla="*/ 6 h 6"/>
                    <a:gd name="T30" fmla="*/ 0 w 3"/>
                    <a:gd name="T31" fmla="*/ 6 h 6"/>
                    <a:gd name="T32" fmla="*/ 0 w 3"/>
                    <a:gd name="T33" fmla="*/ 2 h 6"/>
                    <a:gd name="T34" fmla="*/ 3 w 3"/>
                    <a:gd name="T35" fmla="*/ 2 h 6"/>
                    <a:gd name="T36" fmla="*/ 3 w 3"/>
                    <a:gd name="T37" fmla="*/ 6 h 6"/>
                    <a:gd name="T38" fmla="*/ 3 w 3"/>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6"/>
                      </a:moveTo>
                      <a:lnTo>
                        <a:pt x="3" y="2"/>
                      </a:lnTo>
                      <a:lnTo>
                        <a:pt x="3" y="2"/>
                      </a:lnTo>
                      <a:lnTo>
                        <a:pt x="3" y="0"/>
                      </a:lnTo>
                      <a:lnTo>
                        <a:pt x="0" y="0"/>
                      </a:lnTo>
                      <a:lnTo>
                        <a:pt x="0" y="2"/>
                      </a:lnTo>
                      <a:lnTo>
                        <a:pt x="0" y="2"/>
                      </a:lnTo>
                      <a:lnTo>
                        <a:pt x="0" y="6"/>
                      </a:lnTo>
                      <a:lnTo>
                        <a:pt x="0" y="6"/>
                      </a:lnTo>
                      <a:lnTo>
                        <a:pt x="0" y="6"/>
                      </a:lnTo>
                      <a:lnTo>
                        <a:pt x="3" y="6"/>
                      </a:lnTo>
                      <a:lnTo>
                        <a:pt x="3" y="6"/>
                      </a:lnTo>
                      <a:lnTo>
                        <a:pt x="3" y="6"/>
                      </a:lnTo>
                      <a:lnTo>
                        <a:pt x="3" y="6"/>
                      </a:lnTo>
                      <a:close/>
                      <a:moveTo>
                        <a:pt x="3" y="6"/>
                      </a:moveTo>
                      <a:lnTo>
                        <a:pt x="0" y="6"/>
                      </a:lnTo>
                      <a:lnTo>
                        <a:pt x="0" y="2"/>
                      </a:lnTo>
                      <a:lnTo>
                        <a:pt x="3" y="2"/>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7" name="Freeform 523"/>
                <p:cNvSpPr>
                  <a:spLocks/>
                </p:cNvSpPr>
                <p:nvPr/>
              </p:nvSpPr>
              <p:spPr bwMode="auto">
                <a:xfrm>
                  <a:off x="2680657" y="4775325"/>
                  <a:ext cx="14946" cy="44838"/>
                </a:xfrm>
                <a:custGeom>
                  <a:avLst/>
                  <a:gdLst>
                    <a:gd name="T0" fmla="*/ 2 w 2"/>
                    <a:gd name="T1" fmla="*/ 6 h 6"/>
                    <a:gd name="T2" fmla="*/ 2 w 2"/>
                    <a:gd name="T3" fmla="*/ 0 h 6"/>
                    <a:gd name="T4" fmla="*/ 2 w 2"/>
                    <a:gd name="T5" fmla="*/ 0 h 6"/>
                    <a:gd name="T6" fmla="*/ 2 w 2"/>
                    <a:gd name="T7" fmla="*/ 2 h 6"/>
                    <a:gd name="T8" fmla="*/ 1 w 2"/>
                    <a:gd name="T9" fmla="*/ 2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2"/>
                      </a:lnTo>
                      <a:lnTo>
                        <a:pt x="1" y="2"/>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8" name="Freeform 524"/>
                <p:cNvSpPr>
                  <a:spLocks noEditPoints="1"/>
                </p:cNvSpPr>
                <p:nvPr/>
              </p:nvSpPr>
              <p:spPr bwMode="auto">
                <a:xfrm>
                  <a:off x="2703076" y="4775325"/>
                  <a:ext cx="37365" cy="44838"/>
                </a:xfrm>
                <a:custGeom>
                  <a:avLst/>
                  <a:gdLst>
                    <a:gd name="T0" fmla="*/ 5 w 5"/>
                    <a:gd name="T1" fmla="*/ 5 h 6"/>
                    <a:gd name="T2" fmla="*/ 5 w 5"/>
                    <a:gd name="T3" fmla="*/ 4 h 6"/>
                    <a:gd name="T4" fmla="*/ 4 w 5"/>
                    <a:gd name="T5" fmla="*/ 4 h 6"/>
                    <a:gd name="T6" fmla="*/ 4 w 5"/>
                    <a:gd name="T7" fmla="*/ 0 h 6"/>
                    <a:gd name="T8" fmla="*/ 4 w 5"/>
                    <a:gd name="T9" fmla="*/ 0 h 6"/>
                    <a:gd name="T10" fmla="*/ 4 w 5"/>
                    <a:gd name="T11" fmla="*/ 2 h 6"/>
                    <a:gd name="T12" fmla="*/ 3 w 5"/>
                    <a:gd name="T13" fmla="*/ 2 h 6"/>
                    <a:gd name="T14" fmla="*/ 3 w 5"/>
                    <a:gd name="T15" fmla="*/ 2 h 6"/>
                    <a:gd name="T16" fmla="*/ 2 w 5"/>
                    <a:gd name="T17" fmla="*/ 2 h 6"/>
                    <a:gd name="T18" fmla="*/ 2 w 5"/>
                    <a:gd name="T19" fmla="*/ 3 h 6"/>
                    <a:gd name="T20" fmla="*/ 2 w 5"/>
                    <a:gd name="T21" fmla="*/ 3 h 6"/>
                    <a:gd name="T22" fmla="*/ 2 w 5"/>
                    <a:gd name="T23" fmla="*/ 4 h 6"/>
                    <a:gd name="T24" fmla="*/ 0 w 5"/>
                    <a:gd name="T25" fmla="*/ 4 h 6"/>
                    <a:gd name="T26" fmla="*/ 0 w 5"/>
                    <a:gd name="T27" fmla="*/ 5 h 6"/>
                    <a:gd name="T28" fmla="*/ 4 w 5"/>
                    <a:gd name="T29" fmla="*/ 5 h 6"/>
                    <a:gd name="T30" fmla="*/ 4 w 5"/>
                    <a:gd name="T31" fmla="*/ 6 h 6"/>
                    <a:gd name="T32" fmla="*/ 4 w 5"/>
                    <a:gd name="T33" fmla="*/ 6 h 6"/>
                    <a:gd name="T34" fmla="*/ 4 w 5"/>
                    <a:gd name="T35" fmla="*/ 5 h 6"/>
                    <a:gd name="T36" fmla="*/ 5 w 5"/>
                    <a:gd name="T37" fmla="*/ 5 h 6"/>
                    <a:gd name="T38" fmla="*/ 5 w 5"/>
                    <a:gd name="T39" fmla="*/ 5 h 6"/>
                    <a:gd name="T40" fmla="*/ 4 w 5"/>
                    <a:gd name="T41" fmla="*/ 4 h 6"/>
                    <a:gd name="T42" fmla="*/ 2 w 5"/>
                    <a:gd name="T43" fmla="*/ 4 h 6"/>
                    <a:gd name="T44" fmla="*/ 2 w 5"/>
                    <a:gd name="T45" fmla="*/ 3 h 6"/>
                    <a:gd name="T46" fmla="*/ 3 w 5"/>
                    <a:gd name="T47" fmla="*/ 3 h 6"/>
                    <a:gd name="T48" fmla="*/ 3 w 5"/>
                    <a:gd name="T49" fmla="*/ 2 h 6"/>
                    <a:gd name="T50" fmla="*/ 4 w 5"/>
                    <a:gd name="T51" fmla="*/ 2 h 6"/>
                    <a:gd name="T52" fmla="*/ 4 w 5"/>
                    <a:gd name="T53" fmla="*/ 4 h 6"/>
                    <a:gd name="T54" fmla="*/ 4 w 5"/>
                    <a:gd name="T5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5"/>
                      </a:moveTo>
                      <a:lnTo>
                        <a:pt x="5" y="4"/>
                      </a:lnTo>
                      <a:lnTo>
                        <a:pt x="4" y="4"/>
                      </a:lnTo>
                      <a:lnTo>
                        <a:pt x="4" y="0"/>
                      </a:lnTo>
                      <a:lnTo>
                        <a:pt x="4" y="0"/>
                      </a:lnTo>
                      <a:lnTo>
                        <a:pt x="4" y="2"/>
                      </a:lnTo>
                      <a:lnTo>
                        <a:pt x="3" y="2"/>
                      </a:lnTo>
                      <a:lnTo>
                        <a:pt x="3" y="2"/>
                      </a:lnTo>
                      <a:lnTo>
                        <a:pt x="2" y="2"/>
                      </a:lnTo>
                      <a:lnTo>
                        <a:pt x="2" y="3"/>
                      </a:lnTo>
                      <a:lnTo>
                        <a:pt x="2" y="3"/>
                      </a:lnTo>
                      <a:lnTo>
                        <a:pt x="2" y="4"/>
                      </a:lnTo>
                      <a:lnTo>
                        <a:pt x="0" y="4"/>
                      </a:lnTo>
                      <a:lnTo>
                        <a:pt x="0" y="5"/>
                      </a:lnTo>
                      <a:lnTo>
                        <a:pt x="4" y="5"/>
                      </a:lnTo>
                      <a:lnTo>
                        <a:pt x="4" y="6"/>
                      </a:lnTo>
                      <a:lnTo>
                        <a:pt x="4" y="6"/>
                      </a:lnTo>
                      <a:lnTo>
                        <a:pt x="4" y="5"/>
                      </a:lnTo>
                      <a:lnTo>
                        <a:pt x="5" y="5"/>
                      </a:lnTo>
                      <a:lnTo>
                        <a:pt x="5" y="5"/>
                      </a:lnTo>
                      <a:close/>
                      <a:moveTo>
                        <a:pt x="4" y="4"/>
                      </a:moveTo>
                      <a:lnTo>
                        <a:pt x="2" y="4"/>
                      </a:lnTo>
                      <a:lnTo>
                        <a:pt x="2" y="3"/>
                      </a:lnTo>
                      <a:lnTo>
                        <a:pt x="3" y="3"/>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69" name="Freeform 525"/>
                <p:cNvSpPr>
                  <a:spLocks noEditPoints="1"/>
                </p:cNvSpPr>
                <p:nvPr/>
              </p:nvSpPr>
              <p:spPr bwMode="auto">
                <a:xfrm>
                  <a:off x="2404156" y="4857528"/>
                  <a:ext cx="29892" cy="37365"/>
                </a:xfrm>
                <a:custGeom>
                  <a:avLst/>
                  <a:gdLst>
                    <a:gd name="T0" fmla="*/ 4 w 4"/>
                    <a:gd name="T1" fmla="*/ 4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4 h 5"/>
                    <a:gd name="T24" fmla="*/ 4 w 4"/>
                    <a:gd name="T25" fmla="*/ 4 h 5"/>
                    <a:gd name="T26" fmla="*/ 4 w 4"/>
                    <a:gd name="T27" fmla="*/ 4 h 5"/>
                    <a:gd name="T28" fmla="*/ 3 w 4"/>
                    <a:gd name="T29" fmla="*/ 4 h 5"/>
                    <a:gd name="T30" fmla="*/ 3 w 4"/>
                    <a:gd name="T31" fmla="*/ 4 h 5"/>
                    <a:gd name="T32" fmla="*/ 3 w 4"/>
                    <a:gd name="T33" fmla="*/ 5 h 5"/>
                    <a:gd name="T34" fmla="*/ 1 w 4"/>
                    <a:gd name="T35" fmla="*/ 5 h 5"/>
                    <a:gd name="T36" fmla="*/ 1 w 4"/>
                    <a:gd name="T37" fmla="*/ 1 h 5"/>
                    <a:gd name="T38" fmla="*/ 3 w 4"/>
                    <a:gd name="T39" fmla="*/ 1 h 5"/>
                    <a:gd name="T40" fmla="*/ 3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3" y="1"/>
                      </a:lnTo>
                      <a:lnTo>
                        <a:pt x="3" y="1"/>
                      </a:lnTo>
                      <a:lnTo>
                        <a:pt x="3" y="1"/>
                      </a:lnTo>
                      <a:lnTo>
                        <a:pt x="3" y="0"/>
                      </a:lnTo>
                      <a:lnTo>
                        <a:pt x="0" y="0"/>
                      </a:lnTo>
                      <a:lnTo>
                        <a:pt x="0" y="5"/>
                      </a:lnTo>
                      <a:lnTo>
                        <a:pt x="3" y="5"/>
                      </a:lnTo>
                      <a:lnTo>
                        <a:pt x="3" y="5"/>
                      </a:lnTo>
                      <a:lnTo>
                        <a:pt x="3" y="5"/>
                      </a:lnTo>
                      <a:lnTo>
                        <a:pt x="3" y="4"/>
                      </a:lnTo>
                      <a:lnTo>
                        <a:pt x="4" y="4"/>
                      </a:lnTo>
                      <a:lnTo>
                        <a:pt x="4" y="4"/>
                      </a:lnTo>
                      <a:close/>
                      <a:moveTo>
                        <a:pt x="3" y="4"/>
                      </a:moveTo>
                      <a:lnTo>
                        <a:pt x="3" y="4"/>
                      </a:lnTo>
                      <a:lnTo>
                        <a:pt x="3" y="5"/>
                      </a:lnTo>
                      <a:lnTo>
                        <a:pt x="1" y="5"/>
                      </a:lnTo>
                      <a:lnTo>
                        <a:pt x="1" y="1"/>
                      </a:lnTo>
                      <a:lnTo>
                        <a:pt x="3" y="1"/>
                      </a:lnTo>
                      <a:lnTo>
                        <a:pt x="3"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0" name="Freeform 526"/>
                <p:cNvSpPr>
                  <a:spLocks/>
                </p:cNvSpPr>
                <p:nvPr/>
              </p:nvSpPr>
              <p:spPr bwMode="auto">
                <a:xfrm>
                  <a:off x="2441521" y="4857528"/>
                  <a:ext cx="29892" cy="37365"/>
                </a:xfrm>
                <a:custGeom>
                  <a:avLst/>
                  <a:gdLst>
                    <a:gd name="T0" fmla="*/ 4 w 4"/>
                    <a:gd name="T1" fmla="*/ 5 h 5"/>
                    <a:gd name="T2" fmla="*/ 4 w 4"/>
                    <a:gd name="T3" fmla="*/ 4 h 5"/>
                    <a:gd name="T4" fmla="*/ 4 w 4"/>
                    <a:gd name="T5" fmla="*/ 4 h 5"/>
                    <a:gd name="T6" fmla="*/ 4 w 4"/>
                    <a:gd name="T7" fmla="*/ 5 h 5"/>
                    <a:gd name="T8" fmla="*/ 1 w 4"/>
                    <a:gd name="T9" fmla="*/ 5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4"/>
                      </a:lnTo>
                      <a:lnTo>
                        <a:pt x="4" y="4"/>
                      </a:lnTo>
                      <a:lnTo>
                        <a:pt x="4" y="5"/>
                      </a:lnTo>
                      <a:lnTo>
                        <a:pt x="1" y="5"/>
                      </a:lnTo>
                      <a:lnTo>
                        <a:pt x="1" y="1"/>
                      </a:lnTo>
                      <a:lnTo>
                        <a:pt x="4" y="1"/>
                      </a:lnTo>
                      <a:lnTo>
                        <a:pt x="4" y="1"/>
                      </a:lnTo>
                      <a:lnTo>
                        <a:pt x="4" y="1"/>
                      </a:ln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1" name="Freeform 527"/>
                <p:cNvSpPr>
                  <a:spLocks noEditPoints="1"/>
                </p:cNvSpPr>
                <p:nvPr/>
              </p:nvSpPr>
              <p:spPr bwMode="auto">
                <a:xfrm>
                  <a:off x="2486359" y="4857528"/>
                  <a:ext cx="22419" cy="37365"/>
                </a:xfrm>
                <a:custGeom>
                  <a:avLst/>
                  <a:gdLst>
                    <a:gd name="T0" fmla="*/ 3 w 3"/>
                    <a:gd name="T1" fmla="*/ 5 h 5"/>
                    <a:gd name="T2" fmla="*/ 3 w 3"/>
                    <a:gd name="T3" fmla="*/ 3 h 5"/>
                    <a:gd name="T4" fmla="*/ 3 w 3"/>
                    <a:gd name="T5" fmla="*/ 3 h 5"/>
                    <a:gd name="T6" fmla="*/ 3 w 3"/>
                    <a:gd name="T7" fmla="*/ 1 h 5"/>
                    <a:gd name="T8" fmla="*/ 2 w 3"/>
                    <a:gd name="T9" fmla="*/ 1 h 5"/>
                    <a:gd name="T10" fmla="*/ 2 w 3"/>
                    <a:gd name="T11" fmla="*/ 0 h 5"/>
                    <a:gd name="T12" fmla="*/ 1 w 3"/>
                    <a:gd name="T13" fmla="*/ 0 h 5"/>
                    <a:gd name="T14" fmla="*/ 1 w 3"/>
                    <a:gd name="T15" fmla="*/ 1 h 5"/>
                    <a:gd name="T16" fmla="*/ 1 w 3"/>
                    <a:gd name="T17" fmla="*/ 1 h 5"/>
                    <a:gd name="T18" fmla="*/ 1 w 3"/>
                    <a:gd name="T19" fmla="*/ 3 h 5"/>
                    <a:gd name="T20" fmla="*/ 0 w 3"/>
                    <a:gd name="T21" fmla="*/ 3 h 5"/>
                    <a:gd name="T22" fmla="*/ 0 w 3"/>
                    <a:gd name="T23" fmla="*/ 5 h 5"/>
                    <a:gd name="T24" fmla="*/ 1 w 3"/>
                    <a:gd name="T25" fmla="*/ 5 h 5"/>
                    <a:gd name="T26" fmla="*/ 1 w 3"/>
                    <a:gd name="T27" fmla="*/ 4 h 5"/>
                    <a:gd name="T28" fmla="*/ 3 w 3"/>
                    <a:gd name="T29" fmla="*/ 4 h 5"/>
                    <a:gd name="T30" fmla="*/ 3 w 3"/>
                    <a:gd name="T31" fmla="*/ 5 h 5"/>
                    <a:gd name="T32" fmla="*/ 3 w 3"/>
                    <a:gd name="T33" fmla="*/ 5 h 5"/>
                    <a:gd name="T34" fmla="*/ 3 w 3"/>
                    <a:gd name="T35" fmla="*/ 5 h 5"/>
                    <a:gd name="T36" fmla="*/ 2 w 3"/>
                    <a:gd name="T37" fmla="*/ 3 h 5"/>
                    <a:gd name="T38" fmla="*/ 1 w 3"/>
                    <a:gd name="T39" fmla="*/ 3 h 5"/>
                    <a:gd name="T40" fmla="*/ 1 w 3"/>
                    <a:gd name="T41" fmla="*/ 1 h 5"/>
                    <a:gd name="T42" fmla="*/ 2 w 3"/>
                    <a:gd name="T43" fmla="*/ 1 h 5"/>
                    <a:gd name="T44" fmla="*/ 2 w 3"/>
                    <a:gd name="T45" fmla="*/ 3 h 5"/>
                    <a:gd name="T46" fmla="*/ 2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3"/>
                      </a:lnTo>
                      <a:lnTo>
                        <a:pt x="3" y="3"/>
                      </a:lnTo>
                      <a:lnTo>
                        <a:pt x="3" y="1"/>
                      </a:lnTo>
                      <a:lnTo>
                        <a:pt x="2" y="1"/>
                      </a:lnTo>
                      <a:lnTo>
                        <a:pt x="2" y="0"/>
                      </a:lnTo>
                      <a:lnTo>
                        <a:pt x="1" y="0"/>
                      </a:lnTo>
                      <a:lnTo>
                        <a:pt x="1" y="1"/>
                      </a:lnTo>
                      <a:lnTo>
                        <a:pt x="1" y="1"/>
                      </a:lnTo>
                      <a:lnTo>
                        <a:pt x="1" y="3"/>
                      </a:lnTo>
                      <a:lnTo>
                        <a:pt x="0" y="3"/>
                      </a:lnTo>
                      <a:lnTo>
                        <a:pt x="0" y="5"/>
                      </a:lnTo>
                      <a:lnTo>
                        <a:pt x="1" y="5"/>
                      </a:lnTo>
                      <a:lnTo>
                        <a:pt x="1" y="4"/>
                      </a:lnTo>
                      <a:lnTo>
                        <a:pt x="3" y="4"/>
                      </a:lnTo>
                      <a:lnTo>
                        <a:pt x="3" y="5"/>
                      </a:lnTo>
                      <a:lnTo>
                        <a:pt x="3" y="5"/>
                      </a:lnTo>
                      <a:lnTo>
                        <a:pt x="3"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2" name="Freeform 528"/>
                <p:cNvSpPr>
                  <a:spLocks/>
                </p:cNvSpPr>
                <p:nvPr/>
              </p:nvSpPr>
              <p:spPr bwMode="auto">
                <a:xfrm>
                  <a:off x="2553616" y="4857528"/>
                  <a:ext cx="14946" cy="37365"/>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3" name="Freeform 529"/>
                <p:cNvSpPr>
                  <a:spLocks/>
                </p:cNvSpPr>
                <p:nvPr/>
              </p:nvSpPr>
              <p:spPr bwMode="auto">
                <a:xfrm>
                  <a:off x="2583508" y="4857528"/>
                  <a:ext cx="22419" cy="37365"/>
                </a:xfrm>
                <a:custGeom>
                  <a:avLst/>
                  <a:gdLst>
                    <a:gd name="T0" fmla="*/ 3 w 3"/>
                    <a:gd name="T1" fmla="*/ 5 h 5"/>
                    <a:gd name="T2" fmla="*/ 3 w 3"/>
                    <a:gd name="T3" fmla="*/ 2 h 5"/>
                    <a:gd name="T4" fmla="*/ 3 w 3"/>
                    <a:gd name="T5" fmla="*/ 2 h 5"/>
                    <a:gd name="T6" fmla="*/ 3 w 3"/>
                    <a:gd name="T7" fmla="*/ 1 h 5"/>
                    <a:gd name="T8" fmla="*/ 0 w 3"/>
                    <a:gd name="T9" fmla="*/ 1 h 5"/>
                    <a:gd name="T10" fmla="*/ 0 w 3"/>
                    <a:gd name="T11" fmla="*/ 1 h 5"/>
                    <a:gd name="T12" fmla="*/ 3 w 3"/>
                    <a:gd name="T13" fmla="*/ 1 h 5"/>
                    <a:gd name="T14" fmla="*/ 3 w 3"/>
                    <a:gd name="T15" fmla="*/ 0 h 5"/>
                    <a:gd name="T16" fmla="*/ 0 w 3"/>
                    <a:gd name="T17" fmla="*/ 0 h 5"/>
                    <a:gd name="T18" fmla="*/ 0 w 3"/>
                    <a:gd name="T19" fmla="*/ 2 h 5"/>
                    <a:gd name="T20" fmla="*/ 3 w 3"/>
                    <a:gd name="T21" fmla="*/ 2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2"/>
                      </a:lnTo>
                      <a:lnTo>
                        <a:pt x="3" y="2"/>
                      </a:lnTo>
                      <a:lnTo>
                        <a:pt x="3" y="1"/>
                      </a:lnTo>
                      <a:lnTo>
                        <a:pt x="0" y="1"/>
                      </a:lnTo>
                      <a:lnTo>
                        <a:pt x="0" y="1"/>
                      </a:lnTo>
                      <a:lnTo>
                        <a:pt x="3" y="1"/>
                      </a:lnTo>
                      <a:lnTo>
                        <a:pt x="3" y="0"/>
                      </a:lnTo>
                      <a:lnTo>
                        <a:pt x="0" y="0"/>
                      </a:lnTo>
                      <a:lnTo>
                        <a:pt x="0" y="2"/>
                      </a:lnTo>
                      <a:lnTo>
                        <a:pt x="3" y="2"/>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4" name="Freeform 530"/>
                <p:cNvSpPr>
                  <a:spLocks/>
                </p:cNvSpPr>
                <p:nvPr/>
              </p:nvSpPr>
              <p:spPr bwMode="auto">
                <a:xfrm>
                  <a:off x="2620873" y="489489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5" name="Freeform 531"/>
                <p:cNvSpPr>
                  <a:spLocks noEditPoints="1"/>
                </p:cNvSpPr>
                <p:nvPr/>
              </p:nvSpPr>
              <p:spPr bwMode="auto">
                <a:xfrm>
                  <a:off x="2635819"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6" name="Freeform 532"/>
                <p:cNvSpPr>
                  <a:spLocks noEditPoints="1"/>
                </p:cNvSpPr>
                <p:nvPr/>
              </p:nvSpPr>
              <p:spPr bwMode="auto">
                <a:xfrm>
                  <a:off x="2673184" y="4857528"/>
                  <a:ext cx="29892" cy="37365"/>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7" name="Freeform 533"/>
                <p:cNvSpPr>
                  <a:spLocks noEditPoints="1"/>
                </p:cNvSpPr>
                <p:nvPr/>
              </p:nvSpPr>
              <p:spPr bwMode="auto">
                <a:xfrm>
                  <a:off x="2718022" y="4857528"/>
                  <a:ext cx="22419" cy="37365"/>
                </a:xfrm>
                <a:custGeom>
                  <a:avLst/>
                  <a:gdLst>
                    <a:gd name="T0" fmla="*/ 3 w 3"/>
                    <a:gd name="T1" fmla="*/ 5 h 5"/>
                    <a:gd name="T2" fmla="*/ 3 w 3"/>
                    <a:gd name="T3" fmla="*/ 1 h 5"/>
                    <a:gd name="T4" fmla="*/ 2 w 3"/>
                    <a:gd name="T5" fmla="*/ 1 h 5"/>
                    <a:gd name="T6" fmla="*/ 2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2 w 3"/>
                    <a:gd name="T21" fmla="*/ 5 h 5"/>
                    <a:gd name="T22" fmla="*/ 2 w 3"/>
                    <a:gd name="T23" fmla="*/ 5 h 5"/>
                    <a:gd name="T24" fmla="*/ 3 w 3"/>
                    <a:gd name="T25" fmla="*/ 5 h 5"/>
                    <a:gd name="T26" fmla="*/ 3 w 3"/>
                    <a:gd name="T27" fmla="*/ 5 h 5"/>
                    <a:gd name="T28" fmla="*/ 2 w 3"/>
                    <a:gd name="T29" fmla="*/ 5 h 5"/>
                    <a:gd name="T30" fmla="*/ 0 w 3"/>
                    <a:gd name="T31" fmla="*/ 5 h 5"/>
                    <a:gd name="T32" fmla="*/ 0 w 3"/>
                    <a:gd name="T33" fmla="*/ 1 h 5"/>
                    <a:gd name="T34" fmla="*/ 2 w 3"/>
                    <a:gd name="T35" fmla="*/ 1 h 5"/>
                    <a:gd name="T36" fmla="*/ 2 w 3"/>
                    <a:gd name="T37" fmla="*/ 5 h 5"/>
                    <a:gd name="T38" fmla="*/ 2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2" y="1"/>
                      </a:lnTo>
                      <a:lnTo>
                        <a:pt x="2" y="0"/>
                      </a:lnTo>
                      <a:lnTo>
                        <a:pt x="0" y="0"/>
                      </a:lnTo>
                      <a:lnTo>
                        <a:pt x="0" y="1"/>
                      </a:lnTo>
                      <a:lnTo>
                        <a:pt x="0" y="1"/>
                      </a:lnTo>
                      <a:lnTo>
                        <a:pt x="0" y="5"/>
                      </a:lnTo>
                      <a:lnTo>
                        <a:pt x="0" y="5"/>
                      </a:lnTo>
                      <a:lnTo>
                        <a:pt x="0" y="5"/>
                      </a:lnTo>
                      <a:lnTo>
                        <a:pt x="2" y="5"/>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8" name="Freeform 534"/>
                <p:cNvSpPr>
                  <a:spLocks/>
                </p:cNvSpPr>
                <p:nvPr/>
              </p:nvSpPr>
              <p:spPr bwMode="auto">
                <a:xfrm>
                  <a:off x="390622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79" name="Freeform 535"/>
                <p:cNvSpPr>
                  <a:spLocks/>
                </p:cNvSpPr>
                <p:nvPr/>
              </p:nvSpPr>
              <p:spPr bwMode="auto">
                <a:xfrm>
                  <a:off x="3943594"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0" name="Freeform 536"/>
                <p:cNvSpPr>
                  <a:spLocks noEditPoints="1"/>
                </p:cNvSpPr>
                <p:nvPr/>
              </p:nvSpPr>
              <p:spPr bwMode="auto">
                <a:xfrm>
                  <a:off x="3988432" y="4812690"/>
                  <a:ext cx="29892" cy="37365"/>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1" name="Freeform 537"/>
                <p:cNvSpPr>
                  <a:spLocks noEditPoints="1"/>
                </p:cNvSpPr>
                <p:nvPr/>
              </p:nvSpPr>
              <p:spPr bwMode="auto">
                <a:xfrm>
                  <a:off x="4055689" y="4812690"/>
                  <a:ext cx="29892" cy="37365"/>
                </a:xfrm>
                <a:custGeom>
                  <a:avLst/>
                  <a:gdLst>
                    <a:gd name="T0" fmla="*/ 4 w 4"/>
                    <a:gd name="T1" fmla="*/ 3 h 5"/>
                    <a:gd name="T2" fmla="*/ 4 w 4"/>
                    <a:gd name="T3" fmla="*/ 2 h 5"/>
                    <a:gd name="T4" fmla="*/ 4 w 4"/>
                    <a:gd name="T5" fmla="*/ 2 h 5"/>
                    <a:gd name="T6" fmla="*/ 4 w 4"/>
                    <a:gd name="T7" fmla="*/ 0 h 5"/>
                    <a:gd name="T8" fmla="*/ 3 w 4"/>
                    <a:gd name="T9" fmla="*/ 0 h 5"/>
                    <a:gd name="T10" fmla="*/ 3 w 4"/>
                    <a:gd name="T11" fmla="*/ 0 h 5"/>
                    <a:gd name="T12" fmla="*/ 2 w 4"/>
                    <a:gd name="T13" fmla="*/ 0 h 5"/>
                    <a:gd name="T14" fmla="*/ 2 w 4"/>
                    <a:gd name="T15" fmla="*/ 1 h 5"/>
                    <a:gd name="T16" fmla="*/ 1 w 4"/>
                    <a:gd name="T17" fmla="*/ 1 h 5"/>
                    <a:gd name="T18" fmla="*/ 1 w 4"/>
                    <a:gd name="T19" fmla="*/ 2 h 5"/>
                    <a:gd name="T20" fmla="*/ 0 w 4"/>
                    <a:gd name="T21" fmla="*/ 2 h 5"/>
                    <a:gd name="T22" fmla="*/ 0 w 4"/>
                    <a:gd name="T23" fmla="*/ 2 h 5"/>
                    <a:gd name="T24" fmla="*/ 0 w 4"/>
                    <a:gd name="T25" fmla="*/ 2 h 5"/>
                    <a:gd name="T26" fmla="*/ 0 w 4"/>
                    <a:gd name="T27" fmla="*/ 3 h 5"/>
                    <a:gd name="T28" fmla="*/ 3 w 4"/>
                    <a:gd name="T29" fmla="*/ 3 h 5"/>
                    <a:gd name="T30" fmla="*/ 3 w 4"/>
                    <a:gd name="T31" fmla="*/ 5 h 5"/>
                    <a:gd name="T32" fmla="*/ 4 w 4"/>
                    <a:gd name="T33" fmla="*/ 5 h 5"/>
                    <a:gd name="T34" fmla="*/ 4 w 4"/>
                    <a:gd name="T35" fmla="*/ 3 h 5"/>
                    <a:gd name="T36" fmla="*/ 4 w 4"/>
                    <a:gd name="T37" fmla="*/ 3 h 5"/>
                    <a:gd name="T38" fmla="*/ 4 w 4"/>
                    <a:gd name="T39" fmla="*/ 3 h 5"/>
                    <a:gd name="T40" fmla="*/ 3 w 4"/>
                    <a:gd name="T41" fmla="*/ 2 h 5"/>
                    <a:gd name="T42" fmla="*/ 1 w 4"/>
                    <a:gd name="T43" fmla="*/ 2 h 5"/>
                    <a:gd name="T44" fmla="*/ 1 w 4"/>
                    <a:gd name="T45" fmla="*/ 2 h 5"/>
                    <a:gd name="T46" fmla="*/ 2 w 4"/>
                    <a:gd name="T47" fmla="*/ 2 h 5"/>
                    <a:gd name="T48" fmla="*/ 2 w 4"/>
                    <a:gd name="T49" fmla="*/ 1 h 5"/>
                    <a:gd name="T50" fmla="*/ 3 w 4"/>
                    <a:gd name="T51" fmla="*/ 1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2"/>
                      </a:lnTo>
                      <a:lnTo>
                        <a:pt x="4" y="2"/>
                      </a:lnTo>
                      <a:lnTo>
                        <a:pt x="4" y="0"/>
                      </a:lnTo>
                      <a:lnTo>
                        <a:pt x="3" y="0"/>
                      </a:lnTo>
                      <a:lnTo>
                        <a:pt x="3" y="0"/>
                      </a:lnTo>
                      <a:lnTo>
                        <a:pt x="2" y="0"/>
                      </a:lnTo>
                      <a:lnTo>
                        <a:pt x="2" y="1"/>
                      </a:lnTo>
                      <a:lnTo>
                        <a:pt x="1" y="1"/>
                      </a:lnTo>
                      <a:lnTo>
                        <a:pt x="1" y="2"/>
                      </a:lnTo>
                      <a:lnTo>
                        <a:pt x="0" y="2"/>
                      </a:lnTo>
                      <a:lnTo>
                        <a:pt x="0" y="2"/>
                      </a:lnTo>
                      <a:lnTo>
                        <a:pt x="0" y="2"/>
                      </a:lnTo>
                      <a:lnTo>
                        <a:pt x="0" y="3"/>
                      </a:lnTo>
                      <a:lnTo>
                        <a:pt x="3" y="3"/>
                      </a:lnTo>
                      <a:lnTo>
                        <a:pt x="3" y="5"/>
                      </a:lnTo>
                      <a:lnTo>
                        <a:pt x="4" y="5"/>
                      </a:lnTo>
                      <a:lnTo>
                        <a:pt x="4" y="3"/>
                      </a:lnTo>
                      <a:lnTo>
                        <a:pt x="4" y="3"/>
                      </a:lnTo>
                      <a:lnTo>
                        <a:pt x="4" y="3"/>
                      </a:lnTo>
                      <a:close/>
                      <a:moveTo>
                        <a:pt x="3" y="2"/>
                      </a:moveTo>
                      <a:lnTo>
                        <a:pt x="1" y="2"/>
                      </a:lnTo>
                      <a:lnTo>
                        <a:pt x="1"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2" name="Freeform 538"/>
                <p:cNvSpPr>
                  <a:spLocks/>
                </p:cNvSpPr>
                <p:nvPr/>
              </p:nvSpPr>
              <p:spPr bwMode="auto">
                <a:xfrm>
                  <a:off x="410052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3" name="Freeform 539"/>
                <p:cNvSpPr>
                  <a:spLocks noEditPoints="1"/>
                </p:cNvSpPr>
                <p:nvPr/>
              </p:nvSpPr>
              <p:spPr bwMode="auto">
                <a:xfrm>
                  <a:off x="411547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2 w 4"/>
                    <a:gd name="T25" fmla="*/ 3 h 5"/>
                    <a:gd name="T26" fmla="*/ 2 w 4"/>
                    <a:gd name="T27" fmla="*/ 4 h 5"/>
                    <a:gd name="T28" fmla="*/ 1 w 4"/>
                    <a:gd name="T29" fmla="*/ 4 h 5"/>
                    <a:gd name="T30" fmla="*/ 1 w 4"/>
                    <a:gd name="T31" fmla="*/ 5 h 5"/>
                    <a:gd name="T32" fmla="*/ 2 w 4"/>
                    <a:gd name="T33" fmla="*/ 5 h 5"/>
                    <a:gd name="T34" fmla="*/ 2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2" y="3"/>
                      </a:lnTo>
                      <a:lnTo>
                        <a:pt x="2" y="4"/>
                      </a:lnTo>
                      <a:lnTo>
                        <a:pt x="1" y="4"/>
                      </a:lnTo>
                      <a:lnTo>
                        <a:pt x="1" y="5"/>
                      </a:lnTo>
                      <a:lnTo>
                        <a:pt x="2" y="5"/>
                      </a:lnTo>
                      <a:lnTo>
                        <a:pt x="2"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4" name="Freeform 540"/>
                <p:cNvSpPr>
                  <a:spLocks/>
                </p:cNvSpPr>
                <p:nvPr/>
              </p:nvSpPr>
              <p:spPr bwMode="auto">
                <a:xfrm>
                  <a:off x="4152838" y="4812690"/>
                  <a:ext cx="29892" cy="37365"/>
                </a:xfrm>
                <a:custGeom>
                  <a:avLst/>
                  <a:gdLst>
                    <a:gd name="T0" fmla="*/ 4 w 4"/>
                    <a:gd name="T1" fmla="*/ 4 h 5"/>
                    <a:gd name="T2" fmla="*/ 4 w 4"/>
                    <a:gd name="T3" fmla="*/ 2 h 5"/>
                    <a:gd name="T4" fmla="*/ 4 w 4"/>
                    <a:gd name="T5" fmla="*/ 2 h 5"/>
                    <a:gd name="T6" fmla="*/ 4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4 w 4"/>
                    <a:gd name="T21" fmla="*/ 2 h 5"/>
                    <a:gd name="T22" fmla="*/ 4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4" y="2"/>
                      </a:lnTo>
                      <a:lnTo>
                        <a:pt x="4" y="1"/>
                      </a:lnTo>
                      <a:lnTo>
                        <a:pt x="1" y="1"/>
                      </a:lnTo>
                      <a:lnTo>
                        <a:pt x="1" y="0"/>
                      </a:lnTo>
                      <a:lnTo>
                        <a:pt x="4" y="0"/>
                      </a:lnTo>
                      <a:lnTo>
                        <a:pt x="4" y="0"/>
                      </a:lnTo>
                      <a:lnTo>
                        <a:pt x="0" y="0"/>
                      </a:lnTo>
                      <a:lnTo>
                        <a:pt x="0" y="2"/>
                      </a:lnTo>
                      <a:lnTo>
                        <a:pt x="4" y="2"/>
                      </a:lnTo>
                      <a:lnTo>
                        <a:pt x="4" y="4"/>
                      </a:lnTo>
                      <a:lnTo>
                        <a:pt x="1" y="4"/>
                      </a:lnTo>
                      <a:lnTo>
                        <a:pt x="1" y="3"/>
                      </a:lnTo>
                      <a:lnTo>
                        <a:pt x="0" y="3"/>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5" name="Freeform 541"/>
                <p:cNvSpPr>
                  <a:spLocks noEditPoints="1"/>
                </p:cNvSpPr>
                <p:nvPr/>
              </p:nvSpPr>
              <p:spPr bwMode="auto">
                <a:xfrm>
                  <a:off x="4190203" y="4812690"/>
                  <a:ext cx="29892" cy="37365"/>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6" name="Freeform 542"/>
                <p:cNvSpPr>
                  <a:spLocks noEditPoints="1"/>
                </p:cNvSpPr>
                <p:nvPr/>
              </p:nvSpPr>
              <p:spPr bwMode="auto">
                <a:xfrm>
                  <a:off x="390622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7" name="Freeform 543"/>
                <p:cNvSpPr>
                  <a:spLocks/>
                </p:cNvSpPr>
                <p:nvPr/>
              </p:nvSpPr>
              <p:spPr bwMode="auto">
                <a:xfrm>
                  <a:off x="3943594" y="4879947"/>
                  <a:ext cx="29892" cy="44838"/>
                </a:xfrm>
                <a:custGeom>
                  <a:avLst/>
                  <a:gdLst>
                    <a:gd name="T0" fmla="*/ 4 w 4"/>
                    <a:gd name="T1" fmla="*/ 5 h 6"/>
                    <a:gd name="T2" fmla="*/ 4 w 4"/>
                    <a:gd name="T3" fmla="*/ 4 h 6"/>
                    <a:gd name="T4" fmla="*/ 4 w 4"/>
                    <a:gd name="T5" fmla="*/ 4 h 6"/>
                    <a:gd name="T6" fmla="*/ 4 w 4"/>
                    <a:gd name="T7" fmla="*/ 5 h 6"/>
                    <a:gd name="T8" fmla="*/ 1 w 4"/>
                    <a:gd name="T9" fmla="*/ 5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4" y="4"/>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8" name="Freeform 544"/>
                <p:cNvSpPr>
                  <a:spLocks noEditPoints="1"/>
                </p:cNvSpPr>
                <p:nvPr/>
              </p:nvSpPr>
              <p:spPr bwMode="auto">
                <a:xfrm>
                  <a:off x="398843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89" name="Freeform 545"/>
                <p:cNvSpPr>
                  <a:spLocks/>
                </p:cNvSpPr>
                <p:nvPr/>
              </p:nvSpPr>
              <p:spPr bwMode="auto">
                <a:xfrm>
                  <a:off x="4055689" y="4879947"/>
                  <a:ext cx="14946" cy="44838"/>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0" name="Freeform 546"/>
                <p:cNvSpPr>
                  <a:spLocks noEditPoints="1"/>
                </p:cNvSpPr>
                <p:nvPr/>
              </p:nvSpPr>
              <p:spPr bwMode="auto">
                <a:xfrm>
                  <a:off x="4078108"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1" name="Freeform 547"/>
                <p:cNvSpPr>
                  <a:spLocks/>
                </p:cNvSpPr>
                <p:nvPr/>
              </p:nvSpPr>
              <p:spPr bwMode="auto">
                <a:xfrm>
                  <a:off x="412294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2" name="Freeform 548"/>
                <p:cNvSpPr>
                  <a:spLocks noEditPoints="1"/>
                </p:cNvSpPr>
                <p:nvPr/>
              </p:nvSpPr>
              <p:spPr bwMode="auto">
                <a:xfrm>
                  <a:off x="4137892"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3" name="Freeform 549"/>
                <p:cNvSpPr>
                  <a:spLocks noEditPoints="1"/>
                </p:cNvSpPr>
                <p:nvPr/>
              </p:nvSpPr>
              <p:spPr bwMode="auto">
                <a:xfrm>
                  <a:off x="4175257"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4" name="Freeform 550"/>
                <p:cNvSpPr>
                  <a:spLocks noEditPoints="1"/>
                </p:cNvSpPr>
                <p:nvPr/>
              </p:nvSpPr>
              <p:spPr bwMode="auto">
                <a:xfrm>
                  <a:off x="4220095" y="4879947"/>
                  <a:ext cx="22419" cy="44838"/>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5" name="Freeform 551"/>
                <p:cNvSpPr>
                  <a:spLocks/>
                </p:cNvSpPr>
                <p:nvPr/>
              </p:nvSpPr>
              <p:spPr bwMode="auto">
                <a:xfrm>
                  <a:off x="4504069"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6" name="Freeform 552"/>
                <p:cNvSpPr>
                  <a:spLocks/>
                </p:cNvSpPr>
                <p:nvPr/>
              </p:nvSpPr>
              <p:spPr bwMode="auto">
                <a:xfrm>
                  <a:off x="4548907" y="4812690"/>
                  <a:ext cx="29892" cy="37365"/>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7" name="Freeform 553"/>
                <p:cNvSpPr>
                  <a:spLocks noEditPoints="1"/>
                </p:cNvSpPr>
                <p:nvPr/>
              </p:nvSpPr>
              <p:spPr bwMode="auto">
                <a:xfrm>
                  <a:off x="4586272" y="4812690"/>
                  <a:ext cx="29892" cy="37365"/>
                </a:xfrm>
                <a:custGeom>
                  <a:avLst/>
                  <a:gdLst>
                    <a:gd name="T0" fmla="*/ 4 w 4"/>
                    <a:gd name="T1" fmla="*/ 3 h 5"/>
                    <a:gd name="T2" fmla="*/ 4 w 4"/>
                    <a:gd name="T3" fmla="*/ 1 h 5"/>
                    <a:gd name="T4" fmla="*/ 3 w 4"/>
                    <a:gd name="T5" fmla="*/ 1 h 5"/>
                    <a:gd name="T6" fmla="*/ 3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3 w 4"/>
                    <a:gd name="T21" fmla="*/ 4 h 5"/>
                    <a:gd name="T22" fmla="*/ 3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3" y="0"/>
                      </a:lnTo>
                      <a:lnTo>
                        <a:pt x="3" y="0"/>
                      </a:lnTo>
                      <a:lnTo>
                        <a:pt x="0" y="0"/>
                      </a:lnTo>
                      <a:lnTo>
                        <a:pt x="0" y="5"/>
                      </a:lnTo>
                      <a:lnTo>
                        <a:pt x="3" y="5"/>
                      </a:lnTo>
                      <a:lnTo>
                        <a:pt x="3" y="4"/>
                      </a:lnTo>
                      <a:lnTo>
                        <a:pt x="3" y="4"/>
                      </a:lnTo>
                      <a:lnTo>
                        <a:pt x="3"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8" name="Freeform 554"/>
                <p:cNvSpPr>
                  <a:spLocks noEditPoints="1"/>
                </p:cNvSpPr>
                <p:nvPr/>
              </p:nvSpPr>
              <p:spPr bwMode="auto">
                <a:xfrm>
                  <a:off x="4653529"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2 w 5"/>
                    <a:gd name="T13" fmla="*/ 0 h 5"/>
                    <a:gd name="T14" fmla="*/ 2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2 w 5"/>
                    <a:gd name="T47" fmla="*/ 2 h 5"/>
                    <a:gd name="T48" fmla="*/ 2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2" y="0"/>
                      </a:lnTo>
                      <a:lnTo>
                        <a:pt x="2"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2" y="2"/>
                      </a:lnTo>
                      <a:lnTo>
                        <a:pt x="2"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399" name="Freeform 555"/>
                <p:cNvSpPr>
                  <a:spLocks/>
                </p:cNvSpPr>
                <p:nvPr/>
              </p:nvSpPr>
              <p:spPr bwMode="auto">
                <a:xfrm>
                  <a:off x="4698367" y="484258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0" name="Freeform 556"/>
                <p:cNvSpPr>
                  <a:spLocks noEditPoints="1"/>
                </p:cNvSpPr>
                <p:nvPr/>
              </p:nvSpPr>
              <p:spPr bwMode="auto">
                <a:xfrm>
                  <a:off x="4713313" y="4812690"/>
                  <a:ext cx="29892" cy="37365"/>
                </a:xfrm>
                <a:custGeom>
                  <a:avLst/>
                  <a:gdLst>
                    <a:gd name="T0" fmla="*/ 4 w 4"/>
                    <a:gd name="T1" fmla="*/ 3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2 h 5"/>
                    <a:gd name="T16" fmla="*/ 1 w 4"/>
                    <a:gd name="T17" fmla="*/ 2 h 5"/>
                    <a:gd name="T18" fmla="*/ 1 w 4"/>
                    <a:gd name="T19" fmla="*/ 2 h 5"/>
                    <a:gd name="T20" fmla="*/ 3 w 4"/>
                    <a:gd name="T21" fmla="*/ 2 h 5"/>
                    <a:gd name="T22" fmla="*/ 3 w 4"/>
                    <a:gd name="T23" fmla="*/ 3 h 5"/>
                    <a:gd name="T24" fmla="*/ 3 w 4"/>
                    <a:gd name="T25" fmla="*/ 3 h 5"/>
                    <a:gd name="T26" fmla="*/ 3 w 4"/>
                    <a:gd name="T27" fmla="*/ 4 h 5"/>
                    <a:gd name="T28" fmla="*/ 1 w 4"/>
                    <a:gd name="T29" fmla="*/ 4 h 5"/>
                    <a:gd name="T30" fmla="*/ 1 w 4"/>
                    <a:gd name="T31" fmla="*/ 5 h 5"/>
                    <a:gd name="T32" fmla="*/ 3 w 4"/>
                    <a:gd name="T33" fmla="*/ 5 h 5"/>
                    <a:gd name="T34" fmla="*/ 3 w 4"/>
                    <a:gd name="T35" fmla="*/ 4 h 5"/>
                    <a:gd name="T36" fmla="*/ 3 w 4"/>
                    <a:gd name="T37" fmla="*/ 4 h 5"/>
                    <a:gd name="T38" fmla="*/ 3 w 4"/>
                    <a:gd name="T39" fmla="*/ 3 h 5"/>
                    <a:gd name="T40" fmla="*/ 4 w 4"/>
                    <a:gd name="T41" fmla="*/ 3 h 5"/>
                    <a:gd name="T42" fmla="*/ 4 w 4"/>
                    <a:gd name="T43" fmla="*/ 3 h 5"/>
                    <a:gd name="T44" fmla="*/ 3 w 4"/>
                    <a:gd name="T45" fmla="*/ 2 h 5"/>
                    <a:gd name="T46" fmla="*/ 1 w 4"/>
                    <a:gd name="T47" fmla="*/ 2 h 5"/>
                    <a:gd name="T48" fmla="*/ 1 w 4"/>
                    <a:gd name="T49" fmla="*/ 0 h 5"/>
                    <a:gd name="T50" fmla="*/ 3 w 4"/>
                    <a:gd name="T51" fmla="*/ 0 h 5"/>
                    <a:gd name="T52" fmla="*/ 3 w 4"/>
                    <a:gd name="T53" fmla="*/ 2 h 5"/>
                    <a:gd name="T54" fmla="*/ 3 w 4"/>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3"/>
                      </a:moveTo>
                      <a:lnTo>
                        <a:pt x="4" y="0"/>
                      </a:lnTo>
                      <a:lnTo>
                        <a:pt x="3" y="0"/>
                      </a:lnTo>
                      <a:lnTo>
                        <a:pt x="3" y="0"/>
                      </a:lnTo>
                      <a:lnTo>
                        <a:pt x="1" y="0"/>
                      </a:lnTo>
                      <a:lnTo>
                        <a:pt x="1" y="0"/>
                      </a:lnTo>
                      <a:lnTo>
                        <a:pt x="0" y="0"/>
                      </a:lnTo>
                      <a:lnTo>
                        <a:pt x="0" y="2"/>
                      </a:lnTo>
                      <a:lnTo>
                        <a:pt x="1" y="2"/>
                      </a:lnTo>
                      <a:lnTo>
                        <a:pt x="1" y="2"/>
                      </a:lnTo>
                      <a:lnTo>
                        <a:pt x="3" y="2"/>
                      </a:lnTo>
                      <a:lnTo>
                        <a:pt x="3" y="3"/>
                      </a:lnTo>
                      <a:lnTo>
                        <a:pt x="3" y="3"/>
                      </a:lnTo>
                      <a:lnTo>
                        <a:pt x="3" y="4"/>
                      </a:lnTo>
                      <a:lnTo>
                        <a:pt x="1" y="4"/>
                      </a:lnTo>
                      <a:lnTo>
                        <a:pt x="1" y="5"/>
                      </a:lnTo>
                      <a:lnTo>
                        <a:pt x="3" y="5"/>
                      </a:lnTo>
                      <a:lnTo>
                        <a:pt x="3" y="4"/>
                      </a:lnTo>
                      <a:lnTo>
                        <a:pt x="3" y="4"/>
                      </a:lnTo>
                      <a:lnTo>
                        <a:pt x="3" y="3"/>
                      </a:lnTo>
                      <a:lnTo>
                        <a:pt x="4" y="3"/>
                      </a:lnTo>
                      <a:lnTo>
                        <a:pt x="4" y="3"/>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1" name="Freeform 557"/>
                <p:cNvSpPr>
                  <a:spLocks/>
                </p:cNvSpPr>
                <p:nvPr/>
              </p:nvSpPr>
              <p:spPr bwMode="auto">
                <a:xfrm>
                  <a:off x="4750678"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2" name="Freeform 558"/>
                <p:cNvSpPr>
                  <a:spLocks/>
                </p:cNvSpPr>
                <p:nvPr/>
              </p:nvSpPr>
              <p:spPr bwMode="auto">
                <a:xfrm>
                  <a:off x="4780570" y="4812690"/>
                  <a:ext cx="22419" cy="37365"/>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3" name="Freeform 559"/>
                <p:cNvSpPr>
                  <a:spLocks noEditPoints="1"/>
                </p:cNvSpPr>
                <p:nvPr/>
              </p:nvSpPr>
              <p:spPr bwMode="auto">
                <a:xfrm>
                  <a:off x="4504069" y="4879947"/>
                  <a:ext cx="29892" cy="44838"/>
                </a:xfrm>
                <a:custGeom>
                  <a:avLst/>
                  <a:gdLst>
                    <a:gd name="T0" fmla="*/ 4 w 4"/>
                    <a:gd name="T1" fmla="*/ 4 h 6"/>
                    <a:gd name="T2" fmla="*/ 4 w 4"/>
                    <a:gd name="T3" fmla="*/ 2 h 6"/>
                    <a:gd name="T4" fmla="*/ 4 w 4"/>
                    <a:gd name="T5" fmla="*/ 2 h 6"/>
                    <a:gd name="T6" fmla="*/ 4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4 w 4"/>
                    <a:gd name="T21" fmla="*/ 5 h 6"/>
                    <a:gd name="T22" fmla="*/ 4 w 4"/>
                    <a:gd name="T23" fmla="*/ 4 h 6"/>
                    <a:gd name="T24" fmla="*/ 4 w 4"/>
                    <a:gd name="T25" fmla="*/ 4 h 6"/>
                    <a:gd name="T26" fmla="*/ 4 w 4"/>
                    <a:gd name="T27" fmla="*/ 4 h 6"/>
                    <a:gd name="T28" fmla="*/ 4 w 4"/>
                    <a:gd name="T29" fmla="*/ 4 h 6"/>
                    <a:gd name="T30" fmla="*/ 3 w 4"/>
                    <a:gd name="T31" fmla="*/ 4 h 6"/>
                    <a:gd name="T32" fmla="*/ 3 w 4"/>
                    <a:gd name="T33" fmla="*/ 5 h 6"/>
                    <a:gd name="T34" fmla="*/ 1 w 4"/>
                    <a:gd name="T35" fmla="*/ 5 h 6"/>
                    <a:gd name="T36" fmla="*/ 1 w 4"/>
                    <a:gd name="T37" fmla="*/ 1 h 6"/>
                    <a:gd name="T38" fmla="*/ 3 w 4"/>
                    <a:gd name="T39" fmla="*/ 1 h 6"/>
                    <a:gd name="T40" fmla="*/ 3 w 4"/>
                    <a:gd name="T41" fmla="*/ 2 h 6"/>
                    <a:gd name="T42" fmla="*/ 4 w 4"/>
                    <a:gd name="T43" fmla="*/ 2 h 6"/>
                    <a:gd name="T44" fmla="*/ 4 w 4"/>
                    <a:gd name="T45" fmla="*/ 4 h 6"/>
                    <a:gd name="T46" fmla="*/ 4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3" y="1"/>
                      </a:lnTo>
                      <a:lnTo>
                        <a:pt x="3" y="0"/>
                      </a:lnTo>
                      <a:lnTo>
                        <a:pt x="0" y="0"/>
                      </a:lnTo>
                      <a:lnTo>
                        <a:pt x="0" y="6"/>
                      </a:lnTo>
                      <a:lnTo>
                        <a:pt x="3" y="6"/>
                      </a:lnTo>
                      <a:lnTo>
                        <a:pt x="3" y="5"/>
                      </a:lnTo>
                      <a:lnTo>
                        <a:pt x="4" y="5"/>
                      </a:lnTo>
                      <a:lnTo>
                        <a:pt x="4" y="4"/>
                      </a:lnTo>
                      <a:lnTo>
                        <a:pt x="4" y="4"/>
                      </a:lnTo>
                      <a:lnTo>
                        <a:pt x="4" y="4"/>
                      </a:lnTo>
                      <a:close/>
                      <a:moveTo>
                        <a:pt x="4" y="4"/>
                      </a:moveTo>
                      <a:lnTo>
                        <a:pt x="3" y="4"/>
                      </a:lnTo>
                      <a:lnTo>
                        <a:pt x="3" y="5"/>
                      </a:lnTo>
                      <a:lnTo>
                        <a:pt x="1" y="5"/>
                      </a:lnTo>
                      <a:lnTo>
                        <a:pt x="1" y="1"/>
                      </a:lnTo>
                      <a:lnTo>
                        <a:pt x="3" y="1"/>
                      </a:lnTo>
                      <a:lnTo>
                        <a:pt x="3" y="2"/>
                      </a:lnTo>
                      <a:lnTo>
                        <a:pt x="4" y="2"/>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4" name="Freeform 560"/>
                <p:cNvSpPr>
                  <a:spLocks/>
                </p:cNvSpPr>
                <p:nvPr/>
              </p:nvSpPr>
              <p:spPr bwMode="auto">
                <a:xfrm>
                  <a:off x="454890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5" name="Freeform 561"/>
                <p:cNvSpPr>
                  <a:spLocks noEditPoints="1"/>
                </p:cNvSpPr>
                <p:nvPr/>
              </p:nvSpPr>
              <p:spPr bwMode="auto">
                <a:xfrm>
                  <a:off x="4586272" y="4879947"/>
                  <a:ext cx="29892" cy="44838"/>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6" name="Freeform 562"/>
                <p:cNvSpPr>
                  <a:spLocks/>
                </p:cNvSpPr>
                <p:nvPr/>
              </p:nvSpPr>
              <p:spPr bwMode="auto">
                <a:xfrm>
                  <a:off x="4653529" y="4879947"/>
                  <a:ext cx="14946" cy="44838"/>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7" name="Freeform 563"/>
                <p:cNvSpPr>
                  <a:spLocks noEditPoints="1"/>
                </p:cNvSpPr>
                <p:nvPr/>
              </p:nvSpPr>
              <p:spPr bwMode="auto">
                <a:xfrm>
                  <a:off x="4683421" y="4879947"/>
                  <a:ext cx="29892" cy="44838"/>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08" name="Freeform 564"/>
                <p:cNvSpPr>
                  <a:spLocks/>
                </p:cNvSpPr>
                <p:nvPr/>
              </p:nvSpPr>
              <p:spPr bwMode="auto">
                <a:xfrm>
                  <a:off x="472078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09" name="Freeform 565"/>
                <p:cNvSpPr>
                  <a:spLocks noEditPoints="1"/>
                </p:cNvSpPr>
                <p:nvPr/>
              </p:nvSpPr>
              <p:spPr bwMode="auto">
                <a:xfrm>
                  <a:off x="4735732"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0" name="Freeform 566"/>
                <p:cNvSpPr>
                  <a:spLocks noEditPoints="1"/>
                </p:cNvSpPr>
                <p:nvPr/>
              </p:nvSpPr>
              <p:spPr bwMode="auto">
                <a:xfrm>
                  <a:off x="4773097" y="4879947"/>
                  <a:ext cx="29892" cy="44838"/>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1" name="Freeform 567"/>
                <p:cNvSpPr>
                  <a:spLocks noEditPoints="1"/>
                </p:cNvSpPr>
                <p:nvPr/>
              </p:nvSpPr>
              <p:spPr bwMode="auto">
                <a:xfrm>
                  <a:off x="4810462" y="4879947"/>
                  <a:ext cx="37365" cy="44838"/>
                </a:xfrm>
                <a:custGeom>
                  <a:avLst/>
                  <a:gdLst>
                    <a:gd name="T0" fmla="*/ 5 w 5"/>
                    <a:gd name="T1" fmla="*/ 5 h 6"/>
                    <a:gd name="T2" fmla="*/ 5 w 5"/>
                    <a:gd name="T3" fmla="*/ 1 h 6"/>
                    <a:gd name="T4" fmla="*/ 4 w 5"/>
                    <a:gd name="T5" fmla="*/ 1 h 6"/>
                    <a:gd name="T6" fmla="*/ 4 w 5"/>
                    <a:gd name="T7" fmla="*/ 0 h 6"/>
                    <a:gd name="T8" fmla="*/ 2 w 5"/>
                    <a:gd name="T9" fmla="*/ 0 h 6"/>
                    <a:gd name="T10" fmla="*/ 2 w 5"/>
                    <a:gd name="T11" fmla="*/ 1 h 6"/>
                    <a:gd name="T12" fmla="*/ 0 w 5"/>
                    <a:gd name="T13" fmla="*/ 1 h 6"/>
                    <a:gd name="T14" fmla="*/ 0 w 5"/>
                    <a:gd name="T15" fmla="*/ 5 h 6"/>
                    <a:gd name="T16" fmla="*/ 2 w 5"/>
                    <a:gd name="T17" fmla="*/ 5 h 6"/>
                    <a:gd name="T18" fmla="*/ 2 w 5"/>
                    <a:gd name="T19" fmla="*/ 6 h 6"/>
                    <a:gd name="T20" fmla="*/ 4 w 5"/>
                    <a:gd name="T21" fmla="*/ 6 h 6"/>
                    <a:gd name="T22" fmla="*/ 4 w 5"/>
                    <a:gd name="T23" fmla="*/ 5 h 6"/>
                    <a:gd name="T24" fmla="*/ 5 w 5"/>
                    <a:gd name="T25" fmla="*/ 5 h 6"/>
                    <a:gd name="T26" fmla="*/ 5 w 5"/>
                    <a:gd name="T27" fmla="*/ 5 h 6"/>
                    <a:gd name="T28" fmla="*/ 4 w 5"/>
                    <a:gd name="T29" fmla="*/ 5 h 6"/>
                    <a:gd name="T30" fmla="*/ 2 w 5"/>
                    <a:gd name="T31" fmla="*/ 5 h 6"/>
                    <a:gd name="T32" fmla="*/ 2 w 5"/>
                    <a:gd name="T33" fmla="*/ 1 h 6"/>
                    <a:gd name="T34" fmla="*/ 4 w 5"/>
                    <a:gd name="T35" fmla="*/ 1 h 6"/>
                    <a:gd name="T36" fmla="*/ 4 w 5"/>
                    <a:gd name="T37" fmla="*/ 5 h 6"/>
                    <a:gd name="T38" fmla="*/ 4 w 5"/>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6">
                      <a:moveTo>
                        <a:pt x="5" y="5"/>
                      </a:moveTo>
                      <a:lnTo>
                        <a:pt x="5" y="1"/>
                      </a:lnTo>
                      <a:lnTo>
                        <a:pt x="4" y="1"/>
                      </a:lnTo>
                      <a:lnTo>
                        <a:pt x="4" y="0"/>
                      </a:lnTo>
                      <a:lnTo>
                        <a:pt x="2" y="0"/>
                      </a:lnTo>
                      <a:lnTo>
                        <a:pt x="2" y="1"/>
                      </a:lnTo>
                      <a:lnTo>
                        <a:pt x="0" y="1"/>
                      </a:lnTo>
                      <a:lnTo>
                        <a:pt x="0" y="5"/>
                      </a:lnTo>
                      <a:lnTo>
                        <a:pt x="2" y="5"/>
                      </a:lnTo>
                      <a:lnTo>
                        <a:pt x="2" y="6"/>
                      </a:lnTo>
                      <a:lnTo>
                        <a:pt x="4" y="6"/>
                      </a:lnTo>
                      <a:lnTo>
                        <a:pt x="4" y="5"/>
                      </a:lnTo>
                      <a:lnTo>
                        <a:pt x="5" y="5"/>
                      </a:lnTo>
                      <a:lnTo>
                        <a:pt x="5"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2" name="Freeform 568"/>
                <p:cNvSpPr>
                  <a:spLocks/>
                </p:cNvSpPr>
                <p:nvPr/>
              </p:nvSpPr>
              <p:spPr bwMode="auto">
                <a:xfrm>
                  <a:off x="5109382"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3" name="Freeform 569"/>
                <p:cNvSpPr>
                  <a:spLocks/>
                </p:cNvSpPr>
                <p:nvPr/>
              </p:nvSpPr>
              <p:spPr bwMode="auto">
                <a:xfrm>
                  <a:off x="5146747" y="4812690"/>
                  <a:ext cx="29892"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2 w 4"/>
                    <a:gd name="T13" fmla="*/ 5 h 5"/>
                    <a:gd name="T14" fmla="*/ 2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2" y="5"/>
                      </a:lnTo>
                      <a:lnTo>
                        <a:pt x="2"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4" name="Freeform 570"/>
                <p:cNvSpPr>
                  <a:spLocks noEditPoints="1"/>
                </p:cNvSpPr>
                <p:nvPr/>
              </p:nvSpPr>
              <p:spPr bwMode="auto">
                <a:xfrm>
                  <a:off x="5184112" y="4812690"/>
                  <a:ext cx="29892" cy="37365"/>
                </a:xfrm>
                <a:custGeom>
                  <a:avLst/>
                  <a:gdLst>
                    <a:gd name="T0" fmla="*/ 4 w 4"/>
                    <a:gd name="T1" fmla="*/ 3 h 5"/>
                    <a:gd name="T2" fmla="*/ 4 w 4"/>
                    <a:gd name="T3" fmla="*/ 1 h 5"/>
                    <a:gd name="T4" fmla="*/ 4 w 4"/>
                    <a:gd name="T5" fmla="*/ 1 h 5"/>
                    <a:gd name="T6" fmla="*/ 4 w 4"/>
                    <a:gd name="T7" fmla="*/ 0 h 5"/>
                    <a:gd name="T8" fmla="*/ 3 w 4"/>
                    <a:gd name="T9" fmla="*/ 0 h 5"/>
                    <a:gd name="T10" fmla="*/ 3 w 4"/>
                    <a:gd name="T11" fmla="*/ 0 h 5"/>
                    <a:gd name="T12" fmla="*/ 0 w 4"/>
                    <a:gd name="T13" fmla="*/ 0 h 5"/>
                    <a:gd name="T14" fmla="*/ 0 w 4"/>
                    <a:gd name="T15" fmla="*/ 5 h 5"/>
                    <a:gd name="T16" fmla="*/ 3 w 4"/>
                    <a:gd name="T17" fmla="*/ 5 h 5"/>
                    <a:gd name="T18" fmla="*/ 3 w 4"/>
                    <a:gd name="T19" fmla="*/ 4 h 5"/>
                    <a:gd name="T20" fmla="*/ 4 w 4"/>
                    <a:gd name="T21" fmla="*/ 4 h 5"/>
                    <a:gd name="T22" fmla="*/ 4 w 4"/>
                    <a:gd name="T23" fmla="*/ 3 h 5"/>
                    <a:gd name="T24" fmla="*/ 4 w 4"/>
                    <a:gd name="T25" fmla="*/ 3 h 5"/>
                    <a:gd name="T26" fmla="*/ 4 w 4"/>
                    <a:gd name="T27" fmla="*/ 3 h 5"/>
                    <a:gd name="T28" fmla="*/ 3 w 4"/>
                    <a:gd name="T29" fmla="*/ 3 h 5"/>
                    <a:gd name="T30" fmla="*/ 3 w 4"/>
                    <a:gd name="T31" fmla="*/ 3 h 5"/>
                    <a:gd name="T32" fmla="*/ 3 w 4"/>
                    <a:gd name="T33" fmla="*/ 4 h 5"/>
                    <a:gd name="T34" fmla="*/ 1 w 4"/>
                    <a:gd name="T35" fmla="*/ 4 h 5"/>
                    <a:gd name="T36" fmla="*/ 1 w 4"/>
                    <a:gd name="T37" fmla="*/ 0 h 5"/>
                    <a:gd name="T38" fmla="*/ 3 w 4"/>
                    <a:gd name="T39" fmla="*/ 0 h 5"/>
                    <a:gd name="T40" fmla="*/ 3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4" y="1"/>
                      </a:lnTo>
                      <a:lnTo>
                        <a:pt x="4" y="0"/>
                      </a:lnTo>
                      <a:lnTo>
                        <a:pt x="3" y="0"/>
                      </a:lnTo>
                      <a:lnTo>
                        <a:pt x="3" y="0"/>
                      </a:lnTo>
                      <a:lnTo>
                        <a:pt x="0" y="0"/>
                      </a:lnTo>
                      <a:lnTo>
                        <a:pt x="0" y="5"/>
                      </a:lnTo>
                      <a:lnTo>
                        <a:pt x="3" y="5"/>
                      </a:lnTo>
                      <a:lnTo>
                        <a:pt x="3" y="4"/>
                      </a:lnTo>
                      <a:lnTo>
                        <a:pt x="4" y="4"/>
                      </a:lnTo>
                      <a:lnTo>
                        <a:pt x="4" y="3"/>
                      </a:lnTo>
                      <a:lnTo>
                        <a:pt x="4" y="3"/>
                      </a:lnTo>
                      <a:lnTo>
                        <a:pt x="4" y="3"/>
                      </a:lnTo>
                      <a:close/>
                      <a:moveTo>
                        <a:pt x="3" y="3"/>
                      </a:moveTo>
                      <a:lnTo>
                        <a:pt x="3" y="3"/>
                      </a:lnTo>
                      <a:lnTo>
                        <a:pt x="3" y="4"/>
                      </a:lnTo>
                      <a:lnTo>
                        <a:pt x="1" y="4"/>
                      </a:lnTo>
                      <a:lnTo>
                        <a:pt x="1" y="0"/>
                      </a:lnTo>
                      <a:lnTo>
                        <a:pt x="3" y="0"/>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5" name="Freeform 571"/>
                <p:cNvSpPr>
                  <a:spLocks/>
                </p:cNvSpPr>
                <p:nvPr/>
              </p:nvSpPr>
              <p:spPr bwMode="auto">
                <a:xfrm>
                  <a:off x="5251369" y="4812690"/>
                  <a:ext cx="29892" cy="37365"/>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6" name="Freeform 572"/>
                <p:cNvSpPr>
                  <a:spLocks/>
                </p:cNvSpPr>
                <p:nvPr/>
              </p:nvSpPr>
              <p:spPr bwMode="auto">
                <a:xfrm>
                  <a:off x="5296207" y="4842582"/>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7" name="Freeform 573"/>
                <p:cNvSpPr>
                  <a:spLocks noEditPoints="1"/>
                </p:cNvSpPr>
                <p:nvPr/>
              </p:nvSpPr>
              <p:spPr bwMode="auto">
                <a:xfrm>
                  <a:off x="5303680" y="4812690"/>
                  <a:ext cx="29892" cy="37365"/>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8" name="Freeform 574"/>
                <p:cNvSpPr>
                  <a:spLocks/>
                </p:cNvSpPr>
                <p:nvPr/>
              </p:nvSpPr>
              <p:spPr bwMode="auto">
                <a:xfrm>
                  <a:off x="5348518" y="4812690"/>
                  <a:ext cx="29892" cy="37365"/>
                </a:xfrm>
                <a:custGeom>
                  <a:avLst/>
                  <a:gdLst>
                    <a:gd name="T0" fmla="*/ 4 w 4"/>
                    <a:gd name="T1" fmla="*/ 5 h 5"/>
                    <a:gd name="T2" fmla="*/ 4 w 4"/>
                    <a:gd name="T3" fmla="*/ 4 h 5"/>
                    <a:gd name="T4" fmla="*/ 1 w 4"/>
                    <a:gd name="T5" fmla="*/ 4 h 5"/>
                    <a:gd name="T6" fmla="*/ 1 w 4"/>
                    <a:gd name="T7" fmla="*/ 3 h 5"/>
                    <a:gd name="T8" fmla="*/ 2 w 4"/>
                    <a:gd name="T9" fmla="*/ 3 h 5"/>
                    <a:gd name="T10" fmla="*/ 2 w 4"/>
                    <a:gd name="T11" fmla="*/ 2 h 5"/>
                    <a:gd name="T12" fmla="*/ 3 w 4"/>
                    <a:gd name="T13" fmla="*/ 2 h 5"/>
                    <a:gd name="T14" fmla="*/ 3 w 4"/>
                    <a:gd name="T15" fmla="*/ 2 h 5"/>
                    <a:gd name="T16" fmla="*/ 4 w 4"/>
                    <a:gd name="T17" fmla="*/ 2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3 w 4"/>
                    <a:gd name="T37" fmla="*/ 0 h 5"/>
                    <a:gd name="T38" fmla="*/ 3 w 4"/>
                    <a:gd name="T39" fmla="*/ 2 h 5"/>
                    <a:gd name="T40" fmla="*/ 2 w 4"/>
                    <a:gd name="T41" fmla="*/ 2 h 5"/>
                    <a:gd name="T42" fmla="*/ 2 w 4"/>
                    <a:gd name="T43" fmla="*/ 2 h 5"/>
                    <a:gd name="T44" fmla="*/ 1 w 4"/>
                    <a:gd name="T45" fmla="*/ 2 h 5"/>
                    <a:gd name="T46" fmla="*/ 1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1" y="4"/>
                      </a:lnTo>
                      <a:lnTo>
                        <a:pt x="1" y="3"/>
                      </a:lnTo>
                      <a:lnTo>
                        <a:pt x="2" y="3"/>
                      </a:lnTo>
                      <a:lnTo>
                        <a:pt x="2" y="2"/>
                      </a:lnTo>
                      <a:lnTo>
                        <a:pt x="3" y="2"/>
                      </a:lnTo>
                      <a:lnTo>
                        <a:pt x="3" y="2"/>
                      </a:lnTo>
                      <a:lnTo>
                        <a:pt x="4" y="2"/>
                      </a:lnTo>
                      <a:lnTo>
                        <a:pt x="4" y="0"/>
                      </a:lnTo>
                      <a:lnTo>
                        <a:pt x="3" y="0"/>
                      </a:lnTo>
                      <a:lnTo>
                        <a:pt x="3" y="0"/>
                      </a:lnTo>
                      <a:lnTo>
                        <a:pt x="1" y="0"/>
                      </a:lnTo>
                      <a:lnTo>
                        <a:pt x="1" y="0"/>
                      </a:lnTo>
                      <a:lnTo>
                        <a:pt x="0" y="0"/>
                      </a:lnTo>
                      <a:lnTo>
                        <a:pt x="0" y="1"/>
                      </a:lnTo>
                      <a:lnTo>
                        <a:pt x="1" y="1"/>
                      </a:lnTo>
                      <a:lnTo>
                        <a:pt x="1" y="0"/>
                      </a:lnTo>
                      <a:lnTo>
                        <a:pt x="3" y="0"/>
                      </a:lnTo>
                      <a:lnTo>
                        <a:pt x="3" y="2"/>
                      </a:lnTo>
                      <a:lnTo>
                        <a:pt x="2" y="2"/>
                      </a:lnTo>
                      <a:lnTo>
                        <a:pt x="2" y="2"/>
                      </a:lnTo>
                      <a:lnTo>
                        <a:pt x="1" y="2"/>
                      </a:lnTo>
                      <a:lnTo>
                        <a:pt x="1"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19" name="Freeform 575"/>
                <p:cNvSpPr>
                  <a:spLocks noEditPoints="1"/>
                </p:cNvSpPr>
                <p:nvPr/>
              </p:nvSpPr>
              <p:spPr bwMode="auto">
                <a:xfrm>
                  <a:off x="5385883" y="4812690"/>
                  <a:ext cx="37365" cy="37365"/>
                </a:xfrm>
                <a:custGeom>
                  <a:avLst/>
                  <a:gdLst>
                    <a:gd name="T0" fmla="*/ 5 w 5"/>
                    <a:gd name="T1" fmla="*/ 3 h 5"/>
                    <a:gd name="T2" fmla="*/ 5 w 5"/>
                    <a:gd name="T3" fmla="*/ 2 h 5"/>
                    <a:gd name="T4" fmla="*/ 4 w 5"/>
                    <a:gd name="T5" fmla="*/ 2 h 5"/>
                    <a:gd name="T6" fmla="*/ 4 w 5"/>
                    <a:gd name="T7" fmla="*/ 0 h 5"/>
                    <a:gd name="T8" fmla="*/ 3 w 5"/>
                    <a:gd name="T9" fmla="*/ 0 h 5"/>
                    <a:gd name="T10" fmla="*/ 3 w 5"/>
                    <a:gd name="T11" fmla="*/ 0 h 5"/>
                    <a:gd name="T12" fmla="*/ 3 w 5"/>
                    <a:gd name="T13" fmla="*/ 0 h 5"/>
                    <a:gd name="T14" fmla="*/ 3 w 5"/>
                    <a:gd name="T15" fmla="*/ 1 h 5"/>
                    <a:gd name="T16" fmla="*/ 2 w 5"/>
                    <a:gd name="T17" fmla="*/ 1 h 5"/>
                    <a:gd name="T18" fmla="*/ 2 w 5"/>
                    <a:gd name="T19" fmla="*/ 2 h 5"/>
                    <a:gd name="T20" fmla="*/ 1 w 5"/>
                    <a:gd name="T21" fmla="*/ 2 h 5"/>
                    <a:gd name="T22" fmla="*/ 1 w 5"/>
                    <a:gd name="T23" fmla="*/ 2 h 5"/>
                    <a:gd name="T24" fmla="*/ 0 w 5"/>
                    <a:gd name="T25" fmla="*/ 2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2 h 5"/>
                    <a:gd name="T42" fmla="*/ 2 w 5"/>
                    <a:gd name="T43" fmla="*/ 2 h 5"/>
                    <a:gd name="T44" fmla="*/ 2 w 5"/>
                    <a:gd name="T45" fmla="*/ 2 h 5"/>
                    <a:gd name="T46" fmla="*/ 3 w 5"/>
                    <a:gd name="T47" fmla="*/ 2 h 5"/>
                    <a:gd name="T48" fmla="*/ 3 w 5"/>
                    <a:gd name="T49" fmla="*/ 1 h 5"/>
                    <a:gd name="T50" fmla="*/ 3 w 5"/>
                    <a:gd name="T51" fmla="*/ 1 h 5"/>
                    <a:gd name="T52" fmla="*/ 3 w 5"/>
                    <a:gd name="T53" fmla="*/ 2 h 5"/>
                    <a:gd name="T54" fmla="*/ 3 w 5"/>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2"/>
                      </a:lnTo>
                      <a:lnTo>
                        <a:pt x="4" y="2"/>
                      </a:lnTo>
                      <a:lnTo>
                        <a:pt x="4" y="0"/>
                      </a:lnTo>
                      <a:lnTo>
                        <a:pt x="3" y="0"/>
                      </a:lnTo>
                      <a:lnTo>
                        <a:pt x="3" y="0"/>
                      </a:lnTo>
                      <a:lnTo>
                        <a:pt x="3" y="0"/>
                      </a:lnTo>
                      <a:lnTo>
                        <a:pt x="3" y="1"/>
                      </a:lnTo>
                      <a:lnTo>
                        <a:pt x="2" y="1"/>
                      </a:lnTo>
                      <a:lnTo>
                        <a:pt x="2" y="2"/>
                      </a:lnTo>
                      <a:lnTo>
                        <a:pt x="1" y="2"/>
                      </a:lnTo>
                      <a:lnTo>
                        <a:pt x="1" y="2"/>
                      </a:lnTo>
                      <a:lnTo>
                        <a:pt x="0" y="2"/>
                      </a:lnTo>
                      <a:lnTo>
                        <a:pt x="0" y="3"/>
                      </a:lnTo>
                      <a:lnTo>
                        <a:pt x="3" y="3"/>
                      </a:lnTo>
                      <a:lnTo>
                        <a:pt x="3" y="5"/>
                      </a:lnTo>
                      <a:lnTo>
                        <a:pt x="4" y="5"/>
                      </a:lnTo>
                      <a:lnTo>
                        <a:pt x="4" y="3"/>
                      </a:lnTo>
                      <a:lnTo>
                        <a:pt x="5" y="3"/>
                      </a:lnTo>
                      <a:lnTo>
                        <a:pt x="5" y="3"/>
                      </a:lnTo>
                      <a:close/>
                      <a:moveTo>
                        <a:pt x="3" y="2"/>
                      </a:moveTo>
                      <a:lnTo>
                        <a:pt x="2" y="2"/>
                      </a:lnTo>
                      <a:lnTo>
                        <a:pt x="2" y="2"/>
                      </a:lnTo>
                      <a:lnTo>
                        <a:pt x="3" y="2"/>
                      </a:lnTo>
                      <a:lnTo>
                        <a:pt x="3"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0" name="Freeform 576"/>
                <p:cNvSpPr>
                  <a:spLocks noEditPoints="1"/>
                </p:cNvSpPr>
                <p:nvPr/>
              </p:nvSpPr>
              <p:spPr bwMode="auto">
                <a:xfrm>
                  <a:off x="5109382" y="4879947"/>
                  <a:ext cx="29892" cy="44838"/>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0" y="5"/>
                      </a:lnTo>
                      <a:lnTo>
                        <a:pt x="0"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1" name="Freeform 577"/>
                <p:cNvSpPr>
                  <a:spLocks/>
                </p:cNvSpPr>
                <p:nvPr/>
              </p:nvSpPr>
              <p:spPr bwMode="auto">
                <a:xfrm>
                  <a:off x="5146747" y="4879947"/>
                  <a:ext cx="29892" cy="44838"/>
                </a:xfrm>
                <a:custGeom>
                  <a:avLst/>
                  <a:gdLst>
                    <a:gd name="T0" fmla="*/ 4 w 4"/>
                    <a:gd name="T1" fmla="*/ 5 h 6"/>
                    <a:gd name="T2" fmla="*/ 4 w 4"/>
                    <a:gd name="T3" fmla="*/ 4 h 6"/>
                    <a:gd name="T4" fmla="*/ 3 w 4"/>
                    <a:gd name="T5" fmla="*/ 4 h 6"/>
                    <a:gd name="T6" fmla="*/ 3 w 4"/>
                    <a:gd name="T7" fmla="*/ 5 h 6"/>
                    <a:gd name="T8" fmla="*/ 1 w 4"/>
                    <a:gd name="T9" fmla="*/ 5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2" name="Freeform 578"/>
                <p:cNvSpPr>
                  <a:spLocks noEditPoints="1"/>
                </p:cNvSpPr>
                <p:nvPr/>
              </p:nvSpPr>
              <p:spPr bwMode="auto">
                <a:xfrm>
                  <a:off x="5184112" y="4879947"/>
                  <a:ext cx="29892" cy="44838"/>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3" name="Freeform 579"/>
                <p:cNvSpPr>
                  <a:spLocks/>
                </p:cNvSpPr>
                <p:nvPr/>
              </p:nvSpPr>
              <p:spPr bwMode="auto">
                <a:xfrm>
                  <a:off x="5251369" y="4879947"/>
                  <a:ext cx="22419" cy="44838"/>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4" name="Freeform 580"/>
                <p:cNvSpPr>
                  <a:spLocks noEditPoints="1"/>
                </p:cNvSpPr>
                <p:nvPr/>
              </p:nvSpPr>
              <p:spPr bwMode="auto">
                <a:xfrm>
                  <a:off x="5281261" y="4879947"/>
                  <a:ext cx="29892" cy="44838"/>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5" name="Freeform 581"/>
                <p:cNvSpPr>
                  <a:spLocks/>
                </p:cNvSpPr>
                <p:nvPr/>
              </p:nvSpPr>
              <p:spPr bwMode="auto">
                <a:xfrm>
                  <a:off x="5318626" y="4917312"/>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26" name="Freeform 583"/>
                <p:cNvSpPr>
                  <a:spLocks noEditPoints="1"/>
                </p:cNvSpPr>
                <p:nvPr/>
              </p:nvSpPr>
              <p:spPr bwMode="auto">
                <a:xfrm>
                  <a:off x="5331726"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7" name="Freeform 584"/>
                <p:cNvSpPr>
                  <a:spLocks noEditPoints="1"/>
                </p:cNvSpPr>
                <p:nvPr/>
              </p:nvSpPr>
              <p:spPr bwMode="auto">
                <a:xfrm>
                  <a:off x="5376561"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8" name="Freeform 585"/>
                <p:cNvSpPr>
                  <a:spLocks noEditPoints="1"/>
                </p:cNvSpPr>
                <p:nvPr/>
              </p:nvSpPr>
              <p:spPr bwMode="auto">
                <a:xfrm>
                  <a:off x="5413923"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29" name="Freeform 586"/>
                <p:cNvSpPr>
                  <a:spLocks/>
                </p:cNvSpPr>
                <p:nvPr/>
              </p:nvSpPr>
              <p:spPr bwMode="auto">
                <a:xfrm>
                  <a:off x="5705352"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0" name="Freeform 587"/>
                <p:cNvSpPr>
                  <a:spLocks/>
                </p:cNvSpPr>
                <p:nvPr/>
              </p:nvSpPr>
              <p:spPr bwMode="auto">
                <a:xfrm>
                  <a:off x="5742714" y="4811416"/>
                  <a:ext cx="22418" cy="37363"/>
                </a:xfrm>
                <a:custGeom>
                  <a:avLst/>
                  <a:gdLst>
                    <a:gd name="T0" fmla="*/ 3 w 3"/>
                    <a:gd name="T1" fmla="*/ 0 h 5"/>
                    <a:gd name="T2" fmla="*/ 3 w 3"/>
                    <a:gd name="T3" fmla="*/ 0 h 5"/>
                    <a:gd name="T4" fmla="*/ 0 w 3"/>
                    <a:gd name="T5" fmla="*/ 0 h 5"/>
                    <a:gd name="T6" fmla="*/ 0 w 3"/>
                    <a:gd name="T7" fmla="*/ 0 h 5"/>
                    <a:gd name="T8" fmla="*/ 1 w 3"/>
                    <a:gd name="T9" fmla="*/ 0 h 5"/>
                    <a:gd name="T10" fmla="*/ 1 w 3"/>
                    <a:gd name="T11" fmla="*/ 5 h 5"/>
                    <a:gd name="T12" fmla="*/ 2 w 3"/>
                    <a:gd name="T13" fmla="*/ 5 h 5"/>
                    <a:gd name="T14" fmla="*/ 2 w 3"/>
                    <a:gd name="T15" fmla="*/ 0 h 5"/>
                    <a:gd name="T16" fmla="*/ 3 w 3"/>
                    <a:gd name="T17" fmla="*/ 0 h 5"/>
                    <a:gd name="T18" fmla="*/ 3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0"/>
                      </a:moveTo>
                      <a:lnTo>
                        <a:pt x="3" y="0"/>
                      </a:lnTo>
                      <a:lnTo>
                        <a:pt x="0" y="0"/>
                      </a:lnTo>
                      <a:lnTo>
                        <a:pt x="0" y="0"/>
                      </a:lnTo>
                      <a:lnTo>
                        <a:pt x="1" y="0"/>
                      </a:lnTo>
                      <a:lnTo>
                        <a:pt x="1" y="5"/>
                      </a:lnTo>
                      <a:lnTo>
                        <a:pt x="2" y="5"/>
                      </a:lnTo>
                      <a:lnTo>
                        <a:pt x="2"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1" name="Freeform 588"/>
                <p:cNvSpPr>
                  <a:spLocks noEditPoints="1"/>
                </p:cNvSpPr>
                <p:nvPr/>
              </p:nvSpPr>
              <p:spPr bwMode="auto">
                <a:xfrm>
                  <a:off x="5780077" y="4811416"/>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2" name="Freeform 589"/>
                <p:cNvSpPr>
                  <a:spLocks/>
                </p:cNvSpPr>
                <p:nvPr/>
              </p:nvSpPr>
              <p:spPr bwMode="auto">
                <a:xfrm>
                  <a:off x="5847329" y="4811416"/>
                  <a:ext cx="29890" cy="37363"/>
                </a:xfrm>
                <a:custGeom>
                  <a:avLst/>
                  <a:gdLst>
                    <a:gd name="T0" fmla="*/ 4 w 4"/>
                    <a:gd name="T1" fmla="*/ 4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4 h 5"/>
                    <a:gd name="T24" fmla="*/ 1 w 4"/>
                    <a:gd name="T25" fmla="*/ 4 h 5"/>
                    <a:gd name="T26" fmla="*/ 1 w 4"/>
                    <a:gd name="T27" fmla="*/ 3 h 5"/>
                    <a:gd name="T28" fmla="*/ 0 w 4"/>
                    <a:gd name="T29" fmla="*/ 3 h 5"/>
                    <a:gd name="T30" fmla="*/ 0 w 4"/>
                    <a:gd name="T31" fmla="*/ 4 h 5"/>
                    <a:gd name="T32" fmla="*/ 1 w 4"/>
                    <a:gd name="T33" fmla="*/ 4 h 5"/>
                    <a:gd name="T34" fmla="*/ 1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2"/>
                      </a:lnTo>
                      <a:lnTo>
                        <a:pt x="3" y="2"/>
                      </a:lnTo>
                      <a:lnTo>
                        <a:pt x="3" y="1"/>
                      </a:lnTo>
                      <a:lnTo>
                        <a:pt x="1" y="1"/>
                      </a:lnTo>
                      <a:lnTo>
                        <a:pt x="1" y="0"/>
                      </a:lnTo>
                      <a:lnTo>
                        <a:pt x="4" y="0"/>
                      </a:lnTo>
                      <a:lnTo>
                        <a:pt x="4" y="0"/>
                      </a:lnTo>
                      <a:lnTo>
                        <a:pt x="0" y="0"/>
                      </a:lnTo>
                      <a:lnTo>
                        <a:pt x="0" y="2"/>
                      </a:lnTo>
                      <a:lnTo>
                        <a:pt x="3" y="2"/>
                      </a:lnTo>
                      <a:lnTo>
                        <a:pt x="3" y="4"/>
                      </a:lnTo>
                      <a:lnTo>
                        <a:pt x="1" y="4"/>
                      </a:lnTo>
                      <a:lnTo>
                        <a:pt x="1" y="3"/>
                      </a:lnTo>
                      <a:lnTo>
                        <a:pt x="0" y="3"/>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3" name="Freeform 590"/>
                <p:cNvSpPr>
                  <a:spLocks/>
                </p:cNvSpPr>
                <p:nvPr/>
              </p:nvSpPr>
              <p:spPr bwMode="auto">
                <a:xfrm>
                  <a:off x="5884692" y="484130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4" name="Freeform 591"/>
                <p:cNvSpPr>
                  <a:spLocks noEditPoints="1"/>
                </p:cNvSpPr>
                <p:nvPr/>
              </p:nvSpPr>
              <p:spPr bwMode="auto">
                <a:xfrm>
                  <a:off x="5899637"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5" name="Freeform 592"/>
                <p:cNvSpPr>
                  <a:spLocks noEditPoints="1"/>
                </p:cNvSpPr>
                <p:nvPr/>
              </p:nvSpPr>
              <p:spPr bwMode="auto">
                <a:xfrm>
                  <a:off x="5937000" y="4811416"/>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6" name="Freeform 593"/>
                <p:cNvSpPr>
                  <a:spLocks/>
                </p:cNvSpPr>
                <p:nvPr/>
              </p:nvSpPr>
              <p:spPr bwMode="auto">
                <a:xfrm>
                  <a:off x="5981835" y="4811416"/>
                  <a:ext cx="29890" cy="37363"/>
                </a:xfrm>
                <a:custGeom>
                  <a:avLst/>
                  <a:gdLst>
                    <a:gd name="T0" fmla="*/ 4 w 4"/>
                    <a:gd name="T1" fmla="*/ 2 h 5"/>
                    <a:gd name="T2" fmla="*/ 4 w 4"/>
                    <a:gd name="T3" fmla="*/ 0 h 5"/>
                    <a:gd name="T4" fmla="*/ 0 w 4"/>
                    <a:gd name="T5" fmla="*/ 0 h 5"/>
                    <a:gd name="T6" fmla="*/ 0 w 4"/>
                    <a:gd name="T7" fmla="*/ 0 h 5"/>
                    <a:gd name="T8" fmla="*/ 3 w 4"/>
                    <a:gd name="T9" fmla="*/ 0 h 5"/>
                    <a:gd name="T10" fmla="*/ 3 w 4"/>
                    <a:gd name="T11" fmla="*/ 2 h 5"/>
                    <a:gd name="T12" fmla="*/ 2 w 4"/>
                    <a:gd name="T13" fmla="*/ 2 h 5"/>
                    <a:gd name="T14" fmla="*/ 2 w 4"/>
                    <a:gd name="T15" fmla="*/ 3 h 5"/>
                    <a:gd name="T16" fmla="*/ 1 w 4"/>
                    <a:gd name="T17" fmla="*/ 3 h 5"/>
                    <a:gd name="T18" fmla="*/ 1 w 4"/>
                    <a:gd name="T19" fmla="*/ 5 h 5"/>
                    <a:gd name="T20" fmla="*/ 2 w 4"/>
                    <a:gd name="T21" fmla="*/ 5 h 5"/>
                    <a:gd name="T22" fmla="*/ 2 w 4"/>
                    <a:gd name="T23" fmla="*/ 3 h 5"/>
                    <a:gd name="T24" fmla="*/ 3 w 4"/>
                    <a:gd name="T25" fmla="*/ 3 h 5"/>
                    <a:gd name="T26" fmla="*/ 3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0"/>
                      </a:lnTo>
                      <a:lnTo>
                        <a:pt x="3" y="0"/>
                      </a:lnTo>
                      <a:lnTo>
                        <a:pt x="3" y="2"/>
                      </a:lnTo>
                      <a:lnTo>
                        <a:pt x="2" y="2"/>
                      </a:lnTo>
                      <a:lnTo>
                        <a:pt x="2"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7" name="Freeform 594"/>
                <p:cNvSpPr>
                  <a:spLocks noEditPoints="1"/>
                </p:cNvSpPr>
                <p:nvPr/>
              </p:nvSpPr>
              <p:spPr bwMode="auto">
                <a:xfrm>
                  <a:off x="5705352" y="4878669"/>
                  <a:ext cx="22418" cy="44835"/>
                </a:xfrm>
                <a:custGeom>
                  <a:avLst/>
                  <a:gdLst>
                    <a:gd name="T0" fmla="*/ 3 w 3"/>
                    <a:gd name="T1" fmla="*/ 4 h 6"/>
                    <a:gd name="T2" fmla="*/ 3 w 3"/>
                    <a:gd name="T3" fmla="*/ 2 h 6"/>
                    <a:gd name="T4" fmla="*/ 2 w 3"/>
                    <a:gd name="T5" fmla="*/ 2 h 6"/>
                    <a:gd name="T6" fmla="*/ 2 w 3"/>
                    <a:gd name="T7" fmla="*/ 1 h 6"/>
                    <a:gd name="T8" fmla="*/ 2 w 3"/>
                    <a:gd name="T9" fmla="*/ 1 h 6"/>
                    <a:gd name="T10" fmla="*/ 2 w 3"/>
                    <a:gd name="T11" fmla="*/ 0 h 6"/>
                    <a:gd name="T12" fmla="*/ 0 w 3"/>
                    <a:gd name="T13" fmla="*/ 0 h 6"/>
                    <a:gd name="T14" fmla="*/ 0 w 3"/>
                    <a:gd name="T15" fmla="*/ 6 h 6"/>
                    <a:gd name="T16" fmla="*/ 2 w 3"/>
                    <a:gd name="T17" fmla="*/ 6 h 6"/>
                    <a:gd name="T18" fmla="*/ 2 w 3"/>
                    <a:gd name="T19" fmla="*/ 5 h 6"/>
                    <a:gd name="T20" fmla="*/ 2 w 3"/>
                    <a:gd name="T21" fmla="*/ 5 h 6"/>
                    <a:gd name="T22" fmla="*/ 2 w 3"/>
                    <a:gd name="T23" fmla="*/ 4 h 6"/>
                    <a:gd name="T24" fmla="*/ 3 w 3"/>
                    <a:gd name="T25" fmla="*/ 4 h 6"/>
                    <a:gd name="T26" fmla="*/ 3 w 3"/>
                    <a:gd name="T27" fmla="*/ 4 h 6"/>
                    <a:gd name="T28" fmla="*/ 2 w 3"/>
                    <a:gd name="T29" fmla="*/ 4 h 6"/>
                    <a:gd name="T30" fmla="*/ 2 w 3"/>
                    <a:gd name="T31" fmla="*/ 4 h 6"/>
                    <a:gd name="T32" fmla="*/ 2 w 3"/>
                    <a:gd name="T33" fmla="*/ 5 h 6"/>
                    <a:gd name="T34" fmla="*/ 0 w 3"/>
                    <a:gd name="T35" fmla="*/ 5 h 6"/>
                    <a:gd name="T36" fmla="*/ 0 w 3"/>
                    <a:gd name="T37" fmla="*/ 1 h 6"/>
                    <a:gd name="T38" fmla="*/ 2 w 3"/>
                    <a:gd name="T39" fmla="*/ 1 h 6"/>
                    <a:gd name="T40" fmla="*/ 2 w 3"/>
                    <a:gd name="T41" fmla="*/ 2 h 6"/>
                    <a:gd name="T42" fmla="*/ 2 w 3"/>
                    <a:gd name="T43" fmla="*/ 2 h 6"/>
                    <a:gd name="T44" fmla="*/ 2 w 3"/>
                    <a:gd name="T45" fmla="*/ 4 h 6"/>
                    <a:gd name="T46" fmla="*/ 2 w 3"/>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4"/>
                      </a:moveTo>
                      <a:lnTo>
                        <a:pt x="3" y="2"/>
                      </a:lnTo>
                      <a:lnTo>
                        <a:pt x="2" y="2"/>
                      </a:lnTo>
                      <a:lnTo>
                        <a:pt x="2" y="1"/>
                      </a:lnTo>
                      <a:lnTo>
                        <a:pt x="2" y="1"/>
                      </a:lnTo>
                      <a:lnTo>
                        <a:pt x="2" y="0"/>
                      </a:lnTo>
                      <a:lnTo>
                        <a:pt x="0" y="0"/>
                      </a:lnTo>
                      <a:lnTo>
                        <a:pt x="0" y="6"/>
                      </a:lnTo>
                      <a:lnTo>
                        <a:pt x="2" y="6"/>
                      </a:lnTo>
                      <a:lnTo>
                        <a:pt x="2" y="5"/>
                      </a:lnTo>
                      <a:lnTo>
                        <a:pt x="2" y="5"/>
                      </a:lnTo>
                      <a:lnTo>
                        <a:pt x="2" y="4"/>
                      </a:lnTo>
                      <a:lnTo>
                        <a:pt x="3" y="4"/>
                      </a:lnTo>
                      <a:lnTo>
                        <a:pt x="3"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8" name="Freeform 595"/>
                <p:cNvSpPr>
                  <a:spLocks/>
                </p:cNvSpPr>
                <p:nvPr/>
              </p:nvSpPr>
              <p:spPr bwMode="auto">
                <a:xfrm>
                  <a:off x="5742714" y="4878669"/>
                  <a:ext cx="22418" cy="44835"/>
                </a:xfrm>
                <a:custGeom>
                  <a:avLst/>
                  <a:gdLst>
                    <a:gd name="T0" fmla="*/ 3 w 3"/>
                    <a:gd name="T1" fmla="*/ 5 h 6"/>
                    <a:gd name="T2" fmla="*/ 3 w 3"/>
                    <a:gd name="T3" fmla="*/ 4 h 6"/>
                    <a:gd name="T4" fmla="*/ 3 w 3"/>
                    <a:gd name="T5" fmla="*/ 4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4"/>
                      </a:lnTo>
                      <a:lnTo>
                        <a:pt x="3" y="4"/>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39" name="Freeform 596"/>
                <p:cNvSpPr>
                  <a:spLocks noEditPoints="1"/>
                </p:cNvSpPr>
                <p:nvPr/>
              </p:nvSpPr>
              <p:spPr bwMode="auto">
                <a:xfrm>
                  <a:off x="5780077" y="4878669"/>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0" name="Freeform 597"/>
                <p:cNvSpPr>
                  <a:spLocks/>
                </p:cNvSpPr>
                <p:nvPr/>
              </p:nvSpPr>
              <p:spPr bwMode="auto">
                <a:xfrm>
                  <a:off x="5847329" y="4878669"/>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3"/>
                      </a:lnTo>
                      <a:lnTo>
                        <a:pt x="1" y="3"/>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1" name="Freeform 598"/>
                <p:cNvSpPr>
                  <a:spLocks noEditPoints="1"/>
                </p:cNvSpPr>
                <p:nvPr/>
              </p:nvSpPr>
              <p:spPr bwMode="auto">
                <a:xfrm>
                  <a:off x="5877220" y="4878669"/>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2" name="Freeform 599"/>
                <p:cNvSpPr>
                  <a:spLocks/>
                </p:cNvSpPr>
                <p:nvPr/>
              </p:nvSpPr>
              <p:spPr bwMode="auto">
                <a:xfrm>
                  <a:off x="5914582" y="4916031"/>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443" name="Freeform 600"/>
                <p:cNvSpPr>
                  <a:spLocks noEditPoints="1"/>
                </p:cNvSpPr>
                <p:nvPr/>
              </p:nvSpPr>
              <p:spPr bwMode="auto">
                <a:xfrm>
                  <a:off x="5929527"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4" name="Freeform 601"/>
                <p:cNvSpPr>
                  <a:spLocks noEditPoints="1"/>
                </p:cNvSpPr>
                <p:nvPr/>
              </p:nvSpPr>
              <p:spPr bwMode="auto">
                <a:xfrm>
                  <a:off x="5966890" y="4878669"/>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5" name="Freeform 602"/>
                <p:cNvSpPr>
                  <a:spLocks noEditPoints="1"/>
                </p:cNvSpPr>
                <p:nvPr/>
              </p:nvSpPr>
              <p:spPr bwMode="auto">
                <a:xfrm>
                  <a:off x="6011725" y="4878669"/>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6" name="Freeform 603"/>
                <p:cNvSpPr>
                  <a:spLocks/>
                </p:cNvSpPr>
                <p:nvPr/>
              </p:nvSpPr>
              <p:spPr bwMode="auto">
                <a:xfrm>
                  <a:off x="3687771" y="4654493"/>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7" name="Freeform 604"/>
                <p:cNvSpPr>
                  <a:spLocks/>
                </p:cNvSpPr>
                <p:nvPr/>
              </p:nvSpPr>
              <p:spPr bwMode="auto">
                <a:xfrm>
                  <a:off x="3725134" y="4654493"/>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8" name="Freeform 605"/>
                <p:cNvSpPr>
                  <a:spLocks noEditPoints="1"/>
                </p:cNvSpPr>
                <p:nvPr/>
              </p:nvSpPr>
              <p:spPr bwMode="auto">
                <a:xfrm>
                  <a:off x="3762496" y="465449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49" name="Freeform 606"/>
                <p:cNvSpPr>
                  <a:spLocks noEditPoints="1"/>
                </p:cNvSpPr>
                <p:nvPr/>
              </p:nvSpPr>
              <p:spPr bwMode="auto">
                <a:xfrm>
                  <a:off x="3829749" y="465449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0" name="Freeform 607"/>
                <p:cNvSpPr>
                  <a:spLocks/>
                </p:cNvSpPr>
                <p:nvPr/>
              </p:nvSpPr>
              <p:spPr bwMode="auto">
                <a:xfrm>
                  <a:off x="3867112" y="4691856"/>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1" name="Freeform 608"/>
                <p:cNvSpPr>
                  <a:spLocks noEditPoints="1"/>
                </p:cNvSpPr>
                <p:nvPr/>
              </p:nvSpPr>
              <p:spPr bwMode="auto">
                <a:xfrm>
                  <a:off x="3882057" y="4654493"/>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2" name="Freeform 609"/>
                <p:cNvSpPr>
                  <a:spLocks noEditPoints="1"/>
                </p:cNvSpPr>
                <p:nvPr/>
              </p:nvSpPr>
              <p:spPr bwMode="auto">
                <a:xfrm>
                  <a:off x="3926892" y="4654493"/>
                  <a:ext cx="22418" cy="44835"/>
                </a:xfrm>
                <a:custGeom>
                  <a:avLst/>
                  <a:gdLst>
                    <a:gd name="T0" fmla="*/ 3 w 3"/>
                    <a:gd name="T1" fmla="*/ 5 h 6"/>
                    <a:gd name="T2" fmla="*/ 3 w 3"/>
                    <a:gd name="T3" fmla="*/ 3 h 6"/>
                    <a:gd name="T4" fmla="*/ 3 w 3"/>
                    <a:gd name="T5" fmla="*/ 3 h 6"/>
                    <a:gd name="T6" fmla="*/ 3 w 3"/>
                    <a:gd name="T7" fmla="*/ 3 h 6"/>
                    <a:gd name="T8" fmla="*/ 1 w 3"/>
                    <a:gd name="T9" fmla="*/ 3 h 6"/>
                    <a:gd name="T10" fmla="*/ 1 w 3"/>
                    <a:gd name="T11" fmla="*/ 2 h 6"/>
                    <a:gd name="T12" fmla="*/ 1 w 3"/>
                    <a:gd name="T13" fmla="*/ 2 h 6"/>
                    <a:gd name="T14" fmla="*/ 1 w 3"/>
                    <a:gd name="T15" fmla="*/ 1 h 6"/>
                    <a:gd name="T16" fmla="*/ 3 w 3"/>
                    <a:gd name="T17" fmla="*/ 1 h 6"/>
                    <a:gd name="T18" fmla="*/ 3 w 3"/>
                    <a:gd name="T19" fmla="*/ 0 h 6"/>
                    <a:gd name="T20" fmla="*/ 1 w 3"/>
                    <a:gd name="T21" fmla="*/ 0 h 6"/>
                    <a:gd name="T22" fmla="*/ 1 w 3"/>
                    <a:gd name="T23" fmla="*/ 1 h 6"/>
                    <a:gd name="T24" fmla="*/ 1 w 3"/>
                    <a:gd name="T25" fmla="*/ 1 h 6"/>
                    <a:gd name="T26" fmla="*/ 1 w 3"/>
                    <a:gd name="T27" fmla="*/ 2 h 6"/>
                    <a:gd name="T28" fmla="*/ 0 w 3"/>
                    <a:gd name="T29" fmla="*/ 2 h 6"/>
                    <a:gd name="T30" fmla="*/ 0 w 3"/>
                    <a:gd name="T31" fmla="*/ 5 h 6"/>
                    <a:gd name="T32" fmla="*/ 1 w 3"/>
                    <a:gd name="T33" fmla="*/ 5 h 6"/>
                    <a:gd name="T34" fmla="*/ 1 w 3"/>
                    <a:gd name="T35" fmla="*/ 6 h 6"/>
                    <a:gd name="T36" fmla="*/ 3 w 3"/>
                    <a:gd name="T37" fmla="*/ 6 h 6"/>
                    <a:gd name="T38" fmla="*/ 3 w 3"/>
                    <a:gd name="T39" fmla="*/ 5 h 6"/>
                    <a:gd name="T40" fmla="*/ 3 w 3"/>
                    <a:gd name="T41" fmla="*/ 5 h 6"/>
                    <a:gd name="T42" fmla="*/ 3 w 3"/>
                    <a:gd name="T43" fmla="*/ 5 h 6"/>
                    <a:gd name="T44" fmla="*/ 3 w 3"/>
                    <a:gd name="T45" fmla="*/ 5 h 6"/>
                    <a:gd name="T46" fmla="*/ 1 w 3"/>
                    <a:gd name="T47" fmla="*/ 5 h 6"/>
                    <a:gd name="T48" fmla="*/ 1 w 3"/>
                    <a:gd name="T49" fmla="*/ 3 h 6"/>
                    <a:gd name="T50" fmla="*/ 3 w 3"/>
                    <a:gd name="T51" fmla="*/ 3 h 6"/>
                    <a:gd name="T52" fmla="*/ 3 w 3"/>
                    <a:gd name="T53" fmla="*/ 5 h 6"/>
                    <a:gd name="T54" fmla="*/ 3 w 3"/>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5"/>
                      </a:moveTo>
                      <a:lnTo>
                        <a:pt x="3" y="3"/>
                      </a:lnTo>
                      <a:lnTo>
                        <a:pt x="3" y="3"/>
                      </a:lnTo>
                      <a:lnTo>
                        <a:pt x="3" y="3"/>
                      </a:lnTo>
                      <a:lnTo>
                        <a:pt x="1" y="3"/>
                      </a:lnTo>
                      <a:lnTo>
                        <a:pt x="1" y="2"/>
                      </a:lnTo>
                      <a:lnTo>
                        <a:pt x="1" y="2"/>
                      </a:lnTo>
                      <a:lnTo>
                        <a:pt x="1" y="1"/>
                      </a:lnTo>
                      <a:lnTo>
                        <a:pt x="3" y="1"/>
                      </a:lnTo>
                      <a:lnTo>
                        <a:pt x="3" y="0"/>
                      </a:lnTo>
                      <a:lnTo>
                        <a:pt x="1" y="0"/>
                      </a:lnTo>
                      <a:lnTo>
                        <a:pt x="1" y="1"/>
                      </a:lnTo>
                      <a:lnTo>
                        <a:pt x="1" y="1"/>
                      </a:lnTo>
                      <a:lnTo>
                        <a:pt x="1" y="2"/>
                      </a:lnTo>
                      <a:lnTo>
                        <a:pt x="0" y="2"/>
                      </a:lnTo>
                      <a:lnTo>
                        <a:pt x="0" y="5"/>
                      </a:lnTo>
                      <a:lnTo>
                        <a:pt x="1" y="5"/>
                      </a:lnTo>
                      <a:lnTo>
                        <a:pt x="1" y="6"/>
                      </a:lnTo>
                      <a:lnTo>
                        <a:pt x="3" y="6"/>
                      </a:lnTo>
                      <a:lnTo>
                        <a:pt x="3" y="5"/>
                      </a:lnTo>
                      <a:lnTo>
                        <a:pt x="3" y="5"/>
                      </a:lnTo>
                      <a:lnTo>
                        <a:pt x="3"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3" name="Freeform 610"/>
                <p:cNvSpPr>
                  <a:spLocks noEditPoints="1"/>
                </p:cNvSpPr>
                <p:nvPr/>
              </p:nvSpPr>
              <p:spPr bwMode="auto">
                <a:xfrm>
                  <a:off x="3964254" y="465449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3 h 6"/>
                    <a:gd name="T20" fmla="*/ 3 w 4"/>
                    <a:gd name="T21" fmla="*/ 3 h 6"/>
                    <a:gd name="T22" fmla="*/ 3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3 w 4"/>
                    <a:gd name="T37" fmla="*/ 5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3"/>
                      </a:lnTo>
                      <a:lnTo>
                        <a:pt x="3" y="3"/>
                      </a:lnTo>
                      <a:lnTo>
                        <a:pt x="3" y="4"/>
                      </a:lnTo>
                      <a:lnTo>
                        <a:pt x="3" y="4"/>
                      </a:lnTo>
                      <a:lnTo>
                        <a:pt x="3" y="5"/>
                      </a:lnTo>
                      <a:lnTo>
                        <a:pt x="1" y="5"/>
                      </a:lnTo>
                      <a:lnTo>
                        <a:pt x="1" y="6"/>
                      </a:lnTo>
                      <a:lnTo>
                        <a:pt x="3" y="6"/>
                      </a:lnTo>
                      <a:lnTo>
                        <a:pt x="3"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4" name="Freeform 611"/>
                <p:cNvSpPr>
                  <a:spLocks/>
                </p:cNvSpPr>
                <p:nvPr/>
              </p:nvSpPr>
              <p:spPr bwMode="auto">
                <a:xfrm>
                  <a:off x="1700081" y="4602186"/>
                  <a:ext cx="67253" cy="59780"/>
                </a:xfrm>
                <a:custGeom>
                  <a:avLst/>
                  <a:gdLst>
                    <a:gd name="T0" fmla="*/ 4 w 9"/>
                    <a:gd name="T1" fmla="*/ 0 h 8"/>
                    <a:gd name="T2" fmla="*/ 9 w 9"/>
                    <a:gd name="T3" fmla="*/ 8 h 8"/>
                    <a:gd name="T4" fmla="*/ 0 w 9"/>
                    <a:gd name="T5" fmla="*/ 8 h 8"/>
                    <a:gd name="T6" fmla="*/ 4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9" y="8"/>
                      </a:lnTo>
                      <a:lnTo>
                        <a:pt x="0" y="8"/>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5" name="Freeform 612"/>
                <p:cNvSpPr>
                  <a:spLocks noEditPoints="1"/>
                </p:cNvSpPr>
                <p:nvPr/>
              </p:nvSpPr>
              <p:spPr bwMode="auto">
                <a:xfrm>
                  <a:off x="3097442" y="3197353"/>
                  <a:ext cx="1367471" cy="567911"/>
                </a:xfrm>
                <a:custGeom>
                  <a:avLst/>
                  <a:gdLst>
                    <a:gd name="T0" fmla="*/ 98 w 183"/>
                    <a:gd name="T1" fmla="*/ 35 h 76"/>
                    <a:gd name="T2" fmla="*/ 98 w 183"/>
                    <a:gd name="T3" fmla="*/ 0 h 76"/>
                    <a:gd name="T4" fmla="*/ 183 w 183"/>
                    <a:gd name="T5" fmla="*/ 0 h 76"/>
                    <a:gd name="T6" fmla="*/ 183 w 183"/>
                    <a:gd name="T7" fmla="*/ 35 h 76"/>
                    <a:gd name="T8" fmla="*/ 98 w 183"/>
                    <a:gd name="T9" fmla="*/ 35 h 76"/>
                    <a:gd name="T10" fmla="*/ 98 w 183"/>
                    <a:gd name="T11" fmla="*/ 35 h 76"/>
                    <a:gd name="T12" fmla="*/ 0 w 183"/>
                    <a:gd name="T13" fmla="*/ 76 h 76"/>
                    <a:gd name="T14" fmla="*/ 0 w 183"/>
                    <a:gd name="T15" fmla="*/ 0 h 76"/>
                    <a:gd name="T16" fmla="*/ 85 w 183"/>
                    <a:gd name="T17" fmla="*/ 0 h 76"/>
                    <a:gd name="T18" fmla="*/ 85 w 183"/>
                    <a:gd name="T19" fmla="*/ 76 h 76"/>
                    <a:gd name="T20" fmla="*/ 0 w 183"/>
                    <a:gd name="T21" fmla="*/ 76 h 76"/>
                    <a:gd name="T22" fmla="*/ 0 w 183"/>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76">
                      <a:moveTo>
                        <a:pt x="98" y="35"/>
                      </a:moveTo>
                      <a:lnTo>
                        <a:pt x="98" y="0"/>
                      </a:lnTo>
                      <a:lnTo>
                        <a:pt x="183" y="0"/>
                      </a:lnTo>
                      <a:lnTo>
                        <a:pt x="183" y="35"/>
                      </a:lnTo>
                      <a:lnTo>
                        <a:pt x="98" y="35"/>
                      </a:lnTo>
                      <a:lnTo>
                        <a:pt x="98" y="35"/>
                      </a:lnTo>
                      <a:close/>
                      <a:moveTo>
                        <a:pt x="0" y="76"/>
                      </a:moveTo>
                      <a:lnTo>
                        <a:pt x="0" y="0"/>
                      </a:lnTo>
                      <a:lnTo>
                        <a:pt x="85" y="0"/>
                      </a:lnTo>
                      <a:lnTo>
                        <a:pt x="85" y="76"/>
                      </a:lnTo>
                      <a:lnTo>
                        <a:pt x="0" y="76"/>
                      </a:lnTo>
                      <a:lnTo>
                        <a:pt x="0" y="7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56" name="Freeform 613"/>
                <p:cNvSpPr>
                  <a:spLocks noEditPoints="1"/>
                </p:cNvSpPr>
                <p:nvPr/>
              </p:nvSpPr>
              <p:spPr bwMode="auto">
                <a:xfrm>
                  <a:off x="3134805"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1 w 4"/>
                    <a:gd name="T31" fmla="*/ 3 h 6"/>
                    <a:gd name="T32" fmla="*/ 1 w 4"/>
                    <a:gd name="T33" fmla="*/ 1 h 6"/>
                    <a:gd name="T34" fmla="*/ 3 w 4"/>
                    <a:gd name="T35" fmla="*/ 1 h 6"/>
                    <a:gd name="T36" fmla="*/ 3 w 4"/>
                    <a:gd name="T37" fmla="*/ 3 h 6"/>
                    <a:gd name="T38" fmla="*/ 3 w 4"/>
                    <a:gd name="T39" fmla="*/ 3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7" name="Freeform 614"/>
                <p:cNvSpPr>
                  <a:spLocks noEditPoints="1"/>
                </p:cNvSpPr>
                <p:nvPr/>
              </p:nvSpPr>
              <p:spPr bwMode="auto">
                <a:xfrm>
                  <a:off x="3172167" y="3130100"/>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8" name="Freeform 615"/>
                <p:cNvSpPr>
                  <a:spLocks/>
                </p:cNvSpPr>
                <p:nvPr/>
              </p:nvSpPr>
              <p:spPr bwMode="auto">
                <a:xfrm>
                  <a:off x="3209530"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59" name="Freeform 616"/>
                <p:cNvSpPr>
                  <a:spLocks/>
                </p:cNvSpPr>
                <p:nvPr/>
              </p:nvSpPr>
              <p:spPr bwMode="auto">
                <a:xfrm>
                  <a:off x="3224475"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0" name="Freeform 617"/>
                <p:cNvSpPr>
                  <a:spLocks/>
                </p:cNvSpPr>
                <p:nvPr/>
              </p:nvSpPr>
              <p:spPr bwMode="auto">
                <a:xfrm>
                  <a:off x="3254365"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1" name="Freeform 618"/>
                <p:cNvSpPr>
                  <a:spLocks noEditPoints="1"/>
                </p:cNvSpPr>
                <p:nvPr/>
              </p:nvSpPr>
              <p:spPr bwMode="auto">
                <a:xfrm>
                  <a:off x="3284255" y="3130100"/>
                  <a:ext cx="29890" cy="44835"/>
                </a:xfrm>
                <a:custGeom>
                  <a:avLst/>
                  <a:gdLst>
                    <a:gd name="T0" fmla="*/ 4 w 4"/>
                    <a:gd name="T1" fmla="*/ 6 h 6"/>
                    <a:gd name="T2" fmla="*/ 4 w 4"/>
                    <a:gd name="T3" fmla="*/ 5 h 6"/>
                    <a:gd name="T4" fmla="*/ 4 w 4"/>
                    <a:gd name="T5" fmla="*/ 5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5 h 6"/>
                    <a:gd name="T28" fmla="*/ 4 w 4"/>
                    <a:gd name="T29" fmla="*/ 5 h 6"/>
                    <a:gd name="T30" fmla="*/ 4 w 4"/>
                    <a:gd name="T31" fmla="*/ 6 h 6"/>
                    <a:gd name="T32" fmla="*/ 4 w 4"/>
                    <a:gd name="T33" fmla="*/ 6 h 6"/>
                    <a:gd name="T34" fmla="*/ 4 w 4"/>
                    <a:gd name="T35" fmla="*/ 6 h 6"/>
                    <a:gd name="T36" fmla="*/ 4 w 4"/>
                    <a:gd name="T37" fmla="*/ 3 h 6"/>
                    <a:gd name="T38" fmla="*/ 2 w 4"/>
                    <a:gd name="T39" fmla="*/ 3 h 6"/>
                    <a:gd name="T40" fmla="*/ 2 w 4"/>
                    <a:gd name="T41" fmla="*/ 1 h 6"/>
                    <a:gd name="T42" fmla="*/ 4 w 4"/>
                    <a:gd name="T43" fmla="*/ 1 h 6"/>
                    <a:gd name="T44" fmla="*/ 4 w 4"/>
                    <a:gd name="T45" fmla="*/ 3 h 6"/>
                    <a:gd name="T46" fmla="*/ 4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4" y="5"/>
                      </a:lnTo>
                      <a:lnTo>
                        <a:pt x="4" y="3"/>
                      </a:lnTo>
                      <a:lnTo>
                        <a:pt x="4" y="3"/>
                      </a:lnTo>
                      <a:lnTo>
                        <a:pt x="4" y="1"/>
                      </a:lnTo>
                      <a:lnTo>
                        <a:pt x="4" y="1"/>
                      </a:lnTo>
                      <a:lnTo>
                        <a:pt x="4" y="0"/>
                      </a:lnTo>
                      <a:lnTo>
                        <a:pt x="0" y="0"/>
                      </a:lnTo>
                      <a:lnTo>
                        <a:pt x="0" y="6"/>
                      </a:lnTo>
                      <a:lnTo>
                        <a:pt x="2" y="6"/>
                      </a:lnTo>
                      <a:lnTo>
                        <a:pt x="2" y="3"/>
                      </a:lnTo>
                      <a:lnTo>
                        <a:pt x="3" y="3"/>
                      </a:lnTo>
                      <a:lnTo>
                        <a:pt x="3" y="5"/>
                      </a:lnTo>
                      <a:lnTo>
                        <a:pt x="4" y="5"/>
                      </a:lnTo>
                      <a:lnTo>
                        <a:pt x="4" y="6"/>
                      </a:lnTo>
                      <a:lnTo>
                        <a:pt x="4" y="6"/>
                      </a:lnTo>
                      <a:lnTo>
                        <a:pt x="4" y="6"/>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2" name="Freeform 619"/>
                <p:cNvSpPr>
                  <a:spLocks/>
                </p:cNvSpPr>
                <p:nvPr/>
              </p:nvSpPr>
              <p:spPr bwMode="auto">
                <a:xfrm>
                  <a:off x="3411288" y="3130100"/>
                  <a:ext cx="22418" cy="44835"/>
                </a:xfrm>
                <a:custGeom>
                  <a:avLst/>
                  <a:gdLst>
                    <a:gd name="T0" fmla="*/ 3 w 3"/>
                    <a:gd name="T1" fmla="*/ 5 h 6"/>
                    <a:gd name="T2" fmla="*/ 3 w 3"/>
                    <a:gd name="T3" fmla="*/ 5 h 6"/>
                    <a:gd name="T4" fmla="*/ 3 w 3"/>
                    <a:gd name="T5" fmla="*/ 5 h 6"/>
                    <a:gd name="T6" fmla="*/ 3 w 3"/>
                    <a:gd name="T7" fmla="*/ 5 h 6"/>
                    <a:gd name="T8" fmla="*/ 0 w 3"/>
                    <a:gd name="T9" fmla="*/ 5 h 6"/>
                    <a:gd name="T10" fmla="*/ 0 w 3"/>
                    <a:gd name="T11" fmla="*/ 1 h 6"/>
                    <a:gd name="T12" fmla="*/ 3 w 3"/>
                    <a:gd name="T13" fmla="*/ 1 h 6"/>
                    <a:gd name="T14" fmla="*/ 3 w 3"/>
                    <a:gd name="T15" fmla="*/ 2 h 6"/>
                    <a:gd name="T16" fmla="*/ 3 w 3"/>
                    <a:gd name="T17" fmla="*/ 2 h 6"/>
                    <a:gd name="T18" fmla="*/ 3 w 3"/>
                    <a:gd name="T19" fmla="*/ 1 h 6"/>
                    <a:gd name="T20" fmla="*/ 3 w 3"/>
                    <a:gd name="T21" fmla="*/ 1 h 6"/>
                    <a:gd name="T22" fmla="*/ 3 w 3"/>
                    <a:gd name="T23" fmla="*/ 0 h 6"/>
                    <a:gd name="T24" fmla="*/ 0 w 3"/>
                    <a:gd name="T25" fmla="*/ 0 h 6"/>
                    <a:gd name="T26" fmla="*/ 0 w 3"/>
                    <a:gd name="T27" fmla="*/ 1 h 6"/>
                    <a:gd name="T28" fmla="*/ 0 w 3"/>
                    <a:gd name="T29" fmla="*/ 1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5"/>
                      </a:moveTo>
                      <a:lnTo>
                        <a:pt x="3" y="5"/>
                      </a:lnTo>
                      <a:lnTo>
                        <a:pt x="3" y="5"/>
                      </a:lnTo>
                      <a:lnTo>
                        <a:pt x="3" y="5"/>
                      </a:lnTo>
                      <a:lnTo>
                        <a:pt x="0" y="5"/>
                      </a:lnTo>
                      <a:lnTo>
                        <a:pt x="0" y="1"/>
                      </a:lnTo>
                      <a:lnTo>
                        <a:pt x="3" y="1"/>
                      </a:lnTo>
                      <a:lnTo>
                        <a:pt x="3" y="2"/>
                      </a:lnTo>
                      <a:lnTo>
                        <a:pt x="3" y="2"/>
                      </a:ln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3" name="Freeform 620"/>
                <p:cNvSpPr>
                  <a:spLocks/>
                </p:cNvSpPr>
                <p:nvPr/>
              </p:nvSpPr>
              <p:spPr bwMode="auto">
                <a:xfrm>
                  <a:off x="3441178"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4" name="Freeform 621"/>
                <p:cNvSpPr>
                  <a:spLocks/>
                </p:cNvSpPr>
                <p:nvPr/>
              </p:nvSpPr>
              <p:spPr bwMode="auto">
                <a:xfrm>
                  <a:off x="3478541"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5" name="Freeform 622"/>
                <p:cNvSpPr>
                  <a:spLocks noEditPoints="1"/>
                </p:cNvSpPr>
                <p:nvPr/>
              </p:nvSpPr>
              <p:spPr bwMode="auto">
                <a:xfrm>
                  <a:off x="3508431" y="313010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6" name="Freeform 623"/>
                <p:cNvSpPr>
                  <a:spLocks/>
                </p:cNvSpPr>
                <p:nvPr/>
              </p:nvSpPr>
              <p:spPr bwMode="auto">
                <a:xfrm>
                  <a:off x="3545793" y="3130100"/>
                  <a:ext cx="29890" cy="44835"/>
                </a:xfrm>
                <a:custGeom>
                  <a:avLst/>
                  <a:gdLst>
                    <a:gd name="T0" fmla="*/ 4 w 4"/>
                    <a:gd name="T1" fmla="*/ 6 h 6"/>
                    <a:gd name="T2" fmla="*/ 4 w 4"/>
                    <a:gd name="T3" fmla="*/ 0 h 6"/>
                    <a:gd name="T4" fmla="*/ 4 w 4"/>
                    <a:gd name="T5" fmla="*/ 0 h 6"/>
                    <a:gd name="T6" fmla="*/ 4 w 4"/>
                    <a:gd name="T7" fmla="*/ 3 h 6"/>
                    <a:gd name="T8" fmla="*/ 2 w 4"/>
                    <a:gd name="T9" fmla="*/ 3 h 6"/>
                    <a:gd name="T10" fmla="*/ 2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2 w 4"/>
                    <a:gd name="T33" fmla="*/ 3 h 6"/>
                    <a:gd name="T34" fmla="*/ 2 w 4"/>
                    <a:gd name="T35" fmla="*/ 5 h 6"/>
                    <a:gd name="T36" fmla="*/ 4 w 4"/>
                    <a:gd name="T37" fmla="*/ 5 h 6"/>
                    <a:gd name="T38" fmla="*/ 4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4" y="0"/>
                      </a:lnTo>
                      <a:lnTo>
                        <a:pt x="4" y="3"/>
                      </a:lnTo>
                      <a:lnTo>
                        <a:pt x="2" y="3"/>
                      </a:lnTo>
                      <a:lnTo>
                        <a:pt x="2" y="3"/>
                      </a:lnTo>
                      <a:lnTo>
                        <a:pt x="2" y="3"/>
                      </a:lnTo>
                      <a:lnTo>
                        <a:pt x="2" y="2"/>
                      </a:lnTo>
                      <a:lnTo>
                        <a:pt x="1" y="2"/>
                      </a:lnTo>
                      <a:lnTo>
                        <a:pt x="1" y="0"/>
                      </a:lnTo>
                      <a:lnTo>
                        <a:pt x="0" y="0"/>
                      </a:lnTo>
                      <a:lnTo>
                        <a:pt x="0" y="6"/>
                      </a:lnTo>
                      <a:lnTo>
                        <a:pt x="1" y="6"/>
                      </a:lnTo>
                      <a:lnTo>
                        <a:pt x="1" y="3"/>
                      </a:lnTo>
                      <a:lnTo>
                        <a:pt x="2" y="3"/>
                      </a:lnTo>
                      <a:lnTo>
                        <a:pt x="2" y="3"/>
                      </a:lnTo>
                      <a:lnTo>
                        <a:pt x="2" y="3"/>
                      </a:lnTo>
                      <a:lnTo>
                        <a:pt x="2" y="5"/>
                      </a:lnTo>
                      <a:lnTo>
                        <a:pt x="4" y="5"/>
                      </a:lnTo>
                      <a:lnTo>
                        <a:pt x="4"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7" name="Freeform 624"/>
                <p:cNvSpPr>
                  <a:spLocks/>
                </p:cNvSpPr>
                <p:nvPr/>
              </p:nvSpPr>
              <p:spPr bwMode="auto">
                <a:xfrm>
                  <a:off x="3583156"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8" name="Freeform 625"/>
                <p:cNvSpPr>
                  <a:spLocks/>
                </p:cNvSpPr>
                <p:nvPr/>
              </p:nvSpPr>
              <p:spPr bwMode="auto">
                <a:xfrm>
                  <a:off x="3620519" y="3130100"/>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69" name="Freeform 626"/>
                <p:cNvSpPr>
                  <a:spLocks/>
                </p:cNvSpPr>
                <p:nvPr/>
              </p:nvSpPr>
              <p:spPr bwMode="auto">
                <a:xfrm>
                  <a:off x="3635464"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0" name="Freeform 627"/>
                <p:cNvSpPr>
                  <a:spLocks/>
                </p:cNvSpPr>
                <p:nvPr/>
              </p:nvSpPr>
              <p:spPr bwMode="auto">
                <a:xfrm>
                  <a:off x="3672826"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1" name="Freeform 628"/>
                <p:cNvSpPr>
                  <a:spLocks/>
                </p:cNvSpPr>
                <p:nvPr/>
              </p:nvSpPr>
              <p:spPr bwMode="auto">
                <a:xfrm>
                  <a:off x="3702716"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2" name="Freeform 629"/>
                <p:cNvSpPr>
                  <a:spLocks/>
                </p:cNvSpPr>
                <p:nvPr/>
              </p:nvSpPr>
              <p:spPr bwMode="auto">
                <a:xfrm>
                  <a:off x="3740079" y="3130100"/>
                  <a:ext cx="29890" cy="44835"/>
                </a:xfrm>
                <a:custGeom>
                  <a:avLst/>
                  <a:gdLst>
                    <a:gd name="T0" fmla="*/ 4 w 4"/>
                    <a:gd name="T1" fmla="*/ 5 h 6"/>
                    <a:gd name="T2" fmla="*/ 4 w 4"/>
                    <a:gd name="T3" fmla="*/ 3 h 6"/>
                    <a:gd name="T4" fmla="*/ 4 w 4"/>
                    <a:gd name="T5" fmla="*/ 3 h 6"/>
                    <a:gd name="T6" fmla="*/ 4 w 4"/>
                    <a:gd name="T7" fmla="*/ 3 h 6"/>
                    <a:gd name="T8" fmla="*/ 1 w 4"/>
                    <a:gd name="T9" fmla="*/ 3 h 6"/>
                    <a:gd name="T10" fmla="*/ 1 w 4"/>
                    <a:gd name="T11" fmla="*/ 1 h 6"/>
                    <a:gd name="T12" fmla="*/ 4 w 4"/>
                    <a:gd name="T13" fmla="*/ 1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4 w 4"/>
                    <a:gd name="T37" fmla="*/ 3 h 6"/>
                    <a:gd name="T38" fmla="*/ 4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4 w 4"/>
                    <a:gd name="T53" fmla="*/ 6 h 6"/>
                    <a:gd name="T54" fmla="*/ 4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4" y="3"/>
                      </a:lnTo>
                      <a:lnTo>
                        <a:pt x="4" y="3"/>
                      </a:lnTo>
                      <a:lnTo>
                        <a:pt x="1" y="3"/>
                      </a:lnTo>
                      <a:lnTo>
                        <a:pt x="1" y="1"/>
                      </a:lnTo>
                      <a:lnTo>
                        <a:pt x="4" y="1"/>
                      </a:lnTo>
                      <a:lnTo>
                        <a:pt x="4" y="2"/>
                      </a:lnTo>
                      <a:lnTo>
                        <a:pt x="4" y="2"/>
                      </a:lnTo>
                      <a:lnTo>
                        <a:pt x="4" y="1"/>
                      </a:lnTo>
                      <a:lnTo>
                        <a:pt x="4" y="1"/>
                      </a:lnTo>
                      <a:lnTo>
                        <a:pt x="4" y="0"/>
                      </a:lnTo>
                      <a:lnTo>
                        <a:pt x="1" y="0"/>
                      </a:lnTo>
                      <a:lnTo>
                        <a:pt x="1" y="1"/>
                      </a:lnTo>
                      <a:lnTo>
                        <a:pt x="0" y="1"/>
                      </a:lnTo>
                      <a:lnTo>
                        <a:pt x="0" y="3"/>
                      </a:lnTo>
                      <a:lnTo>
                        <a:pt x="1" y="3"/>
                      </a:lnTo>
                      <a:lnTo>
                        <a:pt x="1" y="3"/>
                      </a:lnTo>
                      <a:lnTo>
                        <a:pt x="4" y="3"/>
                      </a:lnTo>
                      <a:lnTo>
                        <a:pt x="4" y="5"/>
                      </a:lnTo>
                      <a:lnTo>
                        <a:pt x="1" y="5"/>
                      </a:lnTo>
                      <a:lnTo>
                        <a:pt x="1" y="5"/>
                      </a:lnTo>
                      <a:lnTo>
                        <a:pt x="0" y="5"/>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3" name="Freeform 630"/>
                <p:cNvSpPr>
                  <a:spLocks/>
                </p:cNvSpPr>
                <p:nvPr/>
              </p:nvSpPr>
              <p:spPr bwMode="auto">
                <a:xfrm>
                  <a:off x="3867112" y="3130100"/>
                  <a:ext cx="37363" cy="44835"/>
                </a:xfrm>
                <a:custGeom>
                  <a:avLst/>
                  <a:gdLst>
                    <a:gd name="T0" fmla="*/ 5 w 5"/>
                    <a:gd name="T1" fmla="*/ 5 h 6"/>
                    <a:gd name="T2" fmla="*/ 5 w 5"/>
                    <a:gd name="T3" fmla="*/ 5 h 6"/>
                    <a:gd name="T4" fmla="*/ 3 w 5"/>
                    <a:gd name="T5" fmla="*/ 5 h 6"/>
                    <a:gd name="T6" fmla="*/ 3 w 5"/>
                    <a:gd name="T7" fmla="*/ 5 h 6"/>
                    <a:gd name="T8" fmla="*/ 1 w 5"/>
                    <a:gd name="T9" fmla="*/ 5 h 6"/>
                    <a:gd name="T10" fmla="*/ 1 w 5"/>
                    <a:gd name="T11" fmla="*/ 1 h 6"/>
                    <a:gd name="T12" fmla="*/ 3 w 5"/>
                    <a:gd name="T13" fmla="*/ 1 h 6"/>
                    <a:gd name="T14" fmla="*/ 3 w 5"/>
                    <a:gd name="T15" fmla="*/ 2 h 6"/>
                    <a:gd name="T16" fmla="*/ 5 w 5"/>
                    <a:gd name="T17" fmla="*/ 2 h 6"/>
                    <a:gd name="T18" fmla="*/ 5 w 5"/>
                    <a:gd name="T19" fmla="*/ 1 h 6"/>
                    <a:gd name="T20" fmla="*/ 3 w 5"/>
                    <a:gd name="T21" fmla="*/ 1 h 6"/>
                    <a:gd name="T22" fmla="*/ 3 w 5"/>
                    <a:gd name="T23" fmla="*/ 0 h 6"/>
                    <a:gd name="T24" fmla="*/ 1 w 5"/>
                    <a:gd name="T25" fmla="*/ 0 h 6"/>
                    <a:gd name="T26" fmla="*/ 1 w 5"/>
                    <a:gd name="T27" fmla="*/ 1 h 6"/>
                    <a:gd name="T28" fmla="*/ 0 w 5"/>
                    <a:gd name="T29" fmla="*/ 1 h 6"/>
                    <a:gd name="T30" fmla="*/ 0 w 5"/>
                    <a:gd name="T31" fmla="*/ 5 h 6"/>
                    <a:gd name="T32" fmla="*/ 1 w 5"/>
                    <a:gd name="T33" fmla="*/ 5 h 6"/>
                    <a:gd name="T34" fmla="*/ 1 w 5"/>
                    <a:gd name="T35" fmla="*/ 6 h 6"/>
                    <a:gd name="T36" fmla="*/ 3 w 5"/>
                    <a:gd name="T37" fmla="*/ 6 h 6"/>
                    <a:gd name="T38" fmla="*/ 3 w 5"/>
                    <a:gd name="T39" fmla="*/ 5 h 6"/>
                    <a:gd name="T40" fmla="*/ 5 w 5"/>
                    <a:gd name="T41" fmla="*/ 5 h 6"/>
                    <a:gd name="T42" fmla="*/ 5 w 5"/>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6">
                      <a:moveTo>
                        <a:pt x="5" y="5"/>
                      </a:moveTo>
                      <a:lnTo>
                        <a:pt x="5" y="5"/>
                      </a:lnTo>
                      <a:lnTo>
                        <a:pt x="3" y="5"/>
                      </a:lnTo>
                      <a:lnTo>
                        <a:pt x="3" y="5"/>
                      </a:lnTo>
                      <a:lnTo>
                        <a:pt x="1" y="5"/>
                      </a:lnTo>
                      <a:lnTo>
                        <a:pt x="1" y="1"/>
                      </a:lnTo>
                      <a:lnTo>
                        <a:pt x="3" y="1"/>
                      </a:lnTo>
                      <a:lnTo>
                        <a:pt x="3" y="2"/>
                      </a:lnTo>
                      <a:lnTo>
                        <a:pt x="5" y="2"/>
                      </a:lnTo>
                      <a:lnTo>
                        <a:pt x="5" y="1"/>
                      </a:lnTo>
                      <a:lnTo>
                        <a:pt x="3" y="1"/>
                      </a:lnTo>
                      <a:lnTo>
                        <a:pt x="3" y="0"/>
                      </a:lnTo>
                      <a:lnTo>
                        <a:pt x="1" y="0"/>
                      </a:lnTo>
                      <a:lnTo>
                        <a:pt x="1" y="1"/>
                      </a:lnTo>
                      <a:lnTo>
                        <a:pt x="0" y="1"/>
                      </a:lnTo>
                      <a:lnTo>
                        <a:pt x="0" y="5"/>
                      </a:lnTo>
                      <a:lnTo>
                        <a:pt x="1" y="5"/>
                      </a:lnTo>
                      <a:lnTo>
                        <a:pt x="1" y="6"/>
                      </a:lnTo>
                      <a:lnTo>
                        <a:pt x="3" y="6"/>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4" name="Freeform 631"/>
                <p:cNvSpPr>
                  <a:spLocks/>
                </p:cNvSpPr>
                <p:nvPr/>
              </p:nvSpPr>
              <p:spPr bwMode="auto">
                <a:xfrm>
                  <a:off x="3911947" y="3130100"/>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5" name="Freeform 632"/>
                <p:cNvSpPr>
                  <a:spLocks/>
                </p:cNvSpPr>
                <p:nvPr/>
              </p:nvSpPr>
              <p:spPr bwMode="auto">
                <a:xfrm>
                  <a:off x="3941837"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6" name="Freeform 633"/>
                <p:cNvSpPr>
                  <a:spLocks noEditPoints="1"/>
                </p:cNvSpPr>
                <p:nvPr/>
              </p:nvSpPr>
              <p:spPr bwMode="auto">
                <a:xfrm>
                  <a:off x="3971727" y="3130100"/>
                  <a:ext cx="29890" cy="44835"/>
                </a:xfrm>
                <a:custGeom>
                  <a:avLst/>
                  <a:gdLst>
                    <a:gd name="T0" fmla="*/ 4 w 4"/>
                    <a:gd name="T1" fmla="*/ 6 h 6"/>
                    <a:gd name="T2" fmla="*/ 4 w 4"/>
                    <a:gd name="T3" fmla="*/ 3 h 6"/>
                    <a:gd name="T4" fmla="*/ 3 w 4"/>
                    <a:gd name="T5" fmla="*/ 3 h 6"/>
                    <a:gd name="T6" fmla="*/ 3 w 4"/>
                    <a:gd name="T7" fmla="*/ 2 h 6"/>
                    <a:gd name="T8" fmla="*/ 3 w 4"/>
                    <a:gd name="T9" fmla="*/ 2 h 6"/>
                    <a:gd name="T10" fmla="*/ 3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5 h 6"/>
                    <a:gd name="T28" fmla="*/ 3 w 4"/>
                    <a:gd name="T29" fmla="*/ 5 h 6"/>
                    <a:gd name="T30" fmla="*/ 3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3" y="2"/>
                      </a:lnTo>
                      <a:lnTo>
                        <a:pt x="3" y="0"/>
                      </a:lnTo>
                      <a:lnTo>
                        <a:pt x="2" y="0"/>
                      </a:lnTo>
                      <a:lnTo>
                        <a:pt x="2" y="2"/>
                      </a:lnTo>
                      <a:lnTo>
                        <a:pt x="1" y="2"/>
                      </a:lnTo>
                      <a:lnTo>
                        <a:pt x="1" y="3"/>
                      </a:lnTo>
                      <a:lnTo>
                        <a:pt x="0" y="3"/>
                      </a:lnTo>
                      <a:lnTo>
                        <a:pt x="0" y="6"/>
                      </a:lnTo>
                      <a:lnTo>
                        <a:pt x="1" y="6"/>
                      </a:lnTo>
                      <a:lnTo>
                        <a:pt x="1" y="5"/>
                      </a:lnTo>
                      <a:lnTo>
                        <a:pt x="3" y="5"/>
                      </a:lnTo>
                      <a:lnTo>
                        <a:pt x="3"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7" name="Freeform 634"/>
                <p:cNvSpPr>
                  <a:spLocks/>
                </p:cNvSpPr>
                <p:nvPr/>
              </p:nvSpPr>
              <p:spPr bwMode="auto">
                <a:xfrm>
                  <a:off x="4009090" y="313010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8" name="Freeform 635"/>
                <p:cNvSpPr>
                  <a:spLocks/>
                </p:cNvSpPr>
                <p:nvPr/>
              </p:nvSpPr>
              <p:spPr bwMode="auto">
                <a:xfrm>
                  <a:off x="4046452" y="3130100"/>
                  <a:ext cx="29890" cy="44835"/>
                </a:xfrm>
                <a:custGeom>
                  <a:avLst/>
                  <a:gdLst>
                    <a:gd name="T0" fmla="*/ 4 w 4"/>
                    <a:gd name="T1" fmla="*/ 6 h 6"/>
                    <a:gd name="T2" fmla="*/ 4 w 4"/>
                    <a:gd name="T3" fmla="*/ 5 h 6"/>
                    <a:gd name="T4" fmla="*/ 1 w 4"/>
                    <a:gd name="T5" fmla="*/ 5 h 6"/>
                    <a:gd name="T6" fmla="*/ 1 w 4"/>
                    <a:gd name="T7" fmla="*/ 0 h 6"/>
                    <a:gd name="T8" fmla="*/ 0 w 4"/>
                    <a:gd name="T9" fmla="*/ 0 h 6"/>
                    <a:gd name="T10" fmla="*/ 0 w 4"/>
                    <a:gd name="T11" fmla="*/ 6 h 6"/>
                    <a:gd name="T12" fmla="*/ 4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5"/>
                      </a:lnTo>
                      <a:lnTo>
                        <a:pt x="1" y="5"/>
                      </a:lnTo>
                      <a:lnTo>
                        <a:pt x="1"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79" name="Freeform 636"/>
                <p:cNvSpPr>
                  <a:spLocks/>
                </p:cNvSpPr>
                <p:nvPr/>
              </p:nvSpPr>
              <p:spPr bwMode="auto">
                <a:xfrm>
                  <a:off x="4083815" y="3130100"/>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0" name="Freeform 637"/>
                <p:cNvSpPr>
                  <a:spLocks/>
                </p:cNvSpPr>
                <p:nvPr/>
              </p:nvSpPr>
              <p:spPr bwMode="auto">
                <a:xfrm>
                  <a:off x="4098760"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1" name="Freeform 638"/>
                <p:cNvSpPr>
                  <a:spLocks/>
                </p:cNvSpPr>
                <p:nvPr/>
              </p:nvSpPr>
              <p:spPr bwMode="auto">
                <a:xfrm>
                  <a:off x="4136122" y="3130100"/>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2" name="Freeform 639"/>
                <p:cNvSpPr>
                  <a:spLocks/>
                </p:cNvSpPr>
                <p:nvPr/>
              </p:nvSpPr>
              <p:spPr bwMode="auto">
                <a:xfrm>
                  <a:off x="4166013"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3" name="Freeform 640"/>
                <p:cNvSpPr>
                  <a:spLocks/>
                </p:cNvSpPr>
                <p:nvPr/>
              </p:nvSpPr>
              <p:spPr bwMode="auto">
                <a:xfrm>
                  <a:off x="4203375" y="3130100"/>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5 h 6"/>
                    <a:gd name="T44" fmla="*/ 0 w 4"/>
                    <a:gd name="T45" fmla="*/ 5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4" name="Freeform 641"/>
                <p:cNvSpPr>
                  <a:spLocks/>
                </p:cNvSpPr>
                <p:nvPr/>
              </p:nvSpPr>
              <p:spPr bwMode="auto">
                <a:xfrm>
                  <a:off x="4270628" y="3130100"/>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5" name="Freeform 642"/>
                <p:cNvSpPr>
                  <a:spLocks/>
                </p:cNvSpPr>
                <p:nvPr/>
              </p:nvSpPr>
              <p:spPr bwMode="auto">
                <a:xfrm>
                  <a:off x="4300518" y="3130100"/>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6" name="Freeform 643"/>
                <p:cNvSpPr>
                  <a:spLocks/>
                </p:cNvSpPr>
                <p:nvPr/>
              </p:nvSpPr>
              <p:spPr bwMode="auto">
                <a:xfrm>
                  <a:off x="4330408" y="3130100"/>
                  <a:ext cx="29890" cy="44835"/>
                </a:xfrm>
                <a:custGeom>
                  <a:avLst/>
                  <a:gdLst>
                    <a:gd name="T0" fmla="*/ 4 w 4"/>
                    <a:gd name="T1" fmla="*/ 5 h 6"/>
                    <a:gd name="T2" fmla="*/ 4 w 4"/>
                    <a:gd name="T3" fmla="*/ 3 h 6"/>
                    <a:gd name="T4" fmla="*/ 3 w 4"/>
                    <a:gd name="T5" fmla="*/ 3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3" y="3"/>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7" name="Freeform 644"/>
                <p:cNvSpPr>
                  <a:spLocks/>
                </p:cNvSpPr>
                <p:nvPr/>
              </p:nvSpPr>
              <p:spPr bwMode="auto">
                <a:xfrm>
                  <a:off x="4375243" y="3130100"/>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8" name="Freeform 645"/>
                <p:cNvSpPr>
                  <a:spLocks/>
                </p:cNvSpPr>
                <p:nvPr/>
              </p:nvSpPr>
              <p:spPr bwMode="auto">
                <a:xfrm>
                  <a:off x="4405133" y="3130100"/>
                  <a:ext cx="29890" cy="44835"/>
                </a:xfrm>
                <a:custGeom>
                  <a:avLst/>
                  <a:gdLst>
                    <a:gd name="T0" fmla="*/ 4 w 4"/>
                    <a:gd name="T1" fmla="*/ 6 h 6"/>
                    <a:gd name="T2" fmla="*/ 4 w 4"/>
                    <a:gd name="T3" fmla="*/ 0 h 6"/>
                    <a:gd name="T4" fmla="*/ 3 w 4"/>
                    <a:gd name="T5" fmla="*/ 0 h 6"/>
                    <a:gd name="T6" fmla="*/ 3 w 4"/>
                    <a:gd name="T7" fmla="*/ 3 h 6"/>
                    <a:gd name="T8" fmla="*/ 2 w 4"/>
                    <a:gd name="T9" fmla="*/ 3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2 w 4"/>
                    <a:gd name="T33" fmla="*/ 3 h 6"/>
                    <a:gd name="T34" fmla="*/ 2 w 4"/>
                    <a:gd name="T35" fmla="*/ 5 h 6"/>
                    <a:gd name="T36" fmla="*/ 3 w 4"/>
                    <a:gd name="T37" fmla="*/ 5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89" name="Freeform 646"/>
                <p:cNvSpPr>
                  <a:spLocks noEditPoints="1"/>
                </p:cNvSpPr>
                <p:nvPr/>
              </p:nvSpPr>
              <p:spPr bwMode="auto">
                <a:xfrm>
                  <a:off x="4442496" y="3130100"/>
                  <a:ext cx="29890" cy="44835"/>
                </a:xfrm>
                <a:custGeom>
                  <a:avLst/>
                  <a:gdLst>
                    <a:gd name="T0" fmla="*/ 4 w 4"/>
                    <a:gd name="T1" fmla="*/ 5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5 h 6"/>
                    <a:gd name="T20" fmla="*/ 3 w 4"/>
                    <a:gd name="T21" fmla="*/ 5 h 6"/>
                    <a:gd name="T22" fmla="*/ 3 w 4"/>
                    <a:gd name="T23" fmla="*/ 5 h 6"/>
                    <a:gd name="T24" fmla="*/ 4 w 4"/>
                    <a:gd name="T25" fmla="*/ 5 h 6"/>
                    <a:gd name="T26" fmla="*/ 4 w 4"/>
                    <a:gd name="T27" fmla="*/ 5 h 6"/>
                    <a:gd name="T28" fmla="*/ 3 w 4"/>
                    <a:gd name="T29" fmla="*/ 5 h 6"/>
                    <a:gd name="T30" fmla="*/ 3 w 4"/>
                    <a:gd name="T31" fmla="*/ 5 h 6"/>
                    <a:gd name="T32" fmla="*/ 3 w 4"/>
                    <a:gd name="T33" fmla="*/ 5 h 6"/>
                    <a:gd name="T34" fmla="*/ 1 w 4"/>
                    <a:gd name="T35" fmla="*/ 5 h 6"/>
                    <a:gd name="T36" fmla="*/ 1 w 4"/>
                    <a:gd name="T37" fmla="*/ 1 h 6"/>
                    <a:gd name="T38" fmla="*/ 3 w 4"/>
                    <a:gd name="T39" fmla="*/ 1 h 6"/>
                    <a:gd name="T40" fmla="*/ 3 w 4"/>
                    <a:gd name="T41" fmla="*/ 2 h 6"/>
                    <a:gd name="T42" fmla="*/ 3 w 4"/>
                    <a:gd name="T43" fmla="*/ 2 h 6"/>
                    <a:gd name="T44" fmla="*/ 3 w 4"/>
                    <a:gd name="T45" fmla="*/ 5 h 6"/>
                    <a:gd name="T46" fmla="*/ 3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1"/>
                      </a:lnTo>
                      <a:lnTo>
                        <a:pt x="3" y="1"/>
                      </a:lnTo>
                      <a:lnTo>
                        <a:pt x="3" y="0"/>
                      </a:lnTo>
                      <a:lnTo>
                        <a:pt x="0" y="0"/>
                      </a:lnTo>
                      <a:lnTo>
                        <a:pt x="0" y="6"/>
                      </a:lnTo>
                      <a:lnTo>
                        <a:pt x="3" y="6"/>
                      </a:lnTo>
                      <a:lnTo>
                        <a:pt x="3" y="5"/>
                      </a:lnTo>
                      <a:lnTo>
                        <a:pt x="3" y="5"/>
                      </a:lnTo>
                      <a:lnTo>
                        <a:pt x="3" y="5"/>
                      </a:lnTo>
                      <a:lnTo>
                        <a:pt x="4" y="5"/>
                      </a:lnTo>
                      <a:lnTo>
                        <a:pt x="4" y="5"/>
                      </a:lnTo>
                      <a:close/>
                      <a:moveTo>
                        <a:pt x="3" y="5"/>
                      </a:moveTo>
                      <a:lnTo>
                        <a:pt x="3" y="5"/>
                      </a:lnTo>
                      <a:lnTo>
                        <a:pt x="3" y="5"/>
                      </a:lnTo>
                      <a:lnTo>
                        <a:pt x="1" y="5"/>
                      </a:lnTo>
                      <a:lnTo>
                        <a:pt x="1" y="1"/>
                      </a:lnTo>
                      <a:lnTo>
                        <a:pt x="3" y="1"/>
                      </a:lnTo>
                      <a:lnTo>
                        <a:pt x="3" y="2"/>
                      </a:lnTo>
                      <a:lnTo>
                        <a:pt x="3" y="2"/>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0" name="Freeform 647"/>
                <p:cNvSpPr>
                  <a:spLocks/>
                </p:cNvSpPr>
                <p:nvPr/>
              </p:nvSpPr>
              <p:spPr bwMode="auto">
                <a:xfrm>
                  <a:off x="3149750" y="3234715"/>
                  <a:ext cx="14945" cy="44835"/>
                </a:xfrm>
                <a:custGeom>
                  <a:avLst/>
                  <a:gdLst>
                    <a:gd name="T0" fmla="*/ 2 w 2"/>
                    <a:gd name="T1" fmla="*/ 6 h 6"/>
                    <a:gd name="T2" fmla="*/ 2 w 2"/>
                    <a:gd name="T3" fmla="*/ 0 h 6"/>
                    <a:gd name="T4" fmla="*/ 2 w 2"/>
                    <a:gd name="T5" fmla="*/ 0 h 6"/>
                    <a:gd name="T6" fmla="*/ 2 w 2"/>
                    <a:gd name="T7" fmla="*/ 0 h 6"/>
                    <a:gd name="T8" fmla="*/ 1 w 2"/>
                    <a:gd name="T9" fmla="*/ 0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0"/>
                      </a:lnTo>
                      <a:lnTo>
                        <a:pt x="1" y="0"/>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1" name="Freeform 648"/>
                <p:cNvSpPr>
                  <a:spLocks noEditPoints="1"/>
                </p:cNvSpPr>
                <p:nvPr/>
              </p:nvSpPr>
              <p:spPr bwMode="auto">
                <a:xfrm>
                  <a:off x="3224475" y="3227243"/>
                  <a:ext cx="44835" cy="52308"/>
                </a:xfrm>
                <a:custGeom>
                  <a:avLst/>
                  <a:gdLst>
                    <a:gd name="T0" fmla="*/ 6 w 6"/>
                    <a:gd name="T1" fmla="*/ 4 h 7"/>
                    <a:gd name="T2" fmla="*/ 6 w 6"/>
                    <a:gd name="T3" fmla="*/ 3 h 7"/>
                    <a:gd name="T4" fmla="*/ 4 w 6"/>
                    <a:gd name="T5" fmla="*/ 3 h 7"/>
                    <a:gd name="T6" fmla="*/ 5 w 6"/>
                    <a:gd name="T7" fmla="*/ 1 h 7"/>
                    <a:gd name="T8" fmla="*/ 6 w 6"/>
                    <a:gd name="T9" fmla="*/ 1 h 7"/>
                    <a:gd name="T10" fmla="*/ 6 w 6"/>
                    <a:gd name="T11" fmla="*/ 0 h 7"/>
                    <a:gd name="T12" fmla="*/ 6 w 6"/>
                    <a:gd name="T13" fmla="*/ 1 h 7"/>
                    <a:gd name="T14" fmla="*/ 5 w 6"/>
                    <a:gd name="T15" fmla="*/ 1 h 7"/>
                    <a:gd name="T16" fmla="*/ 4 w 6"/>
                    <a:gd name="T17" fmla="*/ 3 h 7"/>
                    <a:gd name="T18" fmla="*/ 3 w 6"/>
                    <a:gd name="T19" fmla="*/ 1 h 7"/>
                    <a:gd name="T20" fmla="*/ 3 w 6"/>
                    <a:gd name="T21" fmla="*/ 0 h 7"/>
                    <a:gd name="T22" fmla="*/ 1 w 6"/>
                    <a:gd name="T23" fmla="*/ 1 h 7"/>
                    <a:gd name="T24" fmla="*/ 0 w 6"/>
                    <a:gd name="T25" fmla="*/ 3 h 7"/>
                    <a:gd name="T26" fmla="*/ 1 w 6"/>
                    <a:gd name="T27" fmla="*/ 3 h 7"/>
                    <a:gd name="T28" fmla="*/ 3 w 6"/>
                    <a:gd name="T29" fmla="*/ 4 h 7"/>
                    <a:gd name="T30" fmla="*/ 2 w 6"/>
                    <a:gd name="T31" fmla="*/ 5 h 7"/>
                    <a:gd name="T32" fmla="*/ 1 w 6"/>
                    <a:gd name="T33" fmla="*/ 5 h 7"/>
                    <a:gd name="T34" fmla="*/ 0 w 6"/>
                    <a:gd name="T35" fmla="*/ 7 h 7"/>
                    <a:gd name="T36" fmla="*/ 1 w 6"/>
                    <a:gd name="T37" fmla="*/ 5 h 7"/>
                    <a:gd name="T38" fmla="*/ 2 w 6"/>
                    <a:gd name="T39" fmla="*/ 5 h 7"/>
                    <a:gd name="T40" fmla="*/ 3 w 6"/>
                    <a:gd name="T41" fmla="*/ 4 h 7"/>
                    <a:gd name="T42" fmla="*/ 3 w 6"/>
                    <a:gd name="T43" fmla="*/ 5 h 7"/>
                    <a:gd name="T44" fmla="*/ 4 w 6"/>
                    <a:gd name="T45" fmla="*/ 7 h 7"/>
                    <a:gd name="T46" fmla="*/ 6 w 6"/>
                    <a:gd name="T47" fmla="*/ 5 h 7"/>
                    <a:gd name="T48" fmla="*/ 6 w 6"/>
                    <a:gd name="T49" fmla="*/ 5 h 7"/>
                    <a:gd name="T50" fmla="*/ 3 w 6"/>
                    <a:gd name="T51" fmla="*/ 4 h 7"/>
                    <a:gd name="T52" fmla="*/ 4 w 6"/>
                    <a:gd name="T53" fmla="*/ 3 h 7"/>
                    <a:gd name="T54" fmla="*/ 4 w 6"/>
                    <a:gd name="T55" fmla="*/ 4 h 7"/>
                    <a:gd name="T56" fmla="*/ 1 w 6"/>
                    <a:gd name="T57" fmla="*/ 3 h 7"/>
                    <a:gd name="T58" fmla="*/ 3 w 6"/>
                    <a:gd name="T59" fmla="*/ 1 h 7"/>
                    <a:gd name="T60" fmla="*/ 3 w 6"/>
                    <a:gd name="T61" fmla="*/ 3 h 7"/>
                    <a:gd name="T62" fmla="*/ 4 w 6"/>
                    <a:gd name="T63" fmla="*/ 5 h 7"/>
                    <a:gd name="T64" fmla="*/ 6 w 6"/>
                    <a:gd name="T65" fmla="*/ 4 h 7"/>
                    <a:gd name="T66" fmla="*/ 6 w 6"/>
                    <a:gd name="T67" fmla="*/ 5 h 7"/>
                    <a:gd name="T68" fmla="*/ 3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5"/>
                      </a:moveTo>
                      <a:lnTo>
                        <a:pt x="6" y="4"/>
                      </a:lnTo>
                      <a:lnTo>
                        <a:pt x="6" y="4"/>
                      </a:lnTo>
                      <a:lnTo>
                        <a:pt x="6" y="3"/>
                      </a:lnTo>
                      <a:lnTo>
                        <a:pt x="4" y="3"/>
                      </a:lnTo>
                      <a:lnTo>
                        <a:pt x="4" y="3"/>
                      </a:lnTo>
                      <a:lnTo>
                        <a:pt x="5" y="3"/>
                      </a:lnTo>
                      <a:lnTo>
                        <a:pt x="5" y="1"/>
                      </a:lnTo>
                      <a:lnTo>
                        <a:pt x="6" y="1"/>
                      </a:lnTo>
                      <a:lnTo>
                        <a:pt x="6" y="1"/>
                      </a:lnTo>
                      <a:lnTo>
                        <a:pt x="6" y="1"/>
                      </a:lnTo>
                      <a:lnTo>
                        <a:pt x="6" y="0"/>
                      </a:lnTo>
                      <a:lnTo>
                        <a:pt x="6" y="0"/>
                      </a:lnTo>
                      <a:lnTo>
                        <a:pt x="6" y="1"/>
                      </a:lnTo>
                      <a:lnTo>
                        <a:pt x="5" y="1"/>
                      </a:lnTo>
                      <a:lnTo>
                        <a:pt x="5" y="1"/>
                      </a:lnTo>
                      <a:lnTo>
                        <a:pt x="4" y="1"/>
                      </a:lnTo>
                      <a:lnTo>
                        <a:pt x="4" y="3"/>
                      </a:lnTo>
                      <a:lnTo>
                        <a:pt x="3" y="3"/>
                      </a:lnTo>
                      <a:lnTo>
                        <a:pt x="3" y="1"/>
                      </a:lnTo>
                      <a:lnTo>
                        <a:pt x="3" y="1"/>
                      </a:lnTo>
                      <a:lnTo>
                        <a:pt x="3" y="0"/>
                      </a:lnTo>
                      <a:lnTo>
                        <a:pt x="1" y="0"/>
                      </a:lnTo>
                      <a:lnTo>
                        <a:pt x="1" y="1"/>
                      </a:lnTo>
                      <a:lnTo>
                        <a:pt x="0" y="1"/>
                      </a:lnTo>
                      <a:lnTo>
                        <a:pt x="0" y="3"/>
                      </a:lnTo>
                      <a:lnTo>
                        <a:pt x="1" y="3"/>
                      </a:lnTo>
                      <a:lnTo>
                        <a:pt x="1" y="3"/>
                      </a:lnTo>
                      <a:lnTo>
                        <a:pt x="3" y="3"/>
                      </a:lnTo>
                      <a:lnTo>
                        <a:pt x="3" y="4"/>
                      </a:lnTo>
                      <a:lnTo>
                        <a:pt x="2" y="4"/>
                      </a:lnTo>
                      <a:lnTo>
                        <a:pt x="2" y="5"/>
                      </a:lnTo>
                      <a:lnTo>
                        <a:pt x="1" y="5"/>
                      </a:lnTo>
                      <a:lnTo>
                        <a:pt x="1" y="5"/>
                      </a:lnTo>
                      <a:lnTo>
                        <a:pt x="0" y="5"/>
                      </a:lnTo>
                      <a:lnTo>
                        <a:pt x="0" y="7"/>
                      </a:lnTo>
                      <a:lnTo>
                        <a:pt x="1" y="7"/>
                      </a:lnTo>
                      <a:lnTo>
                        <a:pt x="1" y="5"/>
                      </a:lnTo>
                      <a:lnTo>
                        <a:pt x="2" y="5"/>
                      </a:lnTo>
                      <a:lnTo>
                        <a:pt x="2" y="5"/>
                      </a:lnTo>
                      <a:lnTo>
                        <a:pt x="3" y="5"/>
                      </a:lnTo>
                      <a:lnTo>
                        <a:pt x="3" y="4"/>
                      </a:lnTo>
                      <a:lnTo>
                        <a:pt x="3" y="4"/>
                      </a:lnTo>
                      <a:lnTo>
                        <a:pt x="3" y="5"/>
                      </a:lnTo>
                      <a:lnTo>
                        <a:pt x="4" y="5"/>
                      </a:lnTo>
                      <a:lnTo>
                        <a:pt x="4" y="7"/>
                      </a:lnTo>
                      <a:lnTo>
                        <a:pt x="6" y="7"/>
                      </a:lnTo>
                      <a:lnTo>
                        <a:pt x="6" y="5"/>
                      </a:lnTo>
                      <a:lnTo>
                        <a:pt x="6" y="5"/>
                      </a:lnTo>
                      <a:lnTo>
                        <a:pt x="6" y="5"/>
                      </a:lnTo>
                      <a:close/>
                      <a:moveTo>
                        <a:pt x="4" y="4"/>
                      </a:moveTo>
                      <a:lnTo>
                        <a:pt x="3" y="4"/>
                      </a:lnTo>
                      <a:lnTo>
                        <a:pt x="3" y="3"/>
                      </a:lnTo>
                      <a:lnTo>
                        <a:pt x="4" y="3"/>
                      </a:lnTo>
                      <a:lnTo>
                        <a:pt x="4" y="4"/>
                      </a:lnTo>
                      <a:lnTo>
                        <a:pt x="4" y="4"/>
                      </a:lnTo>
                      <a:close/>
                      <a:moveTo>
                        <a:pt x="3" y="3"/>
                      </a:moveTo>
                      <a:lnTo>
                        <a:pt x="1" y="3"/>
                      </a:lnTo>
                      <a:lnTo>
                        <a:pt x="1" y="1"/>
                      </a:lnTo>
                      <a:lnTo>
                        <a:pt x="3" y="1"/>
                      </a:lnTo>
                      <a:lnTo>
                        <a:pt x="3" y="3"/>
                      </a:lnTo>
                      <a:lnTo>
                        <a:pt x="3" y="3"/>
                      </a:lnTo>
                      <a:close/>
                      <a:moveTo>
                        <a:pt x="6" y="5"/>
                      </a:moveTo>
                      <a:lnTo>
                        <a:pt x="4" y="5"/>
                      </a:lnTo>
                      <a:lnTo>
                        <a:pt x="4" y="4"/>
                      </a:lnTo>
                      <a:lnTo>
                        <a:pt x="6" y="4"/>
                      </a:lnTo>
                      <a:lnTo>
                        <a:pt x="6" y="5"/>
                      </a:lnTo>
                      <a:lnTo>
                        <a:pt x="6" y="5"/>
                      </a:lnTo>
                      <a:close/>
                      <a:moveTo>
                        <a:pt x="3" y="3"/>
                      </a:moveTo>
                      <a:lnTo>
                        <a:pt x="3" y="3"/>
                      </a:lnTo>
                      <a:lnTo>
                        <a:pt x="3"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2" name="Freeform 649"/>
                <p:cNvSpPr>
                  <a:spLocks/>
                </p:cNvSpPr>
                <p:nvPr/>
              </p:nvSpPr>
              <p:spPr bwMode="auto">
                <a:xfrm>
                  <a:off x="3381398" y="3234715"/>
                  <a:ext cx="14945" cy="44835"/>
                </a:xfrm>
                <a:custGeom>
                  <a:avLst/>
                  <a:gdLst>
                    <a:gd name="T0" fmla="*/ 2 w 2"/>
                    <a:gd name="T1" fmla="*/ 6 h 6"/>
                    <a:gd name="T2" fmla="*/ 2 w 2"/>
                    <a:gd name="T3" fmla="*/ 0 h 6"/>
                    <a:gd name="T4" fmla="*/ 1 w 2"/>
                    <a:gd name="T5" fmla="*/ 0 h 6"/>
                    <a:gd name="T6" fmla="*/ 1 w 2"/>
                    <a:gd name="T7" fmla="*/ 0 h 6"/>
                    <a:gd name="T8" fmla="*/ 0 w 2"/>
                    <a:gd name="T9" fmla="*/ 0 h 6"/>
                    <a:gd name="T10" fmla="*/ 0 w 2"/>
                    <a:gd name="T11" fmla="*/ 2 h 6"/>
                    <a:gd name="T12" fmla="*/ 0 w 2"/>
                    <a:gd name="T13" fmla="*/ 2 h 6"/>
                    <a:gd name="T14" fmla="*/ 0 w 2"/>
                    <a:gd name="T15" fmla="*/ 2 h 6"/>
                    <a:gd name="T16" fmla="*/ 0 w 2"/>
                    <a:gd name="T17" fmla="*/ 2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0"/>
                      </a:lnTo>
                      <a:lnTo>
                        <a:pt x="0" y="0"/>
                      </a:lnTo>
                      <a:lnTo>
                        <a:pt x="0" y="2"/>
                      </a:lnTo>
                      <a:lnTo>
                        <a:pt x="0" y="2"/>
                      </a:lnTo>
                      <a:lnTo>
                        <a:pt x="0" y="2"/>
                      </a:lnTo>
                      <a:lnTo>
                        <a:pt x="0" y="2"/>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3" name="Freeform 650"/>
                <p:cNvSpPr>
                  <a:spLocks noEditPoints="1"/>
                </p:cNvSpPr>
                <p:nvPr/>
              </p:nvSpPr>
              <p:spPr bwMode="auto">
                <a:xfrm>
                  <a:off x="340381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4" name="Freeform 651"/>
                <p:cNvSpPr>
                  <a:spLocks noEditPoints="1"/>
                </p:cNvSpPr>
                <p:nvPr/>
              </p:nvSpPr>
              <p:spPr bwMode="auto">
                <a:xfrm>
                  <a:off x="3441178" y="3234715"/>
                  <a:ext cx="29890" cy="44835"/>
                </a:xfrm>
                <a:custGeom>
                  <a:avLst/>
                  <a:gdLst>
                    <a:gd name="T0" fmla="*/ 4 w 4"/>
                    <a:gd name="T1" fmla="*/ 4 h 6"/>
                    <a:gd name="T2" fmla="*/ 4 w 4"/>
                    <a:gd name="T3" fmla="*/ 0 h 6"/>
                    <a:gd name="T4" fmla="*/ 3 w 4"/>
                    <a:gd name="T5" fmla="*/ 0 h 6"/>
                    <a:gd name="T6" fmla="*/ 3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3 w 4"/>
                    <a:gd name="T21" fmla="*/ 6 h 6"/>
                    <a:gd name="T22" fmla="*/ 3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5" name="Freeform 652"/>
                <p:cNvSpPr>
                  <a:spLocks/>
                </p:cNvSpPr>
                <p:nvPr/>
              </p:nvSpPr>
              <p:spPr bwMode="auto">
                <a:xfrm>
                  <a:off x="3478541" y="3264605"/>
                  <a:ext cx="7473" cy="14945"/>
                </a:xfrm>
                <a:custGeom>
                  <a:avLst/>
                  <a:gdLst>
                    <a:gd name="T0" fmla="*/ 1 w 1"/>
                    <a:gd name="T1" fmla="*/ 2 h 2"/>
                    <a:gd name="T2" fmla="*/ 1 w 1"/>
                    <a:gd name="T3" fmla="*/ 0 h 2"/>
                    <a:gd name="T4" fmla="*/ 0 w 1"/>
                    <a:gd name="T5" fmla="*/ 0 h 2"/>
                    <a:gd name="T6" fmla="*/ 0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0"/>
                      </a:lnTo>
                      <a:lnTo>
                        <a:pt x="0" y="0"/>
                      </a:lnTo>
                      <a:lnTo>
                        <a:pt x="0" y="2"/>
                      </a:lnTo>
                      <a:lnTo>
                        <a:pt x="1" y="2"/>
                      </a:lnTo>
                      <a:lnTo>
                        <a:pt x="1"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6" name="Freeform 653"/>
                <p:cNvSpPr>
                  <a:spLocks noEditPoints="1"/>
                </p:cNvSpPr>
                <p:nvPr/>
              </p:nvSpPr>
              <p:spPr bwMode="auto">
                <a:xfrm>
                  <a:off x="3493486"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4 w 4"/>
                    <a:gd name="T29" fmla="*/ 4 h 6"/>
                    <a:gd name="T30" fmla="*/ 1 w 4"/>
                    <a:gd name="T31" fmla="*/ 4 h 6"/>
                    <a:gd name="T32" fmla="*/ 1 w 4"/>
                    <a:gd name="T33" fmla="*/ 0 h 6"/>
                    <a:gd name="T34" fmla="*/ 4 w 4"/>
                    <a:gd name="T35" fmla="*/ 0 h 6"/>
                    <a:gd name="T36" fmla="*/ 4 w 4"/>
                    <a:gd name="T37" fmla="*/ 4 h 6"/>
                    <a:gd name="T38" fmla="*/ 4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7" name="Freeform 654"/>
                <p:cNvSpPr>
                  <a:spLocks noEditPoints="1"/>
                </p:cNvSpPr>
                <p:nvPr/>
              </p:nvSpPr>
              <p:spPr bwMode="auto">
                <a:xfrm>
                  <a:off x="3530848" y="3234715"/>
                  <a:ext cx="29890" cy="44835"/>
                </a:xfrm>
                <a:custGeom>
                  <a:avLst/>
                  <a:gdLst>
                    <a:gd name="T0" fmla="*/ 4 w 4"/>
                    <a:gd name="T1" fmla="*/ 4 h 6"/>
                    <a:gd name="T2" fmla="*/ 4 w 4"/>
                    <a:gd name="T3" fmla="*/ 0 h 6"/>
                    <a:gd name="T4" fmla="*/ 4 w 4"/>
                    <a:gd name="T5" fmla="*/ 0 h 6"/>
                    <a:gd name="T6" fmla="*/ 4 w 4"/>
                    <a:gd name="T7" fmla="*/ 0 h 6"/>
                    <a:gd name="T8" fmla="*/ 1 w 4"/>
                    <a:gd name="T9" fmla="*/ 0 h 6"/>
                    <a:gd name="T10" fmla="*/ 1 w 4"/>
                    <a:gd name="T11" fmla="*/ 0 h 6"/>
                    <a:gd name="T12" fmla="*/ 0 w 4"/>
                    <a:gd name="T13" fmla="*/ 0 h 6"/>
                    <a:gd name="T14" fmla="*/ 0 w 4"/>
                    <a:gd name="T15" fmla="*/ 4 h 6"/>
                    <a:gd name="T16" fmla="*/ 1 w 4"/>
                    <a:gd name="T17" fmla="*/ 4 h 6"/>
                    <a:gd name="T18" fmla="*/ 1 w 4"/>
                    <a:gd name="T19" fmla="*/ 6 h 6"/>
                    <a:gd name="T20" fmla="*/ 4 w 4"/>
                    <a:gd name="T21" fmla="*/ 6 h 6"/>
                    <a:gd name="T22" fmla="*/ 4 w 4"/>
                    <a:gd name="T23" fmla="*/ 4 h 6"/>
                    <a:gd name="T24" fmla="*/ 4 w 4"/>
                    <a:gd name="T25" fmla="*/ 4 h 6"/>
                    <a:gd name="T26" fmla="*/ 4 w 4"/>
                    <a:gd name="T27" fmla="*/ 4 h 6"/>
                    <a:gd name="T28" fmla="*/ 3 w 4"/>
                    <a:gd name="T29" fmla="*/ 4 h 6"/>
                    <a:gd name="T30" fmla="*/ 1 w 4"/>
                    <a:gd name="T31" fmla="*/ 4 h 6"/>
                    <a:gd name="T32" fmla="*/ 1 w 4"/>
                    <a:gd name="T33" fmla="*/ 0 h 6"/>
                    <a:gd name="T34" fmla="*/ 3 w 4"/>
                    <a:gd name="T35" fmla="*/ 0 h 6"/>
                    <a:gd name="T36" fmla="*/ 3 w 4"/>
                    <a:gd name="T37" fmla="*/ 4 h 6"/>
                    <a:gd name="T38" fmla="*/ 3 w 4"/>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4"/>
                      </a:moveTo>
                      <a:lnTo>
                        <a:pt x="4" y="0"/>
                      </a:lnTo>
                      <a:lnTo>
                        <a:pt x="4" y="0"/>
                      </a:lnTo>
                      <a:lnTo>
                        <a:pt x="4" y="0"/>
                      </a:lnTo>
                      <a:lnTo>
                        <a:pt x="1" y="0"/>
                      </a:lnTo>
                      <a:lnTo>
                        <a:pt x="1" y="0"/>
                      </a:lnTo>
                      <a:lnTo>
                        <a:pt x="0" y="0"/>
                      </a:lnTo>
                      <a:lnTo>
                        <a:pt x="0" y="4"/>
                      </a:lnTo>
                      <a:lnTo>
                        <a:pt x="1" y="4"/>
                      </a:lnTo>
                      <a:lnTo>
                        <a:pt x="1" y="6"/>
                      </a:lnTo>
                      <a:lnTo>
                        <a:pt x="4" y="6"/>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8" name="Freeform 655"/>
                <p:cNvSpPr>
                  <a:spLocks noEditPoints="1"/>
                </p:cNvSpPr>
                <p:nvPr/>
              </p:nvSpPr>
              <p:spPr bwMode="auto">
                <a:xfrm>
                  <a:off x="3575683" y="3234715"/>
                  <a:ext cx="22418" cy="44835"/>
                </a:xfrm>
                <a:custGeom>
                  <a:avLst/>
                  <a:gdLst>
                    <a:gd name="T0" fmla="*/ 3 w 3"/>
                    <a:gd name="T1" fmla="*/ 4 h 6"/>
                    <a:gd name="T2" fmla="*/ 3 w 3"/>
                    <a:gd name="T3" fmla="*/ 0 h 6"/>
                    <a:gd name="T4" fmla="*/ 2 w 3"/>
                    <a:gd name="T5" fmla="*/ 0 h 6"/>
                    <a:gd name="T6" fmla="*/ 2 w 3"/>
                    <a:gd name="T7" fmla="*/ 0 h 6"/>
                    <a:gd name="T8" fmla="*/ 0 w 3"/>
                    <a:gd name="T9" fmla="*/ 0 h 6"/>
                    <a:gd name="T10" fmla="*/ 0 w 3"/>
                    <a:gd name="T11" fmla="*/ 0 h 6"/>
                    <a:gd name="T12" fmla="*/ 0 w 3"/>
                    <a:gd name="T13" fmla="*/ 0 h 6"/>
                    <a:gd name="T14" fmla="*/ 0 w 3"/>
                    <a:gd name="T15" fmla="*/ 4 h 6"/>
                    <a:gd name="T16" fmla="*/ 0 w 3"/>
                    <a:gd name="T17" fmla="*/ 4 h 6"/>
                    <a:gd name="T18" fmla="*/ 0 w 3"/>
                    <a:gd name="T19" fmla="*/ 6 h 6"/>
                    <a:gd name="T20" fmla="*/ 2 w 3"/>
                    <a:gd name="T21" fmla="*/ 6 h 6"/>
                    <a:gd name="T22" fmla="*/ 2 w 3"/>
                    <a:gd name="T23" fmla="*/ 4 h 6"/>
                    <a:gd name="T24" fmla="*/ 3 w 3"/>
                    <a:gd name="T25" fmla="*/ 4 h 6"/>
                    <a:gd name="T26" fmla="*/ 3 w 3"/>
                    <a:gd name="T27" fmla="*/ 4 h 6"/>
                    <a:gd name="T28" fmla="*/ 2 w 3"/>
                    <a:gd name="T29" fmla="*/ 4 h 6"/>
                    <a:gd name="T30" fmla="*/ 0 w 3"/>
                    <a:gd name="T31" fmla="*/ 4 h 6"/>
                    <a:gd name="T32" fmla="*/ 0 w 3"/>
                    <a:gd name="T33" fmla="*/ 0 h 6"/>
                    <a:gd name="T34" fmla="*/ 2 w 3"/>
                    <a:gd name="T35" fmla="*/ 0 h 6"/>
                    <a:gd name="T36" fmla="*/ 2 w 3"/>
                    <a:gd name="T37" fmla="*/ 4 h 6"/>
                    <a:gd name="T38" fmla="*/ 2 w 3"/>
                    <a:gd name="T3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4"/>
                      </a:moveTo>
                      <a:lnTo>
                        <a:pt x="3" y="0"/>
                      </a:lnTo>
                      <a:lnTo>
                        <a:pt x="2" y="0"/>
                      </a:lnTo>
                      <a:lnTo>
                        <a:pt x="2" y="0"/>
                      </a:lnTo>
                      <a:lnTo>
                        <a:pt x="0" y="0"/>
                      </a:lnTo>
                      <a:lnTo>
                        <a:pt x="0" y="0"/>
                      </a:lnTo>
                      <a:lnTo>
                        <a:pt x="0" y="0"/>
                      </a:lnTo>
                      <a:lnTo>
                        <a:pt x="0" y="4"/>
                      </a:lnTo>
                      <a:lnTo>
                        <a:pt x="0" y="4"/>
                      </a:lnTo>
                      <a:lnTo>
                        <a:pt x="0" y="6"/>
                      </a:lnTo>
                      <a:lnTo>
                        <a:pt x="2" y="6"/>
                      </a:lnTo>
                      <a:lnTo>
                        <a:pt x="2" y="4"/>
                      </a:lnTo>
                      <a:lnTo>
                        <a:pt x="3" y="4"/>
                      </a:lnTo>
                      <a:lnTo>
                        <a:pt x="3"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499" name="Freeform 656"/>
                <p:cNvSpPr>
                  <a:spLocks/>
                </p:cNvSpPr>
                <p:nvPr/>
              </p:nvSpPr>
              <p:spPr bwMode="auto">
                <a:xfrm>
                  <a:off x="3149750" y="3309440"/>
                  <a:ext cx="29890" cy="37363"/>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0" name="Freeform 657"/>
                <p:cNvSpPr>
                  <a:spLocks noEditPoints="1"/>
                </p:cNvSpPr>
                <p:nvPr/>
              </p:nvSpPr>
              <p:spPr bwMode="auto">
                <a:xfrm>
                  <a:off x="3239420" y="3309440"/>
                  <a:ext cx="44835" cy="37363"/>
                </a:xfrm>
                <a:custGeom>
                  <a:avLst/>
                  <a:gdLst>
                    <a:gd name="T0" fmla="*/ 6 w 6"/>
                    <a:gd name="T1" fmla="*/ 3 h 5"/>
                    <a:gd name="T2" fmla="*/ 5 w 6"/>
                    <a:gd name="T3" fmla="*/ 3 h 5"/>
                    <a:gd name="T4" fmla="*/ 4 w 6"/>
                    <a:gd name="T5" fmla="*/ 2 h 5"/>
                    <a:gd name="T6" fmla="*/ 4 w 6"/>
                    <a:gd name="T7" fmla="*/ 1 h 5"/>
                    <a:gd name="T8" fmla="*/ 5 w 6"/>
                    <a:gd name="T9" fmla="*/ 0 h 5"/>
                    <a:gd name="T10" fmla="*/ 6 w 6"/>
                    <a:gd name="T11" fmla="*/ 0 h 5"/>
                    <a:gd name="T12" fmla="*/ 5 w 6"/>
                    <a:gd name="T13" fmla="*/ 0 h 5"/>
                    <a:gd name="T14" fmla="*/ 4 w 6"/>
                    <a:gd name="T15" fmla="*/ 1 h 5"/>
                    <a:gd name="T16" fmla="*/ 4 w 6"/>
                    <a:gd name="T17" fmla="*/ 2 h 5"/>
                    <a:gd name="T18" fmla="*/ 3 w 6"/>
                    <a:gd name="T19" fmla="*/ 0 h 5"/>
                    <a:gd name="T20" fmla="*/ 2 w 6"/>
                    <a:gd name="T21" fmla="*/ 0 h 5"/>
                    <a:gd name="T22" fmla="*/ 1 w 6"/>
                    <a:gd name="T23" fmla="*/ 0 h 5"/>
                    <a:gd name="T24" fmla="*/ 0 w 6"/>
                    <a:gd name="T25" fmla="*/ 2 h 5"/>
                    <a:gd name="T26" fmla="*/ 1 w 6"/>
                    <a:gd name="T27" fmla="*/ 3 h 5"/>
                    <a:gd name="T28" fmla="*/ 2 w 6"/>
                    <a:gd name="T29" fmla="*/ 3 h 5"/>
                    <a:gd name="T30" fmla="*/ 1 w 6"/>
                    <a:gd name="T31" fmla="*/ 4 h 5"/>
                    <a:gd name="T32" fmla="*/ 1 w 6"/>
                    <a:gd name="T33" fmla="*/ 5 h 5"/>
                    <a:gd name="T34" fmla="*/ 0 w 6"/>
                    <a:gd name="T35" fmla="*/ 5 h 5"/>
                    <a:gd name="T36" fmla="*/ 1 w 6"/>
                    <a:gd name="T37" fmla="*/ 5 h 5"/>
                    <a:gd name="T38" fmla="*/ 1 w 6"/>
                    <a:gd name="T39" fmla="*/ 4 h 5"/>
                    <a:gd name="T40" fmla="*/ 2 w 6"/>
                    <a:gd name="T41" fmla="*/ 3 h 5"/>
                    <a:gd name="T42" fmla="*/ 3 w 6"/>
                    <a:gd name="T43" fmla="*/ 5 h 5"/>
                    <a:gd name="T44" fmla="*/ 4 w 6"/>
                    <a:gd name="T45" fmla="*/ 5 h 5"/>
                    <a:gd name="T46" fmla="*/ 5 w 6"/>
                    <a:gd name="T47" fmla="*/ 5 h 5"/>
                    <a:gd name="T48" fmla="*/ 6 w 6"/>
                    <a:gd name="T49" fmla="*/ 5 h 5"/>
                    <a:gd name="T50" fmla="*/ 3 w 6"/>
                    <a:gd name="T51" fmla="*/ 3 h 5"/>
                    <a:gd name="T52" fmla="*/ 4 w 6"/>
                    <a:gd name="T53" fmla="*/ 3 h 5"/>
                    <a:gd name="T54" fmla="*/ 4 w 6"/>
                    <a:gd name="T55" fmla="*/ 3 h 5"/>
                    <a:gd name="T56" fmla="*/ 1 w 6"/>
                    <a:gd name="T57" fmla="*/ 2 h 5"/>
                    <a:gd name="T58" fmla="*/ 2 w 6"/>
                    <a:gd name="T59" fmla="*/ 0 h 5"/>
                    <a:gd name="T60" fmla="*/ 2 w 6"/>
                    <a:gd name="T61" fmla="*/ 2 h 5"/>
                    <a:gd name="T62" fmla="*/ 4 w 6"/>
                    <a:gd name="T63" fmla="*/ 5 h 5"/>
                    <a:gd name="T64" fmla="*/ 5 w 6"/>
                    <a:gd name="T65" fmla="*/ 3 h 5"/>
                    <a:gd name="T66" fmla="*/ 5 w 6"/>
                    <a:gd name="T67" fmla="*/ 5 h 5"/>
                    <a:gd name="T68" fmla="*/ 2 w 6"/>
                    <a:gd name="T69" fmla="*/ 3 h 5"/>
                    <a:gd name="T70" fmla="*/ 3 w 6"/>
                    <a:gd name="T71" fmla="*/ 2 h 5"/>
                    <a:gd name="T72" fmla="*/ 3 w 6"/>
                    <a:gd name="T7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5">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1" y="0"/>
                      </a:lnTo>
                      <a:lnTo>
                        <a:pt x="1" y="0"/>
                      </a:lnTo>
                      <a:lnTo>
                        <a:pt x="0" y="0"/>
                      </a:lnTo>
                      <a:lnTo>
                        <a:pt x="0" y="2"/>
                      </a:lnTo>
                      <a:lnTo>
                        <a:pt x="1" y="2"/>
                      </a:lnTo>
                      <a:lnTo>
                        <a:pt x="1" y="3"/>
                      </a:lnTo>
                      <a:lnTo>
                        <a:pt x="2" y="3"/>
                      </a:lnTo>
                      <a:lnTo>
                        <a:pt x="2" y="3"/>
                      </a:lnTo>
                      <a:lnTo>
                        <a:pt x="1" y="3"/>
                      </a:lnTo>
                      <a:lnTo>
                        <a:pt x="1" y="4"/>
                      </a:lnTo>
                      <a:lnTo>
                        <a:pt x="1" y="4"/>
                      </a:lnTo>
                      <a:lnTo>
                        <a:pt x="1" y="5"/>
                      </a:lnTo>
                      <a:lnTo>
                        <a:pt x="0" y="5"/>
                      </a:lnTo>
                      <a:lnTo>
                        <a:pt x="0" y="5"/>
                      </a:lnTo>
                      <a:lnTo>
                        <a:pt x="1" y="5"/>
                      </a:lnTo>
                      <a:lnTo>
                        <a:pt x="1" y="5"/>
                      </a:lnTo>
                      <a:lnTo>
                        <a:pt x="1" y="5"/>
                      </a:lnTo>
                      <a:lnTo>
                        <a:pt x="1" y="4"/>
                      </a:lnTo>
                      <a:lnTo>
                        <a:pt x="2" y="4"/>
                      </a:lnTo>
                      <a:lnTo>
                        <a:pt x="2" y="3"/>
                      </a:lnTo>
                      <a:lnTo>
                        <a:pt x="3" y="3"/>
                      </a:lnTo>
                      <a:lnTo>
                        <a:pt x="3" y="5"/>
                      </a:lnTo>
                      <a:lnTo>
                        <a:pt x="4" y="5"/>
                      </a:lnTo>
                      <a:lnTo>
                        <a:pt x="4" y="5"/>
                      </a:lnTo>
                      <a:lnTo>
                        <a:pt x="5" y="5"/>
                      </a:lnTo>
                      <a:lnTo>
                        <a:pt x="5" y="5"/>
                      </a:lnTo>
                      <a:lnTo>
                        <a:pt x="6" y="5"/>
                      </a:lnTo>
                      <a:lnTo>
                        <a:pt x="6" y="5"/>
                      </a:lnTo>
                      <a:close/>
                      <a:moveTo>
                        <a:pt x="4" y="3"/>
                      </a:moveTo>
                      <a:lnTo>
                        <a:pt x="3" y="3"/>
                      </a:lnTo>
                      <a:lnTo>
                        <a:pt x="3" y="3"/>
                      </a:lnTo>
                      <a:lnTo>
                        <a:pt x="4" y="3"/>
                      </a:lnTo>
                      <a:lnTo>
                        <a:pt x="4" y="3"/>
                      </a:lnTo>
                      <a:lnTo>
                        <a:pt x="4" y="3"/>
                      </a:lnTo>
                      <a:close/>
                      <a:moveTo>
                        <a:pt x="2" y="2"/>
                      </a:moveTo>
                      <a:lnTo>
                        <a:pt x="1" y="2"/>
                      </a:lnTo>
                      <a:lnTo>
                        <a:pt x="1"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1" name="Freeform 658"/>
                <p:cNvSpPr>
                  <a:spLocks/>
                </p:cNvSpPr>
                <p:nvPr/>
              </p:nvSpPr>
              <p:spPr bwMode="auto">
                <a:xfrm>
                  <a:off x="3381398" y="3309440"/>
                  <a:ext cx="29890" cy="37363"/>
                </a:xfrm>
                <a:custGeom>
                  <a:avLst/>
                  <a:gdLst>
                    <a:gd name="T0" fmla="*/ 4 w 4"/>
                    <a:gd name="T1" fmla="*/ 5 h 5"/>
                    <a:gd name="T2" fmla="*/ 4 w 4"/>
                    <a:gd name="T3" fmla="*/ 3 h 5"/>
                    <a:gd name="T4" fmla="*/ 2 w 4"/>
                    <a:gd name="T5" fmla="*/ 3 h 5"/>
                    <a:gd name="T6" fmla="*/ 2 w 4"/>
                    <a:gd name="T7" fmla="*/ 2 h 5"/>
                    <a:gd name="T8" fmla="*/ 0 w 4"/>
                    <a:gd name="T9" fmla="*/ 2 h 5"/>
                    <a:gd name="T10" fmla="*/ 0 w 4"/>
                    <a:gd name="T11" fmla="*/ 1 h 5"/>
                    <a:gd name="T12" fmla="*/ 4 w 4"/>
                    <a:gd name="T13" fmla="*/ 1 h 5"/>
                    <a:gd name="T14" fmla="*/ 4 w 4"/>
                    <a:gd name="T15" fmla="*/ 0 h 5"/>
                    <a:gd name="T16" fmla="*/ 0 w 4"/>
                    <a:gd name="T17" fmla="*/ 0 h 5"/>
                    <a:gd name="T18" fmla="*/ 0 w 4"/>
                    <a:gd name="T19" fmla="*/ 3 h 5"/>
                    <a:gd name="T20" fmla="*/ 2 w 4"/>
                    <a:gd name="T21" fmla="*/ 3 h 5"/>
                    <a:gd name="T22" fmla="*/ 2 w 4"/>
                    <a:gd name="T23" fmla="*/ 5 h 5"/>
                    <a:gd name="T24" fmla="*/ 0 w 4"/>
                    <a:gd name="T25" fmla="*/ 5 h 5"/>
                    <a:gd name="T26" fmla="*/ 0 w 4"/>
                    <a:gd name="T27" fmla="*/ 4 h 5"/>
                    <a:gd name="T28" fmla="*/ 0 w 4"/>
                    <a:gd name="T29" fmla="*/ 4 h 5"/>
                    <a:gd name="T30" fmla="*/ 0 w 4"/>
                    <a:gd name="T31" fmla="*/ 5 h 5"/>
                    <a:gd name="T32" fmla="*/ 0 w 4"/>
                    <a:gd name="T33" fmla="*/ 5 h 5"/>
                    <a:gd name="T34" fmla="*/ 0 w 4"/>
                    <a:gd name="T35" fmla="*/ 5 h 5"/>
                    <a:gd name="T36" fmla="*/ 2 w 4"/>
                    <a:gd name="T37" fmla="*/ 5 h 5"/>
                    <a:gd name="T38" fmla="*/ 2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2" y="3"/>
                      </a:lnTo>
                      <a:lnTo>
                        <a:pt x="2" y="2"/>
                      </a:lnTo>
                      <a:lnTo>
                        <a:pt x="0" y="2"/>
                      </a:lnTo>
                      <a:lnTo>
                        <a:pt x="0" y="1"/>
                      </a:lnTo>
                      <a:lnTo>
                        <a:pt x="4" y="1"/>
                      </a:lnTo>
                      <a:lnTo>
                        <a:pt x="4" y="0"/>
                      </a:lnTo>
                      <a:lnTo>
                        <a:pt x="0" y="0"/>
                      </a:lnTo>
                      <a:lnTo>
                        <a:pt x="0" y="3"/>
                      </a:lnTo>
                      <a:lnTo>
                        <a:pt x="2" y="3"/>
                      </a:lnTo>
                      <a:lnTo>
                        <a:pt x="2" y="5"/>
                      </a:lnTo>
                      <a:lnTo>
                        <a:pt x="0" y="5"/>
                      </a:lnTo>
                      <a:lnTo>
                        <a:pt x="0" y="4"/>
                      </a:lnTo>
                      <a:lnTo>
                        <a:pt x="0" y="4"/>
                      </a:lnTo>
                      <a:lnTo>
                        <a:pt x="0" y="5"/>
                      </a:lnTo>
                      <a:lnTo>
                        <a:pt x="0" y="5"/>
                      </a:lnTo>
                      <a:lnTo>
                        <a:pt x="0" y="5"/>
                      </a:lnTo>
                      <a:lnTo>
                        <a:pt x="2" y="5"/>
                      </a:lnTo>
                      <a:lnTo>
                        <a:pt x="2"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2" name="Freeform 659"/>
                <p:cNvSpPr>
                  <a:spLocks/>
                </p:cNvSpPr>
                <p:nvPr/>
              </p:nvSpPr>
              <p:spPr bwMode="auto">
                <a:xfrm>
                  <a:off x="3418761" y="3309440"/>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3" name="Freeform 660"/>
                <p:cNvSpPr>
                  <a:spLocks/>
                </p:cNvSpPr>
                <p:nvPr/>
              </p:nvSpPr>
              <p:spPr bwMode="auto">
                <a:xfrm>
                  <a:off x="3441178" y="3346803"/>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4" name="Freeform 661"/>
                <p:cNvSpPr>
                  <a:spLocks noEditPoints="1"/>
                </p:cNvSpPr>
                <p:nvPr/>
              </p:nvSpPr>
              <p:spPr bwMode="auto">
                <a:xfrm>
                  <a:off x="3456123"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5" name="Freeform 662"/>
                <p:cNvSpPr>
                  <a:spLocks noEditPoints="1"/>
                </p:cNvSpPr>
                <p:nvPr/>
              </p:nvSpPr>
              <p:spPr bwMode="auto">
                <a:xfrm>
                  <a:off x="3500958" y="3309440"/>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3 w 5"/>
                    <a:gd name="T47" fmla="*/ 3 h 5"/>
                    <a:gd name="T48" fmla="*/ 3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3" y="3"/>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6" name="Freeform 663"/>
                <p:cNvSpPr>
                  <a:spLocks/>
                </p:cNvSpPr>
                <p:nvPr/>
              </p:nvSpPr>
              <p:spPr bwMode="auto">
                <a:xfrm>
                  <a:off x="3545793" y="3309440"/>
                  <a:ext cx="29890" cy="37363"/>
                </a:xfrm>
                <a:custGeom>
                  <a:avLst/>
                  <a:gdLst>
                    <a:gd name="T0" fmla="*/ 4 w 4"/>
                    <a:gd name="T1" fmla="*/ 3 h 5"/>
                    <a:gd name="T2" fmla="*/ 4 w 4"/>
                    <a:gd name="T3" fmla="*/ 0 h 5"/>
                    <a:gd name="T4" fmla="*/ 0 w 4"/>
                    <a:gd name="T5" fmla="*/ 0 h 5"/>
                    <a:gd name="T6" fmla="*/ 0 w 4"/>
                    <a:gd name="T7" fmla="*/ 1 h 5"/>
                    <a:gd name="T8" fmla="*/ 3 w 4"/>
                    <a:gd name="T9" fmla="*/ 1 h 5"/>
                    <a:gd name="T10" fmla="*/ 3 w 4"/>
                    <a:gd name="T11" fmla="*/ 3 h 5"/>
                    <a:gd name="T12" fmla="*/ 2 w 4"/>
                    <a:gd name="T13" fmla="*/ 3 h 5"/>
                    <a:gd name="T14" fmla="*/ 2 w 4"/>
                    <a:gd name="T15" fmla="*/ 4 h 5"/>
                    <a:gd name="T16" fmla="*/ 1 w 4"/>
                    <a:gd name="T17" fmla="*/ 4 h 5"/>
                    <a:gd name="T18" fmla="*/ 1 w 4"/>
                    <a:gd name="T19" fmla="*/ 5 h 5"/>
                    <a:gd name="T20" fmla="*/ 2 w 4"/>
                    <a:gd name="T21" fmla="*/ 5 h 5"/>
                    <a:gd name="T22" fmla="*/ 2 w 4"/>
                    <a:gd name="T23" fmla="*/ 4 h 5"/>
                    <a:gd name="T24" fmla="*/ 3 w 4"/>
                    <a:gd name="T25" fmla="*/ 4 h 5"/>
                    <a:gd name="T26" fmla="*/ 3 w 4"/>
                    <a:gd name="T27" fmla="*/ 3 h 5"/>
                    <a:gd name="T28" fmla="*/ 4 w 4"/>
                    <a:gd name="T29" fmla="*/ 3 h 5"/>
                    <a:gd name="T30" fmla="*/ 4 w 4"/>
                    <a:gd name="T3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3"/>
                      </a:moveTo>
                      <a:lnTo>
                        <a:pt x="4" y="0"/>
                      </a:lnTo>
                      <a:lnTo>
                        <a:pt x="0" y="0"/>
                      </a:lnTo>
                      <a:lnTo>
                        <a:pt x="0" y="1"/>
                      </a:lnTo>
                      <a:lnTo>
                        <a:pt x="3" y="1"/>
                      </a:lnTo>
                      <a:lnTo>
                        <a:pt x="3" y="3"/>
                      </a:lnTo>
                      <a:lnTo>
                        <a:pt x="2" y="3"/>
                      </a:lnTo>
                      <a:lnTo>
                        <a:pt x="2" y="4"/>
                      </a:lnTo>
                      <a:lnTo>
                        <a:pt x="1" y="4"/>
                      </a:lnTo>
                      <a:lnTo>
                        <a:pt x="1" y="5"/>
                      </a:lnTo>
                      <a:lnTo>
                        <a:pt x="2" y="5"/>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7" name="Freeform 664"/>
                <p:cNvSpPr>
                  <a:spLocks/>
                </p:cNvSpPr>
                <p:nvPr/>
              </p:nvSpPr>
              <p:spPr bwMode="auto">
                <a:xfrm>
                  <a:off x="3149750" y="3391638"/>
                  <a:ext cx="29890" cy="37363"/>
                </a:xfrm>
                <a:custGeom>
                  <a:avLst/>
                  <a:gdLst>
                    <a:gd name="T0" fmla="*/ 4 w 4"/>
                    <a:gd name="T1" fmla="*/ 4 h 5"/>
                    <a:gd name="T2" fmla="*/ 4 w 4"/>
                    <a:gd name="T3" fmla="*/ 3 h 5"/>
                    <a:gd name="T4" fmla="*/ 3 w 4"/>
                    <a:gd name="T5" fmla="*/ 3 h 5"/>
                    <a:gd name="T6" fmla="*/ 3 w 4"/>
                    <a:gd name="T7" fmla="*/ 2 h 5"/>
                    <a:gd name="T8" fmla="*/ 2 w 4"/>
                    <a:gd name="T9" fmla="*/ 2 h 5"/>
                    <a:gd name="T10" fmla="*/ 2 w 4"/>
                    <a:gd name="T11" fmla="*/ 1 h 5"/>
                    <a:gd name="T12" fmla="*/ 3 w 4"/>
                    <a:gd name="T13" fmla="*/ 1 h 5"/>
                    <a:gd name="T14" fmla="*/ 3 w 4"/>
                    <a:gd name="T15" fmla="*/ 0 h 5"/>
                    <a:gd name="T16" fmla="*/ 4 w 4"/>
                    <a:gd name="T17" fmla="*/ 0 h 5"/>
                    <a:gd name="T18" fmla="*/ 4 w 4"/>
                    <a:gd name="T19" fmla="*/ 0 h 5"/>
                    <a:gd name="T20" fmla="*/ 0 w 4"/>
                    <a:gd name="T21" fmla="*/ 0 h 5"/>
                    <a:gd name="T22" fmla="*/ 0 w 4"/>
                    <a:gd name="T23" fmla="*/ 0 h 5"/>
                    <a:gd name="T24" fmla="*/ 2 w 4"/>
                    <a:gd name="T25" fmla="*/ 0 h 5"/>
                    <a:gd name="T26" fmla="*/ 2 w 4"/>
                    <a:gd name="T27" fmla="*/ 1 h 5"/>
                    <a:gd name="T28" fmla="*/ 2 w 4"/>
                    <a:gd name="T29" fmla="*/ 1 h 5"/>
                    <a:gd name="T30" fmla="*/ 2 w 4"/>
                    <a:gd name="T31" fmla="*/ 2 h 5"/>
                    <a:gd name="T32" fmla="*/ 1 w 4"/>
                    <a:gd name="T33" fmla="*/ 2 h 5"/>
                    <a:gd name="T34" fmla="*/ 1 w 4"/>
                    <a:gd name="T35" fmla="*/ 3 h 5"/>
                    <a:gd name="T36" fmla="*/ 3 w 4"/>
                    <a:gd name="T37" fmla="*/ 3 h 5"/>
                    <a:gd name="T38" fmla="*/ 3 w 4"/>
                    <a:gd name="T39" fmla="*/ 4 h 5"/>
                    <a:gd name="T40" fmla="*/ 1 w 4"/>
                    <a:gd name="T41" fmla="*/ 4 h 5"/>
                    <a:gd name="T42" fmla="*/ 1 w 4"/>
                    <a:gd name="T43" fmla="*/ 4 h 5"/>
                    <a:gd name="T44" fmla="*/ 0 w 4"/>
                    <a:gd name="T45" fmla="*/ 4 h 5"/>
                    <a:gd name="T46" fmla="*/ 0 w 4"/>
                    <a:gd name="T47" fmla="*/ 4 h 5"/>
                    <a:gd name="T48" fmla="*/ 1 w 4"/>
                    <a:gd name="T49" fmla="*/ 4 h 5"/>
                    <a:gd name="T50" fmla="*/ 1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2" y="2"/>
                      </a:lnTo>
                      <a:lnTo>
                        <a:pt x="2" y="1"/>
                      </a:lnTo>
                      <a:lnTo>
                        <a:pt x="3" y="1"/>
                      </a:lnTo>
                      <a:lnTo>
                        <a:pt x="3" y="0"/>
                      </a:lnTo>
                      <a:lnTo>
                        <a:pt x="4" y="0"/>
                      </a:lnTo>
                      <a:lnTo>
                        <a:pt x="4" y="0"/>
                      </a:lnTo>
                      <a:lnTo>
                        <a:pt x="0" y="0"/>
                      </a:lnTo>
                      <a:lnTo>
                        <a:pt x="0" y="0"/>
                      </a:lnTo>
                      <a:lnTo>
                        <a:pt x="2" y="0"/>
                      </a:lnTo>
                      <a:lnTo>
                        <a:pt x="2" y="1"/>
                      </a:lnTo>
                      <a:lnTo>
                        <a:pt x="2" y="1"/>
                      </a:lnTo>
                      <a:lnTo>
                        <a:pt x="2" y="2"/>
                      </a:lnTo>
                      <a:lnTo>
                        <a:pt x="1" y="2"/>
                      </a:lnTo>
                      <a:lnTo>
                        <a:pt x="1" y="3"/>
                      </a:lnTo>
                      <a:lnTo>
                        <a:pt x="3" y="3"/>
                      </a:lnTo>
                      <a:lnTo>
                        <a:pt x="3" y="4"/>
                      </a:lnTo>
                      <a:lnTo>
                        <a:pt x="1" y="4"/>
                      </a:lnTo>
                      <a:lnTo>
                        <a:pt x="1" y="4"/>
                      </a:lnTo>
                      <a:lnTo>
                        <a:pt x="0" y="4"/>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8" name="Freeform 665"/>
                <p:cNvSpPr>
                  <a:spLocks noEditPoints="1"/>
                </p:cNvSpPr>
                <p:nvPr/>
              </p:nvSpPr>
              <p:spPr bwMode="auto">
                <a:xfrm>
                  <a:off x="3239420" y="3384166"/>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5 h 6"/>
                    <a:gd name="T34" fmla="*/ 0 w 6"/>
                    <a:gd name="T35" fmla="*/ 6 h 6"/>
                    <a:gd name="T36" fmla="*/ 1 w 6"/>
                    <a:gd name="T37" fmla="*/ 5 h 6"/>
                    <a:gd name="T38" fmla="*/ 1 w 6"/>
                    <a:gd name="T39" fmla="*/ 5 h 6"/>
                    <a:gd name="T40" fmla="*/ 2 w 6"/>
                    <a:gd name="T41" fmla="*/ 4 h 6"/>
                    <a:gd name="T42" fmla="*/ 3 w 6"/>
                    <a:gd name="T43" fmla="*/ 5 h 6"/>
                    <a:gd name="T44" fmla="*/ 4 w 6"/>
                    <a:gd name="T45" fmla="*/ 6 h 6"/>
                    <a:gd name="T46" fmla="*/ 5 w 6"/>
                    <a:gd name="T47" fmla="*/ 5 h 6"/>
                    <a:gd name="T48" fmla="*/ 6 w 6"/>
                    <a:gd name="T49" fmla="*/ 5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5 h 6"/>
                    <a:gd name="T64" fmla="*/ 5 w 6"/>
                    <a:gd name="T65" fmla="*/ 4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5"/>
                      </a:lnTo>
                      <a:lnTo>
                        <a:pt x="0" y="5"/>
                      </a:lnTo>
                      <a:lnTo>
                        <a:pt x="0" y="6"/>
                      </a:lnTo>
                      <a:lnTo>
                        <a:pt x="1" y="6"/>
                      </a:lnTo>
                      <a:lnTo>
                        <a:pt x="1" y="5"/>
                      </a:lnTo>
                      <a:lnTo>
                        <a:pt x="1" y="5"/>
                      </a:lnTo>
                      <a:lnTo>
                        <a:pt x="1" y="5"/>
                      </a:lnTo>
                      <a:lnTo>
                        <a:pt x="2" y="5"/>
                      </a:lnTo>
                      <a:lnTo>
                        <a:pt x="2" y="4"/>
                      </a:lnTo>
                      <a:lnTo>
                        <a:pt x="3" y="4"/>
                      </a:lnTo>
                      <a:lnTo>
                        <a:pt x="3" y="5"/>
                      </a:lnTo>
                      <a:lnTo>
                        <a:pt x="4" y="5"/>
                      </a:lnTo>
                      <a:lnTo>
                        <a:pt x="4" y="6"/>
                      </a:lnTo>
                      <a:lnTo>
                        <a:pt x="5" y="6"/>
                      </a:lnTo>
                      <a:lnTo>
                        <a:pt x="5" y="5"/>
                      </a:lnTo>
                      <a:lnTo>
                        <a:pt x="6" y="5"/>
                      </a:lnTo>
                      <a:lnTo>
                        <a:pt x="6" y="5"/>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5"/>
                      </a:moveTo>
                      <a:lnTo>
                        <a:pt x="4" y="5"/>
                      </a:lnTo>
                      <a:lnTo>
                        <a:pt x="4" y="4"/>
                      </a:lnTo>
                      <a:lnTo>
                        <a:pt x="5" y="4"/>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09" name="Freeform 666"/>
                <p:cNvSpPr>
                  <a:spLocks/>
                </p:cNvSpPr>
                <p:nvPr/>
              </p:nvSpPr>
              <p:spPr bwMode="auto">
                <a:xfrm>
                  <a:off x="3381398" y="3391638"/>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1 h 5"/>
                    <a:gd name="T12" fmla="*/ 0 w 2"/>
                    <a:gd name="T13" fmla="*/ 1 h 5"/>
                    <a:gd name="T14" fmla="*/ 0 w 2"/>
                    <a:gd name="T15" fmla="*/ 2 h 5"/>
                    <a:gd name="T16" fmla="*/ 0 w 2"/>
                    <a:gd name="T17" fmla="*/ 2 h 5"/>
                    <a:gd name="T18" fmla="*/ 0 w 2"/>
                    <a:gd name="T19" fmla="*/ 1 h 5"/>
                    <a:gd name="T20" fmla="*/ 1 w 2"/>
                    <a:gd name="T21" fmla="*/ 1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1"/>
                      </a:lnTo>
                      <a:lnTo>
                        <a:pt x="0" y="1"/>
                      </a:lnTo>
                      <a:lnTo>
                        <a:pt x="0" y="2"/>
                      </a:lnTo>
                      <a:lnTo>
                        <a:pt x="0" y="2"/>
                      </a:lnTo>
                      <a:lnTo>
                        <a:pt x="0" y="1"/>
                      </a:lnTo>
                      <a:lnTo>
                        <a:pt x="1" y="1"/>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0" name="Freeform 667"/>
                <p:cNvSpPr>
                  <a:spLocks noEditPoints="1"/>
                </p:cNvSpPr>
                <p:nvPr/>
              </p:nvSpPr>
              <p:spPr bwMode="auto">
                <a:xfrm>
                  <a:off x="340381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1" name="Freeform 668"/>
                <p:cNvSpPr>
                  <a:spLocks noEditPoints="1"/>
                </p:cNvSpPr>
                <p:nvPr/>
              </p:nvSpPr>
              <p:spPr bwMode="auto">
                <a:xfrm>
                  <a:off x="3441178" y="3391638"/>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2" name="Freeform 669"/>
                <p:cNvSpPr>
                  <a:spLocks/>
                </p:cNvSpPr>
                <p:nvPr/>
              </p:nvSpPr>
              <p:spPr bwMode="auto">
                <a:xfrm>
                  <a:off x="3478541" y="3421528"/>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3" name="Freeform 670"/>
                <p:cNvSpPr>
                  <a:spLocks noEditPoints="1"/>
                </p:cNvSpPr>
                <p:nvPr/>
              </p:nvSpPr>
              <p:spPr bwMode="auto">
                <a:xfrm>
                  <a:off x="3493486"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4" name="Freeform 671"/>
                <p:cNvSpPr>
                  <a:spLocks noEditPoints="1"/>
                </p:cNvSpPr>
                <p:nvPr/>
              </p:nvSpPr>
              <p:spPr bwMode="auto">
                <a:xfrm>
                  <a:off x="3530848" y="3391638"/>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5" name="Freeform 672"/>
                <p:cNvSpPr>
                  <a:spLocks noEditPoints="1"/>
                </p:cNvSpPr>
                <p:nvPr/>
              </p:nvSpPr>
              <p:spPr bwMode="auto">
                <a:xfrm>
                  <a:off x="3575683" y="3391638"/>
                  <a:ext cx="29890" cy="37363"/>
                </a:xfrm>
                <a:custGeom>
                  <a:avLst/>
                  <a:gdLst>
                    <a:gd name="T0" fmla="*/ 4 w 4"/>
                    <a:gd name="T1" fmla="*/ 4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2 w 4"/>
                    <a:gd name="T21" fmla="*/ 5 h 5"/>
                    <a:gd name="T22" fmla="*/ 2 w 4"/>
                    <a:gd name="T23" fmla="*/ 4 h 5"/>
                    <a:gd name="T24" fmla="*/ 4 w 4"/>
                    <a:gd name="T25" fmla="*/ 4 h 5"/>
                    <a:gd name="T26" fmla="*/ 4 w 4"/>
                    <a:gd name="T27" fmla="*/ 4 h 5"/>
                    <a:gd name="T28" fmla="*/ 2 w 4"/>
                    <a:gd name="T29" fmla="*/ 4 h 5"/>
                    <a:gd name="T30" fmla="*/ 0 w 4"/>
                    <a:gd name="T31" fmla="*/ 4 h 5"/>
                    <a:gd name="T32" fmla="*/ 0 w 4"/>
                    <a:gd name="T33" fmla="*/ 0 h 5"/>
                    <a:gd name="T34" fmla="*/ 2 w 4"/>
                    <a:gd name="T35" fmla="*/ 0 h 5"/>
                    <a:gd name="T36" fmla="*/ 2 w 4"/>
                    <a:gd name="T37" fmla="*/ 4 h 5"/>
                    <a:gd name="T38" fmla="*/ 2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2" y="0"/>
                      </a:lnTo>
                      <a:lnTo>
                        <a:pt x="2" y="0"/>
                      </a:lnTo>
                      <a:lnTo>
                        <a:pt x="0" y="0"/>
                      </a:lnTo>
                      <a:lnTo>
                        <a:pt x="0" y="0"/>
                      </a:lnTo>
                      <a:lnTo>
                        <a:pt x="0" y="0"/>
                      </a:lnTo>
                      <a:lnTo>
                        <a:pt x="0" y="4"/>
                      </a:lnTo>
                      <a:lnTo>
                        <a:pt x="0" y="4"/>
                      </a:lnTo>
                      <a:lnTo>
                        <a:pt x="0" y="5"/>
                      </a:lnTo>
                      <a:lnTo>
                        <a:pt x="2" y="5"/>
                      </a:lnTo>
                      <a:lnTo>
                        <a:pt x="2" y="4"/>
                      </a:lnTo>
                      <a:lnTo>
                        <a:pt x="4" y="4"/>
                      </a:lnTo>
                      <a:lnTo>
                        <a:pt x="4" y="4"/>
                      </a:lnTo>
                      <a:close/>
                      <a:moveTo>
                        <a:pt x="2" y="4"/>
                      </a:moveTo>
                      <a:lnTo>
                        <a:pt x="0" y="4"/>
                      </a:lnTo>
                      <a:lnTo>
                        <a:pt x="0" y="0"/>
                      </a:lnTo>
                      <a:lnTo>
                        <a:pt x="2" y="0"/>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6" name="Freeform 673"/>
                <p:cNvSpPr>
                  <a:spLocks noEditPoints="1"/>
                </p:cNvSpPr>
                <p:nvPr/>
              </p:nvSpPr>
              <p:spPr bwMode="auto">
                <a:xfrm>
                  <a:off x="3149750"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2"/>
                      </a:lnTo>
                      <a:lnTo>
                        <a:pt x="1" y="2"/>
                      </a:lnTo>
                      <a:lnTo>
                        <a:pt x="1" y="3"/>
                      </a:lnTo>
                      <a:lnTo>
                        <a:pt x="0" y="3"/>
                      </a:lnTo>
                      <a:lnTo>
                        <a:pt x="0" y="4"/>
                      </a:lnTo>
                      <a:lnTo>
                        <a:pt x="3" y="4"/>
                      </a:lnTo>
                      <a:lnTo>
                        <a:pt x="3" y="5"/>
                      </a:lnTo>
                      <a:lnTo>
                        <a:pt x="4" y="5"/>
                      </a:lnTo>
                      <a:lnTo>
                        <a:pt x="4" y="4"/>
                      </a:lnTo>
                      <a:lnTo>
                        <a:pt x="5" y="4"/>
                      </a:lnTo>
                      <a:lnTo>
                        <a:pt x="5" y="4"/>
                      </a:lnTo>
                      <a:close/>
                      <a:moveTo>
                        <a:pt x="3" y="3"/>
                      </a:moveTo>
                      <a:lnTo>
                        <a:pt x="2" y="3"/>
                      </a:lnTo>
                      <a:lnTo>
                        <a:pt x="2"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7" name="Freeform 674"/>
                <p:cNvSpPr>
                  <a:spLocks noEditPoints="1"/>
                </p:cNvSpPr>
                <p:nvPr/>
              </p:nvSpPr>
              <p:spPr bwMode="auto">
                <a:xfrm>
                  <a:off x="3246893" y="3458891"/>
                  <a:ext cx="44835" cy="44835"/>
                </a:xfrm>
                <a:custGeom>
                  <a:avLst/>
                  <a:gdLst>
                    <a:gd name="T0" fmla="*/ 6 w 6"/>
                    <a:gd name="T1" fmla="*/ 4 h 6"/>
                    <a:gd name="T2" fmla="*/ 5 w 6"/>
                    <a:gd name="T3" fmla="*/ 3 h 6"/>
                    <a:gd name="T4" fmla="*/ 4 w 6"/>
                    <a:gd name="T5" fmla="*/ 3 h 6"/>
                    <a:gd name="T6" fmla="*/ 4 w 6"/>
                    <a:gd name="T7" fmla="*/ 2 h 6"/>
                    <a:gd name="T8" fmla="*/ 5 w 6"/>
                    <a:gd name="T9" fmla="*/ 1 h 6"/>
                    <a:gd name="T10" fmla="*/ 6 w 6"/>
                    <a:gd name="T11" fmla="*/ 0 h 6"/>
                    <a:gd name="T12" fmla="*/ 5 w 6"/>
                    <a:gd name="T13" fmla="*/ 1 h 6"/>
                    <a:gd name="T14" fmla="*/ 4 w 6"/>
                    <a:gd name="T15" fmla="*/ 2 h 6"/>
                    <a:gd name="T16" fmla="*/ 3 w 6"/>
                    <a:gd name="T17" fmla="*/ 3 h 6"/>
                    <a:gd name="T18" fmla="*/ 3 w 6"/>
                    <a:gd name="T19" fmla="*/ 1 h 6"/>
                    <a:gd name="T20" fmla="*/ 2 w 6"/>
                    <a:gd name="T21" fmla="*/ 0 h 6"/>
                    <a:gd name="T22" fmla="*/ 0 w 6"/>
                    <a:gd name="T23" fmla="*/ 1 h 6"/>
                    <a:gd name="T24" fmla="*/ 0 w 6"/>
                    <a:gd name="T25" fmla="*/ 3 h 6"/>
                    <a:gd name="T26" fmla="*/ 0 w 6"/>
                    <a:gd name="T27" fmla="*/ 3 h 6"/>
                    <a:gd name="T28" fmla="*/ 2 w 6"/>
                    <a:gd name="T29" fmla="*/ 4 h 6"/>
                    <a:gd name="T30" fmla="*/ 1 w 6"/>
                    <a:gd name="T31" fmla="*/ 5 h 6"/>
                    <a:gd name="T32" fmla="*/ 0 w 6"/>
                    <a:gd name="T33" fmla="*/ 6 h 6"/>
                    <a:gd name="T34" fmla="*/ 0 w 6"/>
                    <a:gd name="T35" fmla="*/ 6 h 6"/>
                    <a:gd name="T36" fmla="*/ 0 w 6"/>
                    <a:gd name="T37" fmla="*/ 6 h 6"/>
                    <a:gd name="T38" fmla="*/ 1 w 6"/>
                    <a:gd name="T39" fmla="*/ 5 h 6"/>
                    <a:gd name="T40" fmla="*/ 2 w 6"/>
                    <a:gd name="T41" fmla="*/ 4 h 6"/>
                    <a:gd name="T42" fmla="*/ 3 w 6"/>
                    <a:gd name="T43" fmla="*/ 6 h 6"/>
                    <a:gd name="T44" fmla="*/ 3 w 6"/>
                    <a:gd name="T45" fmla="*/ 6 h 6"/>
                    <a:gd name="T46" fmla="*/ 5 w 6"/>
                    <a:gd name="T47" fmla="*/ 6 h 6"/>
                    <a:gd name="T48" fmla="*/ 6 w 6"/>
                    <a:gd name="T49" fmla="*/ 6 h 6"/>
                    <a:gd name="T50" fmla="*/ 3 w 6"/>
                    <a:gd name="T51" fmla="*/ 4 h 6"/>
                    <a:gd name="T52" fmla="*/ 3 w 6"/>
                    <a:gd name="T53" fmla="*/ 3 h 6"/>
                    <a:gd name="T54" fmla="*/ 3 w 6"/>
                    <a:gd name="T55" fmla="*/ 4 h 6"/>
                    <a:gd name="T56" fmla="*/ 0 w 6"/>
                    <a:gd name="T57" fmla="*/ 3 h 6"/>
                    <a:gd name="T58" fmla="*/ 2 w 6"/>
                    <a:gd name="T59" fmla="*/ 1 h 6"/>
                    <a:gd name="T60" fmla="*/ 2 w 6"/>
                    <a:gd name="T61" fmla="*/ 3 h 6"/>
                    <a:gd name="T62" fmla="*/ 4 w 6"/>
                    <a:gd name="T63" fmla="*/ 6 h 6"/>
                    <a:gd name="T64" fmla="*/ 5 w 6"/>
                    <a:gd name="T65" fmla="*/ 4 h 6"/>
                    <a:gd name="T66" fmla="*/ 5 w 6"/>
                    <a:gd name="T67" fmla="*/ 6 h 6"/>
                    <a:gd name="T68" fmla="*/ 2 w 6"/>
                    <a:gd name="T69" fmla="*/ 3 h 6"/>
                    <a:gd name="T70" fmla="*/ 3 w 6"/>
                    <a:gd name="T71" fmla="*/ 3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3" y="2"/>
                      </a:lnTo>
                      <a:lnTo>
                        <a:pt x="3" y="3"/>
                      </a:lnTo>
                      <a:lnTo>
                        <a:pt x="3" y="3"/>
                      </a:lnTo>
                      <a:lnTo>
                        <a:pt x="3" y="1"/>
                      </a:lnTo>
                      <a:lnTo>
                        <a:pt x="2" y="1"/>
                      </a:lnTo>
                      <a:lnTo>
                        <a:pt x="2" y="0"/>
                      </a:lnTo>
                      <a:lnTo>
                        <a:pt x="0" y="0"/>
                      </a:lnTo>
                      <a:lnTo>
                        <a:pt x="0" y="1"/>
                      </a:lnTo>
                      <a:lnTo>
                        <a:pt x="0" y="1"/>
                      </a:lnTo>
                      <a:lnTo>
                        <a:pt x="0" y="3"/>
                      </a:lnTo>
                      <a:lnTo>
                        <a:pt x="0" y="3"/>
                      </a:lnTo>
                      <a:lnTo>
                        <a:pt x="0" y="3"/>
                      </a:lnTo>
                      <a:lnTo>
                        <a:pt x="2" y="3"/>
                      </a:lnTo>
                      <a:lnTo>
                        <a:pt x="2" y="4"/>
                      </a:lnTo>
                      <a:lnTo>
                        <a:pt x="1" y="4"/>
                      </a:lnTo>
                      <a:lnTo>
                        <a:pt x="1" y="5"/>
                      </a:lnTo>
                      <a:lnTo>
                        <a:pt x="0" y="5"/>
                      </a:lnTo>
                      <a:lnTo>
                        <a:pt x="0" y="6"/>
                      </a:lnTo>
                      <a:lnTo>
                        <a:pt x="0" y="6"/>
                      </a:lnTo>
                      <a:lnTo>
                        <a:pt x="0" y="6"/>
                      </a:lnTo>
                      <a:lnTo>
                        <a:pt x="0" y="6"/>
                      </a:lnTo>
                      <a:lnTo>
                        <a:pt x="0" y="6"/>
                      </a:lnTo>
                      <a:lnTo>
                        <a:pt x="1" y="6"/>
                      </a:lnTo>
                      <a:lnTo>
                        <a:pt x="1" y="5"/>
                      </a:lnTo>
                      <a:lnTo>
                        <a:pt x="2" y="5"/>
                      </a:lnTo>
                      <a:lnTo>
                        <a:pt x="2" y="4"/>
                      </a:lnTo>
                      <a:lnTo>
                        <a:pt x="3" y="4"/>
                      </a:lnTo>
                      <a:lnTo>
                        <a:pt x="3" y="6"/>
                      </a:lnTo>
                      <a:lnTo>
                        <a:pt x="3" y="6"/>
                      </a:lnTo>
                      <a:lnTo>
                        <a:pt x="3" y="6"/>
                      </a:lnTo>
                      <a:lnTo>
                        <a:pt x="5" y="6"/>
                      </a:lnTo>
                      <a:lnTo>
                        <a:pt x="5" y="6"/>
                      </a:lnTo>
                      <a:lnTo>
                        <a:pt x="6" y="6"/>
                      </a:lnTo>
                      <a:lnTo>
                        <a:pt x="6" y="6"/>
                      </a:lnTo>
                      <a:close/>
                      <a:moveTo>
                        <a:pt x="3" y="4"/>
                      </a:moveTo>
                      <a:lnTo>
                        <a:pt x="3" y="4"/>
                      </a:lnTo>
                      <a:lnTo>
                        <a:pt x="3" y="3"/>
                      </a:lnTo>
                      <a:lnTo>
                        <a:pt x="3" y="3"/>
                      </a:lnTo>
                      <a:lnTo>
                        <a:pt x="3" y="4"/>
                      </a:lnTo>
                      <a:lnTo>
                        <a:pt x="3"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8" name="Freeform 675"/>
                <p:cNvSpPr>
                  <a:spLocks/>
                </p:cNvSpPr>
                <p:nvPr/>
              </p:nvSpPr>
              <p:spPr bwMode="auto">
                <a:xfrm>
                  <a:off x="3381398" y="3466363"/>
                  <a:ext cx="29890" cy="37363"/>
                </a:xfrm>
                <a:custGeom>
                  <a:avLst/>
                  <a:gdLst>
                    <a:gd name="T0" fmla="*/ 4 w 4"/>
                    <a:gd name="T1" fmla="*/ 2 h 5"/>
                    <a:gd name="T2" fmla="*/ 4 w 4"/>
                    <a:gd name="T3" fmla="*/ 0 h 5"/>
                    <a:gd name="T4" fmla="*/ 0 w 4"/>
                    <a:gd name="T5" fmla="*/ 0 h 5"/>
                    <a:gd name="T6" fmla="*/ 0 w 4"/>
                    <a:gd name="T7" fmla="*/ 1 h 5"/>
                    <a:gd name="T8" fmla="*/ 2 w 4"/>
                    <a:gd name="T9" fmla="*/ 1 h 5"/>
                    <a:gd name="T10" fmla="*/ 2 w 4"/>
                    <a:gd name="T11" fmla="*/ 2 h 5"/>
                    <a:gd name="T12" fmla="*/ 2 w 4"/>
                    <a:gd name="T13" fmla="*/ 2 h 5"/>
                    <a:gd name="T14" fmla="*/ 2 w 4"/>
                    <a:gd name="T15" fmla="*/ 4 h 5"/>
                    <a:gd name="T16" fmla="*/ 1 w 4"/>
                    <a:gd name="T17" fmla="*/ 4 h 5"/>
                    <a:gd name="T18" fmla="*/ 1 w 4"/>
                    <a:gd name="T19" fmla="*/ 5 h 5"/>
                    <a:gd name="T20" fmla="*/ 2 w 4"/>
                    <a:gd name="T21" fmla="*/ 5 h 5"/>
                    <a:gd name="T22" fmla="*/ 2 w 4"/>
                    <a:gd name="T23" fmla="*/ 4 h 5"/>
                    <a:gd name="T24" fmla="*/ 2 w 4"/>
                    <a:gd name="T25" fmla="*/ 4 h 5"/>
                    <a:gd name="T26" fmla="*/ 2 w 4"/>
                    <a:gd name="T27" fmla="*/ 2 h 5"/>
                    <a:gd name="T28" fmla="*/ 4 w 4"/>
                    <a:gd name="T29" fmla="*/ 2 h 5"/>
                    <a:gd name="T30" fmla="*/ 4 w 4"/>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2"/>
                      </a:moveTo>
                      <a:lnTo>
                        <a:pt x="4" y="0"/>
                      </a:lnTo>
                      <a:lnTo>
                        <a:pt x="0" y="0"/>
                      </a:lnTo>
                      <a:lnTo>
                        <a:pt x="0" y="1"/>
                      </a:lnTo>
                      <a:lnTo>
                        <a:pt x="2" y="1"/>
                      </a:lnTo>
                      <a:lnTo>
                        <a:pt x="2" y="2"/>
                      </a:lnTo>
                      <a:lnTo>
                        <a:pt x="2" y="2"/>
                      </a:lnTo>
                      <a:lnTo>
                        <a:pt x="2" y="4"/>
                      </a:lnTo>
                      <a:lnTo>
                        <a:pt x="1" y="4"/>
                      </a:lnTo>
                      <a:lnTo>
                        <a:pt x="1" y="5"/>
                      </a:lnTo>
                      <a:lnTo>
                        <a:pt x="2" y="5"/>
                      </a:lnTo>
                      <a:lnTo>
                        <a:pt x="2" y="4"/>
                      </a:lnTo>
                      <a:lnTo>
                        <a:pt x="2" y="4"/>
                      </a:lnTo>
                      <a:lnTo>
                        <a:pt x="2"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19" name="Freeform 676"/>
                <p:cNvSpPr>
                  <a:spLocks noEditPoints="1"/>
                </p:cNvSpPr>
                <p:nvPr/>
              </p:nvSpPr>
              <p:spPr bwMode="auto">
                <a:xfrm>
                  <a:off x="3418761" y="3466363"/>
                  <a:ext cx="22418" cy="37363"/>
                </a:xfrm>
                <a:custGeom>
                  <a:avLst/>
                  <a:gdLst>
                    <a:gd name="T0" fmla="*/ 3 w 3"/>
                    <a:gd name="T1" fmla="*/ 5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5 h 5"/>
                    <a:gd name="T16" fmla="*/ 0 w 3"/>
                    <a:gd name="T17" fmla="*/ 5 h 5"/>
                    <a:gd name="T18" fmla="*/ 0 w 3"/>
                    <a:gd name="T19" fmla="*/ 5 h 5"/>
                    <a:gd name="T20" fmla="*/ 3 w 3"/>
                    <a:gd name="T21" fmla="*/ 5 h 5"/>
                    <a:gd name="T22" fmla="*/ 3 w 3"/>
                    <a:gd name="T23" fmla="*/ 5 h 5"/>
                    <a:gd name="T24" fmla="*/ 3 w 3"/>
                    <a:gd name="T25" fmla="*/ 5 h 5"/>
                    <a:gd name="T26" fmla="*/ 3 w 3"/>
                    <a:gd name="T27" fmla="*/ 5 h 5"/>
                    <a:gd name="T28" fmla="*/ 3 w 3"/>
                    <a:gd name="T29" fmla="*/ 5 h 5"/>
                    <a:gd name="T30" fmla="*/ 0 w 3"/>
                    <a:gd name="T31" fmla="*/ 5 h 5"/>
                    <a:gd name="T32" fmla="*/ 0 w 3"/>
                    <a:gd name="T33" fmla="*/ 1 h 5"/>
                    <a:gd name="T34" fmla="*/ 3 w 3"/>
                    <a:gd name="T35" fmla="*/ 1 h 5"/>
                    <a:gd name="T36" fmla="*/ 3 w 3"/>
                    <a:gd name="T37" fmla="*/ 5 h 5"/>
                    <a:gd name="T38" fmla="*/ 3 w 3"/>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5"/>
                      </a:moveTo>
                      <a:lnTo>
                        <a:pt x="3" y="1"/>
                      </a:lnTo>
                      <a:lnTo>
                        <a:pt x="3" y="1"/>
                      </a:lnTo>
                      <a:lnTo>
                        <a:pt x="3" y="0"/>
                      </a:lnTo>
                      <a:lnTo>
                        <a:pt x="0" y="0"/>
                      </a:lnTo>
                      <a:lnTo>
                        <a:pt x="0" y="1"/>
                      </a:lnTo>
                      <a:lnTo>
                        <a:pt x="0" y="1"/>
                      </a:lnTo>
                      <a:lnTo>
                        <a:pt x="0" y="5"/>
                      </a:lnTo>
                      <a:lnTo>
                        <a:pt x="0" y="5"/>
                      </a:lnTo>
                      <a:lnTo>
                        <a:pt x="0" y="5"/>
                      </a:lnTo>
                      <a:lnTo>
                        <a:pt x="3" y="5"/>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0" name="Freeform 677"/>
                <p:cNvSpPr>
                  <a:spLocks/>
                </p:cNvSpPr>
                <p:nvPr/>
              </p:nvSpPr>
              <p:spPr bwMode="auto">
                <a:xfrm>
                  <a:off x="3448651" y="3503726"/>
                  <a:ext cx="14945"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1" name="Freeform 678"/>
                <p:cNvSpPr>
                  <a:spLocks noEditPoints="1"/>
                </p:cNvSpPr>
                <p:nvPr/>
              </p:nvSpPr>
              <p:spPr bwMode="auto">
                <a:xfrm>
                  <a:off x="3471068" y="3466363"/>
                  <a:ext cx="29890" cy="37363"/>
                </a:xfrm>
                <a:custGeom>
                  <a:avLst/>
                  <a:gdLst>
                    <a:gd name="T0" fmla="*/ 4 w 4"/>
                    <a:gd name="T1" fmla="*/ 5 h 5"/>
                    <a:gd name="T2" fmla="*/ 4 w 4"/>
                    <a:gd name="T3" fmla="*/ 3 h 5"/>
                    <a:gd name="T4" fmla="*/ 3 w 4"/>
                    <a:gd name="T5" fmla="*/ 3 h 5"/>
                    <a:gd name="T6" fmla="*/ 3 w 4"/>
                    <a:gd name="T7" fmla="*/ 2 h 5"/>
                    <a:gd name="T8" fmla="*/ 0 w 4"/>
                    <a:gd name="T9" fmla="*/ 2 h 5"/>
                    <a:gd name="T10" fmla="*/ 0 w 4"/>
                    <a:gd name="T11" fmla="*/ 2 h 5"/>
                    <a:gd name="T12" fmla="*/ 1 w 4"/>
                    <a:gd name="T13" fmla="*/ 2 h 5"/>
                    <a:gd name="T14" fmla="*/ 1 w 4"/>
                    <a:gd name="T15" fmla="*/ 1 h 5"/>
                    <a:gd name="T16" fmla="*/ 3 w 4"/>
                    <a:gd name="T17" fmla="*/ 1 h 5"/>
                    <a:gd name="T18" fmla="*/ 3 w 4"/>
                    <a:gd name="T19" fmla="*/ 0 h 5"/>
                    <a:gd name="T20" fmla="*/ 1 w 4"/>
                    <a:gd name="T21" fmla="*/ 0 h 5"/>
                    <a:gd name="T22" fmla="*/ 1 w 4"/>
                    <a:gd name="T23" fmla="*/ 1 h 5"/>
                    <a:gd name="T24" fmla="*/ 0 w 4"/>
                    <a:gd name="T25" fmla="*/ 1 h 5"/>
                    <a:gd name="T26" fmla="*/ 0 w 4"/>
                    <a:gd name="T27" fmla="*/ 2 h 5"/>
                    <a:gd name="T28" fmla="*/ 0 w 4"/>
                    <a:gd name="T29" fmla="*/ 2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 name="T44" fmla="*/ 3 w 4"/>
                    <a:gd name="T45" fmla="*/ 5 h 5"/>
                    <a:gd name="T46" fmla="*/ 0 w 4"/>
                    <a:gd name="T47" fmla="*/ 5 h 5"/>
                    <a:gd name="T48" fmla="*/ 0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0" y="2"/>
                      </a:lnTo>
                      <a:lnTo>
                        <a:pt x="0" y="2"/>
                      </a:lnTo>
                      <a:lnTo>
                        <a:pt x="1" y="2"/>
                      </a:lnTo>
                      <a:lnTo>
                        <a:pt x="1" y="1"/>
                      </a:lnTo>
                      <a:lnTo>
                        <a:pt x="3" y="1"/>
                      </a:lnTo>
                      <a:lnTo>
                        <a:pt x="3" y="0"/>
                      </a:lnTo>
                      <a:lnTo>
                        <a:pt x="1" y="0"/>
                      </a:lnTo>
                      <a:lnTo>
                        <a:pt x="1" y="1"/>
                      </a:lnTo>
                      <a:lnTo>
                        <a:pt x="0" y="1"/>
                      </a:lnTo>
                      <a:lnTo>
                        <a:pt x="0" y="2"/>
                      </a:lnTo>
                      <a:lnTo>
                        <a:pt x="0" y="2"/>
                      </a:lnTo>
                      <a:lnTo>
                        <a:pt x="0" y="5"/>
                      </a:lnTo>
                      <a:lnTo>
                        <a:pt x="0" y="5"/>
                      </a:lnTo>
                      <a:lnTo>
                        <a:pt x="0" y="5"/>
                      </a:lnTo>
                      <a:lnTo>
                        <a:pt x="3" y="5"/>
                      </a:lnTo>
                      <a:lnTo>
                        <a:pt x="3" y="5"/>
                      </a:lnTo>
                      <a:lnTo>
                        <a:pt x="4" y="5"/>
                      </a:lnTo>
                      <a:lnTo>
                        <a:pt x="4" y="5"/>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2" name="Freeform 679"/>
                <p:cNvSpPr>
                  <a:spLocks noEditPoints="1"/>
                </p:cNvSpPr>
                <p:nvPr/>
              </p:nvSpPr>
              <p:spPr bwMode="auto">
                <a:xfrm>
                  <a:off x="3508431" y="3466363"/>
                  <a:ext cx="37363" cy="37363"/>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1 w 5"/>
                    <a:gd name="T17" fmla="*/ 2 h 5"/>
                    <a:gd name="T18" fmla="*/ 1 w 5"/>
                    <a:gd name="T19" fmla="*/ 2 h 5"/>
                    <a:gd name="T20" fmla="*/ 1 w 5"/>
                    <a:gd name="T21" fmla="*/ 2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1 w 5"/>
                    <a:gd name="T43" fmla="*/ 3 h 5"/>
                    <a:gd name="T44" fmla="*/ 1 w 5"/>
                    <a:gd name="T45" fmla="*/ 2 h 5"/>
                    <a:gd name="T46" fmla="*/ 2 w 5"/>
                    <a:gd name="T47" fmla="*/ 2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1" y="2"/>
                      </a:lnTo>
                      <a:lnTo>
                        <a:pt x="1" y="2"/>
                      </a:lnTo>
                      <a:lnTo>
                        <a:pt x="1" y="2"/>
                      </a:lnTo>
                      <a:lnTo>
                        <a:pt x="1" y="3"/>
                      </a:lnTo>
                      <a:lnTo>
                        <a:pt x="0" y="3"/>
                      </a:lnTo>
                      <a:lnTo>
                        <a:pt x="0" y="4"/>
                      </a:lnTo>
                      <a:lnTo>
                        <a:pt x="3" y="4"/>
                      </a:lnTo>
                      <a:lnTo>
                        <a:pt x="3" y="5"/>
                      </a:lnTo>
                      <a:lnTo>
                        <a:pt x="4" y="5"/>
                      </a:lnTo>
                      <a:lnTo>
                        <a:pt x="4" y="4"/>
                      </a:lnTo>
                      <a:lnTo>
                        <a:pt x="5" y="4"/>
                      </a:lnTo>
                      <a:lnTo>
                        <a:pt x="5" y="4"/>
                      </a:lnTo>
                      <a:close/>
                      <a:moveTo>
                        <a:pt x="3" y="3"/>
                      </a:moveTo>
                      <a:lnTo>
                        <a:pt x="1" y="3"/>
                      </a:lnTo>
                      <a:lnTo>
                        <a:pt x="1" y="2"/>
                      </a:lnTo>
                      <a:lnTo>
                        <a:pt x="2" y="2"/>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3" name="Freeform 680"/>
                <p:cNvSpPr>
                  <a:spLocks/>
                </p:cNvSpPr>
                <p:nvPr/>
              </p:nvSpPr>
              <p:spPr bwMode="auto">
                <a:xfrm>
                  <a:off x="3553266" y="3466363"/>
                  <a:ext cx="29890" cy="37363"/>
                </a:xfrm>
                <a:custGeom>
                  <a:avLst/>
                  <a:gdLst>
                    <a:gd name="T0" fmla="*/ 4 w 4"/>
                    <a:gd name="T1" fmla="*/ 5 h 5"/>
                    <a:gd name="T2" fmla="*/ 4 w 4"/>
                    <a:gd name="T3" fmla="*/ 5 h 5"/>
                    <a:gd name="T4" fmla="*/ 1 w 4"/>
                    <a:gd name="T5" fmla="*/ 5 h 5"/>
                    <a:gd name="T6" fmla="*/ 1 w 4"/>
                    <a:gd name="T7" fmla="*/ 4 h 5"/>
                    <a:gd name="T8" fmla="*/ 2 w 4"/>
                    <a:gd name="T9" fmla="*/ 4 h 5"/>
                    <a:gd name="T10" fmla="*/ 2 w 4"/>
                    <a:gd name="T11" fmla="*/ 3 h 5"/>
                    <a:gd name="T12" fmla="*/ 3 w 4"/>
                    <a:gd name="T13" fmla="*/ 3 h 5"/>
                    <a:gd name="T14" fmla="*/ 3 w 4"/>
                    <a:gd name="T15" fmla="*/ 2 h 5"/>
                    <a:gd name="T16" fmla="*/ 4 w 4"/>
                    <a:gd name="T17" fmla="*/ 2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1 h 5"/>
                    <a:gd name="T36" fmla="*/ 3 w 4"/>
                    <a:gd name="T37" fmla="*/ 1 h 5"/>
                    <a:gd name="T38" fmla="*/ 3 w 4"/>
                    <a:gd name="T39" fmla="*/ 2 h 5"/>
                    <a:gd name="T40" fmla="*/ 2 w 4"/>
                    <a:gd name="T41" fmla="*/ 2 h 5"/>
                    <a:gd name="T42" fmla="*/ 2 w 4"/>
                    <a:gd name="T43" fmla="*/ 3 h 5"/>
                    <a:gd name="T44" fmla="*/ 1 w 4"/>
                    <a:gd name="T45" fmla="*/ 3 h 5"/>
                    <a:gd name="T46" fmla="*/ 1 w 4"/>
                    <a:gd name="T47" fmla="*/ 4 h 5"/>
                    <a:gd name="T48" fmla="*/ 0 w 4"/>
                    <a:gd name="T49" fmla="*/ 4 h 5"/>
                    <a:gd name="T50" fmla="*/ 0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1" y="5"/>
                      </a:lnTo>
                      <a:lnTo>
                        <a:pt x="1" y="4"/>
                      </a:lnTo>
                      <a:lnTo>
                        <a:pt x="2" y="4"/>
                      </a:lnTo>
                      <a:lnTo>
                        <a:pt x="2" y="3"/>
                      </a:lnTo>
                      <a:lnTo>
                        <a:pt x="3" y="3"/>
                      </a:lnTo>
                      <a:lnTo>
                        <a:pt x="3" y="2"/>
                      </a:lnTo>
                      <a:lnTo>
                        <a:pt x="4" y="2"/>
                      </a:lnTo>
                      <a:lnTo>
                        <a:pt x="4" y="1"/>
                      </a:lnTo>
                      <a:lnTo>
                        <a:pt x="3" y="1"/>
                      </a:lnTo>
                      <a:lnTo>
                        <a:pt x="3" y="0"/>
                      </a:lnTo>
                      <a:lnTo>
                        <a:pt x="0" y="0"/>
                      </a:lnTo>
                      <a:lnTo>
                        <a:pt x="0" y="1"/>
                      </a:lnTo>
                      <a:lnTo>
                        <a:pt x="0" y="1"/>
                      </a:lnTo>
                      <a:lnTo>
                        <a:pt x="0" y="2"/>
                      </a:lnTo>
                      <a:lnTo>
                        <a:pt x="0" y="2"/>
                      </a:lnTo>
                      <a:lnTo>
                        <a:pt x="0" y="1"/>
                      </a:lnTo>
                      <a:lnTo>
                        <a:pt x="3" y="1"/>
                      </a:lnTo>
                      <a:lnTo>
                        <a:pt x="3" y="2"/>
                      </a:lnTo>
                      <a:lnTo>
                        <a:pt x="2" y="2"/>
                      </a:lnTo>
                      <a:lnTo>
                        <a:pt x="2" y="3"/>
                      </a:lnTo>
                      <a:lnTo>
                        <a:pt x="1" y="3"/>
                      </a:lnTo>
                      <a:lnTo>
                        <a:pt x="1" y="4"/>
                      </a:lnTo>
                      <a:lnTo>
                        <a:pt x="0" y="4"/>
                      </a:lnTo>
                      <a:lnTo>
                        <a:pt x="0"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4" name="Freeform 681"/>
                <p:cNvSpPr>
                  <a:spLocks/>
                </p:cNvSpPr>
                <p:nvPr/>
              </p:nvSpPr>
              <p:spPr bwMode="auto">
                <a:xfrm>
                  <a:off x="3149750" y="3541088"/>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5 h 6"/>
                    <a:gd name="T28" fmla="*/ 0 w 4"/>
                    <a:gd name="T29" fmla="*/ 5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5"/>
                      </a:lnTo>
                      <a:lnTo>
                        <a:pt x="0" y="5"/>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5" name="Freeform 682"/>
                <p:cNvSpPr>
                  <a:spLocks noEditPoints="1"/>
                </p:cNvSpPr>
                <p:nvPr/>
              </p:nvSpPr>
              <p:spPr bwMode="auto">
                <a:xfrm>
                  <a:off x="3239420" y="3533616"/>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1 w 6"/>
                    <a:gd name="T23" fmla="*/ 1 h 7"/>
                    <a:gd name="T24" fmla="*/ 0 w 6"/>
                    <a:gd name="T25" fmla="*/ 3 h 7"/>
                    <a:gd name="T26" fmla="*/ 1 w 6"/>
                    <a:gd name="T27" fmla="*/ 4 h 7"/>
                    <a:gd name="T28" fmla="*/ 2 w 6"/>
                    <a:gd name="T29" fmla="*/ 4 h 7"/>
                    <a:gd name="T30" fmla="*/ 1 w 6"/>
                    <a:gd name="T31" fmla="*/ 6 h 7"/>
                    <a:gd name="T32" fmla="*/ 1 w 6"/>
                    <a:gd name="T33" fmla="*/ 6 h 7"/>
                    <a:gd name="T34" fmla="*/ 0 w 6"/>
                    <a:gd name="T35" fmla="*/ 7 h 7"/>
                    <a:gd name="T36" fmla="*/ 1 w 6"/>
                    <a:gd name="T37" fmla="*/ 6 h 7"/>
                    <a:gd name="T38" fmla="*/ 1 w 6"/>
                    <a:gd name="T39" fmla="*/ 6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1" y="0"/>
                      </a:lnTo>
                      <a:lnTo>
                        <a:pt x="1" y="1"/>
                      </a:lnTo>
                      <a:lnTo>
                        <a:pt x="0" y="1"/>
                      </a:lnTo>
                      <a:lnTo>
                        <a:pt x="0" y="3"/>
                      </a:lnTo>
                      <a:lnTo>
                        <a:pt x="1" y="3"/>
                      </a:lnTo>
                      <a:lnTo>
                        <a:pt x="1" y="4"/>
                      </a:lnTo>
                      <a:lnTo>
                        <a:pt x="2" y="4"/>
                      </a:lnTo>
                      <a:lnTo>
                        <a:pt x="2" y="4"/>
                      </a:lnTo>
                      <a:lnTo>
                        <a:pt x="1" y="4"/>
                      </a:lnTo>
                      <a:lnTo>
                        <a:pt x="1" y="6"/>
                      </a:lnTo>
                      <a:lnTo>
                        <a:pt x="1" y="6"/>
                      </a:lnTo>
                      <a:lnTo>
                        <a:pt x="1" y="6"/>
                      </a:lnTo>
                      <a:lnTo>
                        <a:pt x="0" y="6"/>
                      </a:lnTo>
                      <a:lnTo>
                        <a:pt x="0" y="7"/>
                      </a:lnTo>
                      <a:lnTo>
                        <a:pt x="1" y="7"/>
                      </a:lnTo>
                      <a:lnTo>
                        <a:pt x="1" y="6"/>
                      </a:lnTo>
                      <a:lnTo>
                        <a:pt x="1" y="6"/>
                      </a:lnTo>
                      <a:lnTo>
                        <a:pt x="1" y="6"/>
                      </a:lnTo>
                      <a:lnTo>
                        <a:pt x="2" y="6"/>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1" y="3"/>
                      </a:lnTo>
                      <a:lnTo>
                        <a:pt x="1"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6" name="Freeform 683"/>
                <p:cNvSpPr>
                  <a:spLocks/>
                </p:cNvSpPr>
                <p:nvPr/>
              </p:nvSpPr>
              <p:spPr bwMode="auto">
                <a:xfrm>
                  <a:off x="3381398" y="3541088"/>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7" name="Freeform 684"/>
                <p:cNvSpPr>
                  <a:spLocks noEditPoints="1"/>
                </p:cNvSpPr>
                <p:nvPr/>
              </p:nvSpPr>
              <p:spPr bwMode="auto">
                <a:xfrm>
                  <a:off x="340381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8" name="Freeform 685"/>
                <p:cNvSpPr>
                  <a:spLocks noEditPoints="1"/>
                </p:cNvSpPr>
                <p:nvPr/>
              </p:nvSpPr>
              <p:spPr bwMode="auto">
                <a:xfrm>
                  <a:off x="3441178" y="3541088"/>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29" name="Freeform 686"/>
                <p:cNvSpPr>
                  <a:spLocks/>
                </p:cNvSpPr>
                <p:nvPr/>
              </p:nvSpPr>
              <p:spPr bwMode="auto">
                <a:xfrm>
                  <a:off x="3478541" y="35784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0" name="Freeform 687"/>
                <p:cNvSpPr>
                  <a:spLocks noEditPoints="1"/>
                </p:cNvSpPr>
                <p:nvPr/>
              </p:nvSpPr>
              <p:spPr bwMode="auto">
                <a:xfrm>
                  <a:off x="3493486"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1" name="Freeform 688"/>
                <p:cNvSpPr>
                  <a:spLocks noEditPoints="1"/>
                </p:cNvSpPr>
                <p:nvPr/>
              </p:nvSpPr>
              <p:spPr bwMode="auto">
                <a:xfrm>
                  <a:off x="3530848" y="35410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2" name="Freeform 689"/>
                <p:cNvSpPr>
                  <a:spLocks noEditPoints="1"/>
                </p:cNvSpPr>
                <p:nvPr/>
              </p:nvSpPr>
              <p:spPr bwMode="auto">
                <a:xfrm>
                  <a:off x="3575683" y="3541088"/>
                  <a:ext cx="29890" cy="44835"/>
                </a:xfrm>
                <a:custGeom>
                  <a:avLst/>
                  <a:gdLst>
                    <a:gd name="T0" fmla="*/ 4 w 4"/>
                    <a:gd name="T1" fmla="*/ 5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2 w 4"/>
                    <a:gd name="T21" fmla="*/ 6 h 6"/>
                    <a:gd name="T22" fmla="*/ 2 w 4"/>
                    <a:gd name="T23" fmla="*/ 5 h 6"/>
                    <a:gd name="T24" fmla="*/ 4 w 4"/>
                    <a:gd name="T25" fmla="*/ 5 h 6"/>
                    <a:gd name="T26" fmla="*/ 4 w 4"/>
                    <a:gd name="T27" fmla="*/ 5 h 6"/>
                    <a:gd name="T28" fmla="*/ 2 w 4"/>
                    <a:gd name="T29" fmla="*/ 5 h 6"/>
                    <a:gd name="T30" fmla="*/ 0 w 4"/>
                    <a:gd name="T31" fmla="*/ 5 h 6"/>
                    <a:gd name="T32" fmla="*/ 0 w 4"/>
                    <a:gd name="T33" fmla="*/ 1 h 6"/>
                    <a:gd name="T34" fmla="*/ 2 w 4"/>
                    <a:gd name="T35" fmla="*/ 1 h 6"/>
                    <a:gd name="T36" fmla="*/ 2 w 4"/>
                    <a:gd name="T37" fmla="*/ 5 h 6"/>
                    <a:gd name="T38" fmla="*/ 2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2" y="1"/>
                      </a:lnTo>
                      <a:lnTo>
                        <a:pt x="2" y="0"/>
                      </a:lnTo>
                      <a:lnTo>
                        <a:pt x="0" y="0"/>
                      </a:lnTo>
                      <a:lnTo>
                        <a:pt x="0" y="1"/>
                      </a:lnTo>
                      <a:lnTo>
                        <a:pt x="0" y="1"/>
                      </a:lnTo>
                      <a:lnTo>
                        <a:pt x="0" y="5"/>
                      </a:lnTo>
                      <a:lnTo>
                        <a:pt x="0" y="5"/>
                      </a:lnTo>
                      <a:lnTo>
                        <a:pt x="0" y="6"/>
                      </a:lnTo>
                      <a:lnTo>
                        <a:pt x="2" y="6"/>
                      </a:lnTo>
                      <a:lnTo>
                        <a:pt x="2" y="5"/>
                      </a:lnTo>
                      <a:lnTo>
                        <a:pt x="4" y="5"/>
                      </a:lnTo>
                      <a:lnTo>
                        <a:pt x="4"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3" name="Freeform 690"/>
                <p:cNvSpPr>
                  <a:spLocks noEditPoints="1"/>
                </p:cNvSpPr>
                <p:nvPr/>
              </p:nvSpPr>
              <p:spPr bwMode="auto">
                <a:xfrm>
                  <a:off x="3149750" y="3623286"/>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2 w 4"/>
                    <a:gd name="T13" fmla="*/ 1 h 5"/>
                    <a:gd name="T14" fmla="*/ 2 w 4"/>
                    <a:gd name="T15" fmla="*/ 0 h 5"/>
                    <a:gd name="T16" fmla="*/ 3 w 4"/>
                    <a:gd name="T17" fmla="*/ 0 h 5"/>
                    <a:gd name="T18" fmla="*/ 3 w 4"/>
                    <a:gd name="T19" fmla="*/ 0 h 5"/>
                    <a:gd name="T20" fmla="*/ 2 w 4"/>
                    <a:gd name="T21" fmla="*/ 0 h 5"/>
                    <a:gd name="T22" fmla="*/ 2 w 4"/>
                    <a:gd name="T23" fmla="*/ 0 h 5"/>
                    <a:gd name="T24" fmla="*/ 1 w 4"/>
                    <a:gd name="T25" fmla="*/ 0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2" y="1"/>
                      </a:lnTo>
                      <a:lnTo>
                        <a:pt x="2" y="0"/>
                      </a:lnTo>
                      <a:lnTo>
                        <a:pt x="3" y="0"/>
                      </a:lnTo>
                      <a:lnTo>
                        <a:pt x="3" y="0"/>
                      </a:lnTo>
                      <a:lnTo>
                        <a:pt x="2" y="0"/>
                      </a:lnTo>
                      <a:lnTo>
                        <a:pt x="2"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4" name="Freeform 691"/>
                <p:cNvSpPr>
                  <a:spLocks noEditPoints="1"/>
                </p:cNvSpPr>
                <p:nvPr/>
              </p:nvSpPr>
              <p:spPr bwMode="auto">
                <a:xfrm>
                  <a:off x="3239420" y="3615814"/>
                  <a:ext cx="44835" cy="44835"/>
                </a:xfrm>
                <a:custGeom>
                  <a:avLst/>
                  <a:gdLst>
                    <a:gd name="T0" fmla="*/ 6 w 6"/>
                    <a:gd name="T1" fmla="*/ 4 h 6"/>
                    <a:gd name="T2" fmla="*/ 5 w 6"/>
                    <a:gd name="T3" fmla="*/ 3 h 6"/>
                    <a:gd name="T4" fmla="*/ 4 w 6"/>
                    <a:gd name="T5" fmla="*/ 2 h 6"/>
                    <a:gd name="T6" fmla="*/ 4 w 6"/>
                    <a:gd name="T7" fmla="*/ 1 h 6"/>
                    <a:gd name="T8" fmla="*/ 5 w 6"/>
                    <a:gd name="T9" fmla="*/ 1 h 6"/>
                    <a:gd name="T10" fmla="*/ 6 w 6"/>
                    <a:gd name="T11" fmla="*/ 0 h 6"/>
                    <a:gd name="T12" fmla="*/ 5 w 6"/>
                    <a:gd name="T13" fmla="*/ 1 h 6"/>
                    <a:gd name="T14" fmla="*/ 4 w 6"/>
                    <a:gd name="T15" fmla="*/ 1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5 h 6"/>
                    <a:gd name="T32" fmla="*/ 1 w 6"/>
                    <a:gd name="T33" fmla="*/ 6 h 6"/>
                    <a:gd name="T34" fmla="*/ 0 w 6"/>
                    <a:gd name="T35" fmla="*/ 6 h 6"/>
                    <a:gd name="T36" fmla="*/ 1 w 6"/>
                    <a:gd name="T37" fmla="*/ 6 h 6"/>
                    <a:gd name="T38" fmla="*/ 1 w 6"/>
                    <a:gd name="T39" fmla="*/ 5 h 6"/>
                    <a:gd name="T40" fmla="*/ 2 w 6"/>
                    <a:gd name="T41" fmla="*/ 4 h 6"/>
                    <a:gd name="T42" fmla="*/ 3 w 6"/>
                    <a:gd name="T43" fmla="*/ 6 h 6"/>
                    <a:gd name="T44" fmla="*/ 4 w 6"/>
                    <a:gd name="T45" fmla="*/ 6 h 6"/>
                    <a:gd name="T46" fmla="*/ 5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5 w 6"/>
                    <a:gd name="T65" fmla="*/ 4 h 6"/>
                    <a:gd name="T66" fmla="*/ 5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5" y="4"/>
                      </a:lnTo>
                      <a:lnTo>
                        <a:pt x="5" y="3"/>
                      </a:lnTo>
                      <a:lnTo>
                        <a:pt x="4" y="3"/>
                      </a:lnTo>
                      <a:lnTo>
                        <a:pt x="4" y="2"/>
                      </a:lnTo>
                      <a:lnTo>
                        <a:pt x="4" y="2"/>
                      </a:lnTo>
                      <a:lnTo>
                        <a:pt x="4" y="1"/>
                      </a:lnTo>
                      <a:lnTo>
                        <a:pt x="5" y="1"/>
                      </a:lnTo>
                      <a:lnTo>
                        <a:pt x="5" y="1"/>
                      </a:lnTo>
                      <a:lnTo>
                        <a:pt x="6" y="1"/>
                      </a:lnTo>
                      <a:lnTo>
                        <a:pt x="6" y="0"/>
                      </a:lnTo>
                      <a:lnTo>
                        <a:pt x="5" y="0"/>
                      </a:lnTo>
                      <a:lnTo>
                        <a:pt x="5" y="1"/>
                      </a:lnTo>
                      <a:lnTo>
                        <a:pt x="4" y="1"/>
                      </a:lnTo>
                      <a:lnTo>
                        <a:pt x="4" y="1"/>
                      </a:lnTo>
                      <a:lnTo>
                        <a:pt x="4" y="1"/>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5"/>
                      </a:lnTo>
                      <a:lnTo>
                        <a:pt x="1" y="5"/>
                      </a:lnTo>
                      <a:lnTo>
                        <a:pt x="1" y="6"/>
                      </a:lnTo>
                      <a:lnTo>
                        <a:pt x="0" y="6"/>
                      </a:lnTo>
                      <a:lnTo>
                        <a:pt x="0" y="6"/>
                      </a:lnTo>
                      <a:lnTo>
                        <a:pt x="1" y="6"/>
                      </a:lnTo>
                      <a:lnTo>
                        <a:pt x="1" y="6"/>
                      </a:lnTo>
                      <a:lnTo>
                        <a:pt x="1" y="6"/>
                      </a:lnTo>
                      <a:lnTo>
                        <a:pt x="1" y="5"/>
                      </a:lnTo>
                      <a:lnTo>
                        <a:pt x="2" y="5"/>
                      </a:lnTo>
                      <a:lnTo>
                        <a:pt x="2" y="4"/>
                      </a:lnTo>
                      <a:lnTo>
                        <a:pt x="3" y="4"/>
                      </a:lnTo>
                      <a:lnTo>
                        <a:pt x="3" y="6"/>
                      </a:lnTo>
                      <a:lnTo>
                        <a:pt x="4" y="6"/>
                      </a:lnTo>
                      <a:lnTo>
                        <a:pt x="4" y="6"/>
                      </a:lnTo>
                      <a:lnTo>
                        <a:pt x="5" y="6"/>
                      </a:lnTo>
                      <a:lnTo>
                        <a:pt x="5"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5" name="Freeform 692"/>
                <p:cNvSpPr>
                  <a:spLocks/>
                </p:cNvSpPr>
                <p:nvPr/>
              </p:nvSpPr>
              <p:spPr bwMode="auto">
                <a:xfrm>
                  <a:off x="3381398" y="3623286"/>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6" name="Freeform 693"/>
                <p:cNvSpPr>
                  <a:spLocks noEditPoints="1"/>
                </p:cNvSpPr>
                <p:nvPr/>
              </p:nvSpPr>
              <p:spPr bwMode="auto">
                <a:xfrm>
                  <a:off x="340381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7" name="Freeform 694"/>
                <p:cNvSpPr>
                  <a:spLocks noEditPoints="1"/>
                </p:cNvSpPr>
                <p:nvPr/>
              </p:nvSpPr>
              <p:spPr bwMode="auto">
                <a:xfrm>
                  <a:off x="3441178" y="3623286"/>
                  <a:ext cx="29890" cy="37363"/>
                </a:xfrm>
                <a:custGeom>
                  <a:avLst/>
                  <a:gdLst>
                    <a:gd name="T0" fmla="*/ 4 w 4"/>
                    <a:gd name="T1" fmla="*/ 5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8" name="Freeform 695"/>
                <p:cNvSpPr>
                  <a:spLocks/>
                </p:cNvSpPr>
                <p:nvPr/>
              </p:nvSpPr>
              <p:spPr bwMode="auto">
                <a:xfrm>
                  <a:off x="3478541" y="3660649"/>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39" name="Freeform 696"/>
                <p:cNvSpPr>
                  <a:spLocks noEditPoints="1"/>
                </p:cNvSpPr>
                <p:nvPr/>
              </p:nvSpPr>
              <p:spPr bwMode="auto">
                <a:xfrm>
                  <a:off x="3493486"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0 h 5"/>
                    <a:gd name="T34" fmla="*/ 4 w 4"/>
                    <a:gd name="T35" fmla="*/ 0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4" y="5"/>
                      </a:moveTo>
                      <a:lnTo>
                        <a:pt x="1" y="5"/>
                      </a:lnTo>
                      <a:lnTo>
                        <a:pt x="1" y="0"/>
                      </a:lnTo>
                      <a:lnTo>
                        <a:pt x="4" y="0"/>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0" name="Freeform 697"/>
                <p:cNvSpPr>
                  <a:spLocks noEditPoints="1"/>
                </p:cNvSpPr>
                <p:nvPr/>
              </p:nvSpPr>
              <p:spPr bwMode="auto">
                <a:xfrm>
                  <a:off x="3530848" y="3623286"/>
                  <a:ext cx="29890" cy="37363"/>
                </a:xfrm>
                <a:custGeom>
                  <a:avLst/>
                  <a:gdLst>
                    <a:gd name="T0" fmla="*/ 4 w 4"/>
                    <a:gd name="T1" fmla="*/ 5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0 h 5"/>
                    <a:gd name="T34" fmla="*/ 3 w 4"/>
                    <a:gd name="T35" fmla="*/ 0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4" y="0"/>
                      </a:lnTo>
                      <a:lnTo>
                        <a:pt x="4" y="0"/>
                      </a:lnTo>
                      <a:lnTo>
                        <a:pt x="1" y="0"/>
                      </a:lnTo>
                      <a:lnTo>
                        <a:pt x="1" y="0"/>
                      </a:lnTo>
                      <a:lnTo>
                        <a:pt x="0" y="0"/>
                      </a:lnTo>
                      <a:lnTo>
                        <a:pt x="0" y="5"/>
                      </a:lnTo>
                      <a:lnTo>
                        <a:pt x="1" y="5"/>
                      </a:lnTo>
                      <a:lnTo>
                        <a:pt x="1" y="5"/>
                      </a:lnTo>
                      <a:lnTo>
                        <a:pt x="4" y="5"/>
                      </a:lnTo>
                      <a:lnTo>
                        <a:pt x="4" y="5"/>
                      </a:lnTo>
                      <a:lnTo>
                        <a:pt x="4" y="5"/>
                      </a:lnTo>
                      <a:lnTo>
                        <a:pt x="4" y="5"/>
                      </a:lnTo>
                      <a:close/>
                      <a:moveTo>
                        <a:pt x="3" y="5"/>
                      </a:moveTo>
                      <a:lnTo>
                        <a:pt x="1" y="5"/>
                      </a:lnTo>
                      <a:lnTo>
                        <a:pt x="1" y="0"/>
                      </a:lnTo>
                      <a:lnTo>
                        <a:pt x="3" y="0"/>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1" name="Freeform 698"/>
                <p:cNvSpPr>
                  <a:spLocks noEditPoints="1"/>
                </p:cNvSpPr>
                <p:nvPr/>
              </p:nvSpPr>
              <p:spPr bwMode="auto">
                <a:xfrm>
                  <a:off x="3575683" y="3623286"/>
                  <a:ext cx="29890" cy="37363"/>
                </a:xfrm>
                <a:custGeom>
                  <a:avLst/>
                  <a:gdLst>
                    <a:gd name="T0" fmla="*/ 4 w 4"/>
                    <a:gd name="T1" fmla="*/ 5 h 5"/>
                    <a:gd name="T2" fmla="*/ 4 w 4"/>
                    <a:gd name="T3" fmla="*/ 0 h 5"/>
                    <a:gd name="T4" fmla="*/ 2 w 4"/>
                    <a:gd name="T5" fmla="*/ 0 h 5"/>
                    <a:gd name="T6" fmla="*/ 2 w 4"/>
                    <a:gd name="T7" fmla="*/ 0 h 5"/>
                    <a:gd name="T8" fmla="*/ 0 w 4"/>
                    <a:gd name="T9" fmla="*/ 0 h 5"/>
                    <a:gd name="T10" fmla="*/ 0 w 4"/>
                    <a:gd name="T11" fmla="*/ 0 h 5"/>
                    <a:gd name="T12" fmla="*/ 0 w 4"/>
                    <a:gd name="T13" fmla="*/ 0 h 5"/>
                    <a:gd name="T14" fmla="*/ 0 w 4"/>
                    <a:gd name="T15" fmla="*/ 5 h 5"/>
                    <a:gd name="T16" fmla="*/ 0 w 4"/>
                    <a:gd name="T17" fmla="*/ 5 h 5"/>
                    <a:gd name="T18" fmla="*/ 0 w 4"/>
                    <a:gd name="T19" fmla="*/ 5 h 5"/>
                    <a:gd name="T20" fmla="*/ 2 w 4"/>
                    <a:gd name="T21" fmla="*/ 5 h 5"/>
                    <a:gd name="T22" fmla="*/ 2 w 4"/>
                    <a:gd name="T23" fmla="*/ 5 h 5"/>
                    <a:gd name="T24" fmla="*/ 4 w 4"/>
                    <a:gd name="T25" fmla="*/ 5 h 5"/>
                    <a:gd name="T26" fmla="*/ 4 w 4"/>
                    <a:gd name="T27" fmla="*/ 5 h 5"/>
                    <a:gd name="T28" fmla="*/ 2 w 4"/>
                    <a:gd name="T29" fmla="*/ 5 h 5"/>
                    <a:gd name="T30" fmla="*/ 0 w 4"/>
                    <a:gd name="T31" fmla="*/ 5 h 5"/>
                    <a:gd name="T32" fmla="*/ 0 w 4"/>
                    <a:gd name="T33" fmla="*/ 0 h 5"/>
                    <a:gd name="T34" fmla="*/ 2 w 4"/>
                    <a:gd name="T35" fmla="*/ 0 h 5"/>
                    <a:gd name="T36" fmla="*/ 2 w 4"/>
                    <a:gd name="T37" fmla="*/ 5 h 5"/>
                    <a:gd name="T38" fmla="*/ 2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0"/>
                      </a:lnTo>
                      <a:lnTo>
                        <a:pt x="2" y="0"/>
                      </a:lnTo>
                      <a:lnTo>
                        <a:pt x="2" y="0"/>
                      </a:lnTo>
                      <a:lnTo>
                        <a:pt x="0" y="0"/>
                      </a:lnTo>
                      <a:lnTo>
                        <a:pt x="0" y="0"/>
                      </a:lnTo>
                      <a:lnTo>
                        <a:pt x="0" y="0"/>
                      </a:lnTo>
                      <a:lnTo>
                        <a:pt x="0" y="5"/>
                      </a:lnTo>
                      <a:lnTo>
                        <a:pt x="0" y="5"/>
                      </a:lnTo>
                      <a:lnTo>
                        <a:pt x="0" y="5"/>
                      </a:lnTo>
                      <a:lnTo>
                        <a:pt x="2" y="5"/>
                      </a:lnTo>
                      <a:lnTo>
                        <a:pt x="2" y="5"/>
                      </a:lnTo>
                      <a:lnTo>
                        <a:pt x="4" y="5"/>
                      </a:lnTo>
                      <a:lnTo>
                        <a:pt x="4" y="5"/>
                      </a:lnTo>
                      <a:close/>
                      <a:moveTo>
                        <a:pt x="2" y="5"/>
                      </a:moveTo>
                      <a:lnTo>
                        <a:pt x="0" y="5"/>
                      </a:lnTo>
                      <a:lnTo>
                        <a:pt x="0" y="0"/>
                      </a:lnTo>
                      <a:lnTo>
                        <a:pt x="2" y="0"/>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2" name="Freeform 699"/>
                <p:cNvSpPr>
                  <a:spLocks/>
                </p:cNvSpPr>
                <p:nvPr/>
              </p:nvSpPr>
              <p:spPr bwMode="auto">
                <a:xfrm>
                  <a:off x="3149750" y="3698011"/>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2 w 4"/>
                    <a:gd name="T13" fmla="*/ 3 h 6"/>
                    <a:gd name="T14" fmla="*/ 2 w 4"/>
                    <a:gd name="T15" fmla="*/ 4 h 6"/>
                    <a:gd name="T16" fmla="*/ 2 w 4"/>
                    <a:gd name="T17" fmla="*/ 4 h 6"/>
                    <a:gd name="T18" fmla="*/ 2 w 4"/>
                    <a:gd name="T19" fmla="*/ 6 h 6"/>
                    <a:gd name="T20" fmla="*/ 2 w 4"/>
                    <a:gd name="T21" fmla="*/ 6 h 6"/>
                    <a:gd name="T22" fmla="*/ 2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2" y="3"/>
                      </a:lnTo>
                      <a:lnTo>
                        <a:pt x="2" y="4"/>
                      </a:lnTo>
                      <a:lnTo>
                        <a:pt x="2" y="4"/>
                      </a:lnTo>
                      <a:lnTo>
                        <a:pt x="2" y="6"/>
                      </a:lnTo>
                      <a:lnTo>
                        <a:pt x="2" y="6"/>
                      </a:lnTo>
                      <a:lnTo>
                        <a:pt x="2"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3" name="Freeform 700"/>
                <p:cNvSpPr>
                  <a:spLocks noEditPoints="1"/>
                </p:cNvSpPr>
                <p:nvPr/>
              </p:nvSpPr>
              <p:spPr bwMode="auto">
                <a:xfrm>
                  <a:off x="3239420" y="3690539"/>
                  <a:ext cx="44835" cy="52308"/>
                </a:xfrm>
                <a:custGeom>
                  <a:avLst/>
                  <a:gdLst>
                    <a:gd name="T0" fmla="*/ 6 w 6"/>
                    <a:gd name="T1" fmla="*/ 4 h 7"/>
                    <a:gd name="T2" fmla="*/ 5 w 6"/>
                    <a:gd name="T3" fmla="*/ 4 h 7"/>
                    <a:gd name="T4" fmla="*/ 4 w 6"/>
                    <a:gd name="T5" fmla="*/ 2 h 7"/>
                    <a:gd name="T6" fmla="*/ 4 w 6"/>
                    <a:gd name="T7" fmla="*/ 2 h 7"/>
                    <a:gd name="T8" fmla="*/ 5 w 6"/>
                    <a:gd name="T9" fmla="*/ 1 h 7"/>
                    <a:gd name="T10" fmla="*/ 6 w 6"/>
                    <a:gd name="T11" fmla="*/ 0 h 7"/>
                    <a:gd name="T12" fmla="*/ 5 w 6"/>
                    <a:gd name="T13" fmla="*/ 1 h 7"/>
                    <a:gd name="T14" fmla="*/ 4 w 6"/>
                    <a:gd name="T15" fmla="*/ 2 h 7"/>
                    <a:gd name="T16" fmla="*/ 4 w 6"/>
                    <a:gd name="T17" fmla="*/ 2 h 7"/>
                    <a:gd name="T18" fmla="*/ 3 w 6"/>
                    <a:gd name="T19" fmla="*/ 1 h 7"/>
                    <a:gd name="T20" fmla="*/ 2 w 6"/>
                    <a:gd name="T21" fmla="*/ 0 h 7"/>
                    <a:gd name="T22" fmla="*/ 1 w 6"/>
                    <a:gd name="T23" fmla="*/ 1 h 7"/>
                    <a:gd name="T24" fmla="*/ 0 w 6"/>
                    <a:gd name="T25" fmla="*/ 2 h 7"/>
                    <a:gd name="T26" fmla="*/ 1 w 6"/>
                    <a:gd name="T27" fmla="*/ 4 h 7"/>
                    <a:gd name="T28" fmla="*/ 2 w 6"/>
                    <a:gd name="T29" fmla="*/ 4 h 7"/>
                    <a:gd name="T30" fmla="*/ 1 w 6"/>
                    <a:gd name="T31" fmla="*/ 5 h 7"/>
                    <a:gd name="T32" fmla="*/ 1 w 6"/>
                    <a:gd name="T33" fmla="*/ 6 h 7"/>
                    <a:gd name="T34" fmla="*/ 0 w 6"/>
                    <a:gd name="T35" fmla="*/ 7 h 7"/>
                    <a:gd name="T36" fmla="*/ 1 w 6"/>
                    <a:gd name="T37" fmla="*/ 6 h 7"/>
                    <a:gd name="T38" fmla="*/ 1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1 w 6"/>
                    <a:gd name="T57" fmla="*/ 2 h 7"/>
                    <a:gd name="T58" fmla="*/ 2 w 6"/>
                    <a:gd name="T59" fmla="*/ 1 h 7"/>
                    <a:gd name="T60" fmla="*/ 2 w 6"/>
                    <a:gd name="T61" fmla="*/ 2 h 7"/>
                    <a:gd name="T62" fmla="*/ 4 w 6"/>
                    <a:gd name="T63" fmla="*/ 6 h 7"/>
                    <a:gd name="T64" fmla="*/ 5 w 6"/>
                    <a:gd name="T65" fmla="*/ 4 h 7"/>
                    <a:gd name="T66" fmla="*/ 5 w 6"/>
                    <a:gd name="T67" fmla="*/ 6 h 7"/>
                    <a:gd name="T68" fmla="*/ 2 w 6"/>
                    <a:gd name="T69" fmla="*/ 4 h 7"/>
                    <a:gd name="T70" fmla="*/ 3 w 6"/>
                    <a:gd name="T71" fmla="*/ 2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2"/>
                      </a:lnTo>
                      <a:lnTo>
                        <a:pt x="4" y="2"/>
                      </a:lnTo>
                      <a:lnTo>
                        <a:pt x="4" y="2"/>
                      </a:lnTo>
                      <a:lnTo>
                        <a:pt x="5" y="2"/>
                      </a:lnTo>
                      <a:lnTo>
                        <a:pt x="5" y="1"/>
                      </a:lnTo>
                      <a:lnTo>
                        <a:pt x="6" y="1"/>
                      </a:lnTo>
                      <a:lnTo>
                        <a:pt x="6" y="0"/>
                      </a:lnTo>
                      <a:lnTo>
                        <a:pt x="5" y="0"/>
                      </a:lnTo>
                      <a:lnTo>
                        <a:pt x="5"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4"/>
                      </a:lnTo>
                      <a:lnTo>
                        <a:pt x="2" y="4"/>
                      </a:lnTo>
                      <a:lnTo>
                        <a:pt x="2" y="4"/>
                      </a:lnTo>
                      <a:lnTo>
                        <a:pt x="1" y="4"/>
                      </a:lnTo>
                      <a:lnTo>
                        <a:pt x="1" y="5"/>
                      </a:lnTo>
                      <a:lnTo>
                        <a:pt x="1" y="5"/>
                      </a:lnTo>
                      <a:lnTo>
                        <a:pt x="1" y="6"/>
                      </a:lnTo>
                      <a:lnTo>
                        <a:pt x="0" y="6"/>
                      </a:lnTo>
                      <a:lnTo>
                        <a:pt x="0" y="7"/>
                      </a:lnTo>
                      <a:lnTo>
                        <a:pt x="1" y="7"/>
                      </a:lnTo>
                      <a:lnTo>
                        <a:pt x="1" y="6"/>
                      </a:lnTo>
                      <a:lnTo>
                        <a:pt x="1" y="6"/>
                      </a:lnTo>
                      <a:lnTo>
                        <a:pt x="1"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2"/>
                      </a:moveTo>
                      <a:lnTo>
                        <a:pt x="1" y="2"/>
                      </a:lnTo>
                      <a:lnTo>
                        <a:pt x="1" y="1"/>
                      </a:lnTo>
                      <a:lnTo>
                        <a:pt x="2" y="1"/>
                      </a:lnTo>
                      <a:lnTo>
                        <a:pt x="2" y="2"/>
                      </a:lnTo>
                      <a:lnTo>
                        <a:pt x="2" y="2"/>
                      </a:lnTo>
                      <a:close/>
                      <a:moveTo>
                        <a:pt x="5" y="6"/>
                      </a:moveTo>
                      <a:lnTo>
                        <a:pt x="4" y="6"/>
                      </a:lnTo>
                      <a:lnTo>
                        <a:pt x="4" y="4"/>
                      </a:lnTo>
                      <a:lnTo>
                        <a:pt x="5" y="4"/>
                      </a:lnTo>
                      <a:lnTo>
                        <a:pt x="5" y="6"/>
                      </a:lnTo>
                      <a:lnTo>
                        <a:pt x="5" y="6"/>
                      </a:lnTo>
                      <a:close/>
                      <a:moveTo>
                        <a:pt x="3" y="4"/>
                      </a:moveTo>
                      <a:lnTo>
                        <a:pt x="2" y="4"/>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4" name="Freeform 701"/>
                <p:cNvSpPr>
                  <a:spLocks noEditPoints="1"/>
                </p:cNvSpPr>
                <p:nvPr/>
              </p:nvSpPr>
              <p:spPr bwMode="auto">
                <a:xfrm>
                  <a:off x="3381398" y="3698011"/>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2 w 4"/>
                    <a:gd name="T21" fmla="*/ 3 h 6"/>
                    <a:gd name="T22" fmla="*/ 2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2 w 4"/>
                    <a:gd name="T37" fmla="*/ 5 h 6"/>
                    <a:gd name="T38" fmla="*/ 2 w 4"/>
                    <a:gd name="T39" fmla="*/ 4 h 6"/>
                    <a:gd name="T40" fmla="*/ 4 w 4"/>
                    <a:gd name="T41" fmla="*/ 4 h 6"/>
                    <a:gd name="T42" fmla="*/ 4 w 4"/>
                    <a:gd name="T43" fmla="*/ 4 h 6"/>
                    <a:gd name="T44" fmla="*/ 2 w 4"/>
                    <a:gd name="T45" fmla="*/ 3 h 6"/>
                    <a:gd name="T46" fmla="*/ 0 w 4"/>
                    <a:gd name="T47" fmla="*/ 3 h 6"/>
                    <a:gd name="T48" fmla="*/ 0 w 4"/>
                    <a:gd name="T49" fmla="*/ 1 h 6"/>
                    <a:gd name="T50" fmla="*/ 2 w 4"/>
                    <a:gd name="T51" fmla="*/ 1 h 6"/>
                    <a:gd name="T52" fmla="*/ 2 w 4"/>
                    <a:gd name="T53" fmla="*/ 3 h 6"/>
                    <a:gd name="T54" fmla="*/ 2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2" y="1"/>
                      </a:lnTo>
                      <a:lnTo>
                        <a:pt x="2" y="0"/>
                      </a:lnTo>
                      <a:lnTo>
                        <a:pt x="0" y="0"/>
                      </a:lnTo>
                      <a:lnTo>
                        <a:pt x="0" y="1"/>
                      </a:lnTo>
                      <a:lnTo>
                        <a:pt x="0" y="1"/>
                      </a:lnTo>
                      <a:lnTo>
                        <a:pt x="0" y="3"/>
                      </a:lnTo>
                      <a:lnTo>
                        <a:pt x="0" y="3"/>
                      </a:lnTo>
                      <a:lnTo>
                        <a:pt x="0" y="3"/>
                      </a:lnTo>
                      <a:lnTo>
                        <a:pt x="2" y="3"/>
                      </a:lnTo>
                      <a:lnTo>
                        <a:pt x="2" y="4"/>
                      </a:lnTo>
                      <a:lnTo>
                        <a:pt x="2" y="4"/>
                      </a:lnTo>
                      <a:lnTo>
                        <a:pt x="2" y="5"/>
                      </a:lnTo>
                      <a:lnTo>
                        <a:pt x="0" y="5"/>
                      </a:lnTo>
                      <a:lnTo>
                        <a:pt x="0" y="6"/>
                      </a:lnTo>
                      <a:lnTo>
                        <a:pt x="2" y="6"/>
                      </a:lnTo>
                      <a:lnTo>
                        <a:pt x="2" y="5"/>
                      </a:lnTo>
                      <a:lnTo>
                        <a:pt x="2" y="5"/>
                      </a:lnTo>
                      <a:lnTo>
                        <a:pt x="2" y="4"/>
                      </a:lnTo>
                      <a:lnTo>
                        <a:pt x="4" y="4"/>
                      </a:lnTo>
                      <a:lnTo>
                        <a:pt x="4" y="4"/>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5" name="Freeform 702"/>
                <p:cNvSpPr>
                  <a:spLocks noEditPoints="1"/>
                </p:cNvSpPr>
                <p:nvPr/>
              </p:nvSpPr>
              <p:spPr bwMode="auto">
                <a:xfrm>
                  <a:off x="3418761" y="3698011"/>
                  <a:ext cx="22418"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3 h 6"/>
                    <a:gd name="T16" fmla="*/ 0 w 3"/>
                    <a:gd name="T17" fmla="*/ 3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6" name="Freeform 703"/>
                <p:cNvSpPr>
                  <a:spLocks/>
                </p:cNvSpPr>
                <p:nvPr/>
              </p:nvSpPr>
              <p:spPr bwMode="auto">
                <a:xfrm>
                  <a:off x="3448651" y="3735374"/>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47" name="Freeform 704"/>
                <p:cNvSpPr>
                  <a:spLocks noEditPoints="1"/>
                </p:cNvSpPr>
                <p:nvPr/>
              </p:nvSpPr>
              <p:spPr bwMode="auto">
                <a:xfrm>
                  <a:off x="3471068" y="3698011"/>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8" name="Freeform 705"/>
                <p:cNvSpPr>
                  <a:spLocks/>
                </p:cNvSpPr>
                <p:nvPr/>
              </p:nvSpPr>
              <p:spPr bwMode="auto">
                <a:xfrm>
                  <a:off x="3508431" y="369801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1 h 6"/>
                    <a:gd name="T12" fmla="*/ 3 w 4"/>
                    <a:gd name="T13" fmla="*/ 1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1 h 6"/>
                    <a:gd name="T28" fmla="*/ 1 w 4"/>
                    <a:gd name="T29" fmla="*/ 1 h 6"/>
                    <a:gd name="T30" fmla="*/ 1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1"/>
                      </a:lnTo>
                      <a:lnTo>
                        <a:pt x="3" y="1"/>
                      </a:lnTo>
                      <a:lnTo>
                        <a:pt x="3" y="1"/>
                      </a:lnTo>
                      <a:lnTo>
                        <a:pt x="4" y="1"/>
                      </a:lnTo>
                      <a:lnTo>
                        <a:pt x="4" y="0"/>
                      </a:lnTo>
                      <a:lnTo>
                        <a:pt x="0" y="0"/>
                      </a:lnTo>
                      <a:lnTo>
                        <a:pt x="0" y="1"/>
                      </a:lnTo>
                      <a:lnTo>
                        <a:pt x="2" y="1"/>
                      </a:lnTo>
                      <a:lnTo>
                        <a:pt x="2" y="1"/>
                      </a:lnTo>
                      <a:lnTo>
                        <a:pt x="1" y="1"/>
                      </a:lnTo>
                      <a:lnTo>
                        <a:pt x="1"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49" name="Freeform 706"/>
                <p:cNvSpPr>
                  <a:spLocks noEditPoints="1"/>
                </p:cNvSpPr>
                <p:nvPr/>
              </p:nvSpPr>
              <p:spPr bwMode="auto">
                <a:xfrm>
                  <a:off x="3545793" y="3698011"/>
                  <a:ext cx="37363"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2 w 5"/>
                    <a:gd name="T13" fmla="*/ 1 h 6"/>
                    <a:gd name="T14" fmla="*/ 2 w 5"/>
                    <a:gd name="T15" fmla="*/ 1 h 6"/>
                    <a:gd name="T16" fmla="*/ 1 w 5"/>
                    <a:gd name="T17" fmla="*/ 1 h 6"/>
                    <a:gd name="T18" fmla="*/ 1 w 5"/>
                    <a:gd name="T19" fmla="*/ 3 h 6"/>
                    <a:gd name="T20" fmla="*/ 1 w 5"/>
                    <a:gd name="T21" fmla="*/ 3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1 w 5"/>
                    <a:gd name="T43" fmla="*/ 3 h 6"/>
                    <a:gd name="T44" fmla="*/ 1 w 5"/>
                    <a:gd name="T45" fmla="*/ 3 h 6"/>
                    <a:gd name="T46" fmla="*/ 2 w 5"/>
                    <a:gd name="T47" fmla="*/ 3 h 6"/>
                    <a:gd name="T48" fmla="*/ 2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2" y="1"/>
                      </a:lnTo>
                      <a:lnTo>
                        <a:pt x="2" y="1"/>
                      </a:lnTo>
                      <a:lnTo>
                        <a:pt x="1" y="1"/>
                      </a:lnTo>
                      <a:lnTo>
                        <a:pt x="1" y="3"/>
                      </a:lnTo>
                      <a:lnTo>
                        <a:pt x="1" y="3"/>
                      </a:lnTo>
                      <a:lnTo>
                        <a:pt x="1" y="3"/>
                      </a:lnTo>
                      <a:lnTo>
                        <a:pt x="0" y="3"/>
                      </a:lnTo>
                      <a:lnTo>
                        <a:pt x="0" y="4"/>
                      </a:lnTo>
                      <a:lnTo>
                        <a:pt x="3" y="4"/>
                      </a:lnTo>
                      <a:lnTo>
                        <a:pt x="3" y="6"/>
                      </a:lnTo>
                      <a:lnTo>
                        <a:pt x="4" y="6"/>
                      </a:lnTo>
                      <a:lnTo>
                        <a:pt x="4" y="4"/>
                      </a:lnTo>
                      <a:lnTo>
                        <a:pt x="5" y="4"/>
                      </a:lnTo>
                      <a:lnTo>
                        <a:pt x="5" y="4"/>
                      </a:lnTo>
                      <a:close/>
                      <a:moveTo>
                        <a:pt x="3" y="3"/>
                      </a:moveTo>
                      <a:lnTo>
                        <a:pt x="1" y="3"/>
                      </a:lnTo>
                      <a:lnTo>
                        <a:pt x="1" y="3"/>
                      </a:ln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0" name="Freeform 707"/>
                <p:cNvSpPr>
                  <a:spLocks/>
                </p:cNvSpPr>
                <p:nvPr/>
              </p:nvSpPr>
              <p:spPr bwMode="auto">
                <a:xfrm>
                  <a:off x="3874584" y="3234715"/>
                  <a:ext cx="29890" cy="44835"/>
                </a:xfrm>
                <a:custGeom>
                  <a:avLst/>
                  <a:gdLst>
                    <a:gd name="T0" fmla="*/ 4 w 4"/>
                    <a:gd name="T1" fmla="*/ 4 h 6"/>
                    <a:gd name="T2" fmla="*/ 4 w 4"/>
                    <a:gd name="T3" fmla="*/ 4 h 6"/>
                    <a:gd name="T4" fmla="*/ 3 w 4"/>
                    <a:gd name="T5" fmla="*/ 4 h 6"/>
                    <a:gd name="T6" fmla="*/ 3 w 4"/>
                    <a:gd name="T7" fmla="*/ 4 h 6"/>
                    <a:gd name="T8" fmla="*/ 1 w 4"/>
                    <a:gd name="T9" fmla="*/ 4 h 6"/>
                    <a:gd name="T10" fmla="*/ 1 w 4"/>
                    <a:gd name="T11" fmla="*/ 0 h 6"/>
                    <a:gd name="T12" fmla="*/ 3 w 4"/>
                    <a:gd name="T13" fmla="*/ 0 h 6"/>
                    <a:gd name="T14" fmla="*/ 3 w 4"/>
                    <a:gd name="T15" fmla="*/ 2 h 6"/>
                    <a:gd name="T16" fmla="*/ 4 w 4"/>
                    <a:gd name="T17" fmla="*/ 2 h 6"/>
                    <a:gd name="T18" fmla="*/ 4 w 4"/>
                    <a:gd name="T19" fmla="*/ 0 h 6"/>
                    <a:gd name="T20" fmla="*/ 3 w 4"/>
                    <a:gd name="T21" fmla="*/ 0 h 6"/>
                    <a:gd name="T22" fmla="*/ 3 w 4"/>
                    <a:gd name="T23" fmla="*/ 0 h 6"/>
                    <a:gd name="T24" fmla="*/ 1 w 4"/>
                    <a:gd name="T25" fmla="*/ 0 h 6"/>
                    <a:gd name="T26" fmla="*/ 1 w 4"/>
                    <a:gd name="T27" fmla="*/ 0 h 6"/>
                    <a:gd name="T28" fmla="*/ 0 w 4"/>
                    <a:gd name="T29" fmla="*/ 0 h 6"/>
                    <a:gd name="T30" fmla="*/ 0 w 4"/>
                    <a:gd name="T31" fmla="*/ 4 h 6"/>
                    <a:gd name="T32" fmla="*/ 1 w 4"/>
                    <a:gd name="T33" fmla="*/ 4 h 6"/>
                    <a:gd name="T34" fmla="*/ 1 w 4"/>
                    <a:gd name="T35" fmla="*/ 6 h 6"/>
                    <a:gd name="T36" fmla="*/ 3 w 4"/>
                    <a:gd name="T37" fmla="*/ 6 h 6"/>
                    <a:gd name="T38" fmla="*/ 3 w 4"/>
                    <a:gd name="T39" fmla="*/ 4 h 6"/>
                    <a:gd name="T40" fmla="*/ 4 w 4"/>
                    <a:gd name="T41" fmla="*/ 4 h 6"/>
                    <a:gd name="T42" fmla="*/ 4 w 4"/>
                    <a:gd name="T4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4"/>
                      </a:moveTo>
                      <a:lnTo>
                        <a:pt x="4" y="4"/>
                      </a:lnTo>
                      <a:lnTo>
                        <a:pt x="3" y="4"/>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6"/>
                      </a:lnTo>
                      <a:lnTo>
                        <a:pt x="3" y="6"/>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1" name="Freeform 708"/>
                <p:cNvSpPr>
                  <a:spLocks/>
                </p:cNvSpPr>
                <p:nvPr/>
              </p:nvSpPr>
              <p:spPr bwMode="auto">
                <a:xfrm>
                  <a:off x="3911947" y="3234715"/>
                  <a:ext cx="22418" cy="44835"/>
                </a:xfrm>
                <a:custGeom>
                  <a:avLst/>
                  <a:gdLst>
                    <a:gd name="T0" fmla="*/ 3 w 3"/>
                    <a:gd name="T1" fmla="*/ 6 h 6"/>
                    <a:gd name="T2" fmla="*/ 3 w 3"/>
                    <a:gd name="T3" fmla="*/ 4 h 6"/>
                    <a:gd name="T4" fmla="*/ 1 w 3"/>
                    <a:gd name="T5" fmla="*/ 4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4"/>
                      </a:lnTo>
                      <a:lnTo>
                        <a:pt x="1" y="4"/>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2" name="Freeform 709"/>
                <p:cNvSpPr>
                  <a:spLocks/>
                </p:cNvSpPr>
                <p:nvPr/>
              </p:nvSpPr>
              <p:spPr bwMode="auto">
                <a:xfrm>
                  <a:off x="3941837" y="3234715"/>
                  <a:ext cx="22418" cy="44835"/>
                </a:xfrm>
                <a:custGeom>
                  <a:avLst/>
                  <a:gdLst>
                    <a:gd name="T0" fmla="*/ 3 w 3"/>
                    <a:gd name="T1" fmla="*/ 6 h 6"/>
                    <a:gd name="T2" fmla="*/ 3 w 3"/>
                    <a:gd name="T3" fmla="*/ 4 h 6"/>
                    <a:gd name="T4" fmla="*/ 1 w 3"/>
                    <a:gd name="T5" fmla="*/ 4 h 6"/>
                    <a:gd name="T6" fmla="*/ 1 w 3"/>
                    <a:gd name="T7" fmla="*/ 3 h 6"/>
                    <a:gd name="T8" fmla="*/ 3 w 3"/>
                    <a:gd name="T9" fmla="*/ 3 h 6"/>
                    <a:gd name="T10" fmla="*/ 3 w 3"/>
                    <a:gd name="T11" fmla="*/ 2 h 6"/>
                    <a:gd name="T12" fmla="*/ 1 w 3"/>
                    <a:gd name="T13" fmla="*/ 2 h 6"/>
                    <a:gd name="T14" fmla="*/ 1 w 3"/>
                    <a:gd name="T15" fmla="*/ 0 h 6"/>
                    <a:gd name="T16" fmla="*/ 3 w 3"/>
                    <a:gd name="T17" fmla="*/ 0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4"/>
                      </a:lnTo>
                      <a:lnTo>
                        <a:pt x="1" y="4"/>
                      </a:lnTo>
                      <a:lnTo>
                        <a:pt x="1" y="3"/>
                      </a:lnTo>
                      <a:lnTo>
                        <a:pt x="3" y="3"/>
                      </a:lnTo>
                      <a:lnTo>
                        <a:pt x="3" y="2"/>
                      </a:lnTo>
                      <a:lnTo>
                        <a:pt x="1" y="2"/>
                      </a:lnTo>
                      <a:lnTo>
                        <a:pt x="1" y="0"/>
                      </a:lnTo>
                      <a:lnTo>
                        <a:pt x="3" y="0"/>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3" name="Freeform 710"/>
                <p:cNvSpPr>
                  <a:spLocks noEditPoints="1"/>
                </p:cNvSpPr>
                <p:nvPr/>
              </p:nvSpPr>
              <p:spPr bwMode="auto">
                <a:xfrm>
                  <a:off x="3971727" y="3234715"/>
                  <a:ext cx="29890" cy="44835"/>
                </a:xfrm>
                <a:custGeom>
                  <a:avLst/>
                  <a:gdLst>
                    <a:gd name="T0" fmla="*/ 4 w 4"/>
                    <a:gd name="T1" fmla="*/ 6 h 6"/>
                    <a:gd name="T2" fmla="*/ 4 w 4"/>
                    <a:gd name="T3" fmla="*/ 3 h 6"/>
                    <a:gd name="T4" fmla="*/ 4 w 4"/>
                    <a:gd name="T5" fmla="*/ 3 h 6"/>
                    <a:gd name="T6" fmla="*/ 4 w 4"/>
                    <a:gd name="T7" fmla="*/ 2 h 6"/>
                    <a:gd name="T8" fmla="*/ 3 w 4"/>
                    <a:gd name="T9" fmla="*/ 2 h 6"/>
                    <a:gd name="T10" fmla="*/ 3 w 4"/>
                    <a:gd name="T11" fmla="*/ 0 h 6"/>
                    <a:gd name="T12" fmla="*/ 2 w 4"/>
                    <a:gd name="T13" fmla="*/ 0 h 6"/>
                    <a:gd name="T14" fmla="*/ 2 w 4"/>
                    <a:gd name="T15" fmla="*/ 2 h 6"/>
                    <a:gd name="T16" fmla="*/ 2 w 4"/>
                    <a:gd name="T17" fmla="*/ 2 h 6"/>
                    <a:gd name="T18" fmla="*/ 2 w 4"/>
                    <a:gd name="T19" fmla="*/ 3 h 6"/>
                    <a:gd name="T20" fmla="*/ 0 w 4"/>
                    <a:gd name="T21" fmla="*/ 3 h 6"/>
                    <a:gd name="T22" fmla="*/ 0 w 4"/>
                    <a:gd name="T23" fmla="*/ 6 h 6"/>
                    <a:gd name="T24" fmla="*/ 2 w 4"/>
                    <a:gd name="T25" fmla="*/ 6 h 6"/>
                    <a:gd name="T26" fmla="*/ 2 w 4"/>
                    <a:gd name="T27" fmla="*/ 4 h 6"/>
                    <a:gd name="T28" fmla="*/ 4 w 4"/>
                    <a:gd name="T29" fmla="*/ 4 h 6"/>
                    <a:gd name="T30" fmla="*/ 4 w 4"/>
                    <a:gd name="T31" fmla="*/ 6 h 6"/>
                    <a:gd name="T32" fmla="*/ 4 w 4"/>
                    <a:gd name="T33" fmla="*/ 6 h 6"/>
                    <a:gd name="T34" fmla="*/ 4 w 4"/>
                    <a:gd name="T35" fmla="*/ 6 h 6"/>
                    <a:gd name="T36" fmla="*/ 3 w 4"/>
                    <a:gd name="T37" fmla="*/ 3 h 6"/>
                    <a:gd name="T38" fmla="*/ 2 w 4"/>
                    <a:gd name="T39" fmla="*/ 3 h 6"/>
                    <a:gd name="T40" fmla="*/ 2 w 4"/>
                    <a:gd name="T41" fmla="*/ 2 h 6"/>
                    <a:gd name="T42" fmla="*/ 3 w 4"/>
                    <a:gd name="T43" fmla="*/ 2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4" y="3"/>
                      </a:lnTo>
                      <a:lnTo>
                        <a:pt x="4" y="2"/>
                      </a:lnTo>
                      <a:lnTo>
                        <a:pt x="3" y="2"/>
                      </a:lnTo>
                      <a:lnTo>
                        <a:pt x="3" y="0"/>
                      </a:lnTo>
                      <a:lnTo>
                        <a:pt x="2" y="0"/>
                      </a:lnTo>
                      <a:lnTo>
                        <a:pt x="2" y="2"/>
                      </a:lnTo>
                      <a:lnTo>
                        <a:pt x="2" y="2"/>
                      </a:lnTo>
                      <a:lnTo>
                        <a:pt x="2" y="3"/>
                      </a:lnTo>
                      <a:lnTo>
                        <a:pt x="0" y="3"/>
                      </a:lnTo>
                      <a:lnTo>
                        <a:pt x="0" y="6"/>
                      </a:lnTo>
                      <a:lnTo>
                        <a:pt x="2" y="6"/>
                      </a:lnTo>
                      <a:lnTo>
                        <a:pt x="2" y="4"/>
                      </a:lnTo>
                      <a:lnTo>
                        <a:pt x="4" y="4"/>
                      </a:lnTo>
                      <a:lnTo>
                        <a:pt x="4" y="6"/>
                      </a:lnTo>
                      <a:lnTo>
                        <a:pt x="4" y="6"/>
                      </a:lnTo>
                      <a:lnTo>
                        <a:pt x="4"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4" name="Freeform 711"/>
                <p:cNvSpPr>
                  <a:spLocks/>
                </p:cNvSpPr>
                <p:nvPr/>
              </p:nvSpPr>
              <p:spPr bwMode="auto">
                <a:xfrm>
                  <a:off x="4016562" y="3234715"/>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2 h 6"/>
                    <a:gd name="T12" fmla="*/ 1 w 4"/>
                    <a:gd name="T13" fmla="*/ 2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2 h 6"/>
                    <a:gd name="T28" fmla="*/ 1 w 4"/>
                    <a:gd name="T29" fmla="*/ 2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2"/>
                      </a:lnTo>
                      <a:lnTo>
                        <a:pt x="1" y="2"/>
                      </a:lnTo>
                      <a:lnTo>
                        <a:pt x="1" y="2"/>
                      </a:lnTo>
                      <a:lnTo>
                        <a:pt x="0" y="2"/>
                      </a:lnTo>
                      <a:lnTo>
                        <a:pt x="0" y="0"/>
                      </a:lnTo>
                      <a:lnTo>
                        <a:pt x="0" y="0"/>
                      </a:lnTo>
                      <a:lnTo>
                        <a:pt x="0" y="6"/>
                      </a:lnTo>
                      <a:lnTo>
                        <a:pt x="0" y="6"/>
                      </a:lnTo>
                      <a:lnTo>
                        <a:pt x="0" y="2"/>
                      </a:lnTo>
                      <a:lnTo>
                        <a:pt x="1" y="2"/>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5" name="Freeform 712"/>
                <p:cNvSpPr>
                  <a:spLocks/>
                </p:cNvSpPr>
                <p:nvPr/>
              </p:nvSpPr>
              <p:spPr bwMode="auto">
                <a:xfrm>
                  <a:off x="3874584" y="3309440"/>
                  <a:ext cx="22418" cy="37363"/>
                </a:xfrm>
                <a:custGeom>
                  <a:avLst/>
                  <a:gdLst>
                    <a:gd name="T0" fmla="*/ 3 w 3"/>
                    <a:gd name="T1" fmla="*/ 1 h 5"/>
                    <a:gd name="T2" fmla="*/ 3 w 3"/>
                    <a:gd name="T3" fmla="*/ 0 h 5"/>
                    <a:gd name="T4" fmla="*/ 0 w 3"/>
                    <a:gd name="T5" fmla="*/ 0 h 5"/>
                    <a:gd name="T6" fmla="*/ 0 w 3"/>
                    <a:gd name="T7" fmla="*/ 5 h 5"/>
                    <a:gd name="T8" fmla="*/ 1 w 3"/>
                    <a:gd name="T9" fmla="*/ 5 h 5"/>
                    <a:gd name="T10" fmla="*/ 1 w 3"/>
                    <a:gd name="T11" fmla="*/ 3 h 5"/>
                    <a:gd name="T12" fmla="*/ 2 w 3"/>
                    <a:gd name="T13" fmla="*/ 3 h 5"/>
                    <a:gd name="T14" fmla="*/ 2 w 3"/>
                    <a:gd name="T15" fmla="*/ 3 h 5"/>
                    <a:gd name="T16" fmla="*/ 1 w 3"/>
                    <a:gd name="T17" fmla="*/ 3 h 5"/>
                    <a:gd name="T18" fmla="*/ 1 w 3"/>
                    <a:gd name="T19" fmla="*/ 1 h 5"/>
                    <a:gd name="T20" fmla="*/ 3 w 3"/>
                    <a:gd name="T21" fmla="*/ 1 h 5"/>
                    <a:gd name="T22" fmla="*/ 3 w 3"/>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1"/>
                      </a:moveTo>
                      <a:lnTo>
                        <a:pt x="3" y="0"/>
                      </a:lnTo>
                      <a:lnTo>
                        <a:pt x="0" y="0"/>
                      </a:lnTo>
                      <a:lnTo>
                        <a:pt x="0" y="5"/>
                      </a:lnTo>
                      <a:lnTo>
                        <a:pt x="1" y="5"/>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6" name="Freeform 713"/>
                <p:cNvSpPr>
                  <a:spLocks noEditPoints="1"/>
                </p:cNvSpPr>
                <p:nvPr/>
              </p:nvSpPr>
              <p:spPr bwMode="auto">
                <a:xfrm>
                  <a:off x="3904474" y="3309440"/>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7" name="Freeform 714"/>
                <p:cNvSpPr>
                  <a:spLocks/>
                </p:cNvSpPr>
                <p:nvPr/>
              </p:nvSpPr>
              <p:spPr bwMode="auto">
                <a:xfrm>
                  <a:off x="3941837" y="3309440"/>
                  <a:ext cx="29890" cy="37363"/>
                </a:xfrm>
                <a:custGeom>
                  <a:avLst/>
                  <a:gdLst>
                    <a:gd name="T0" fmla="*/ 4 w 4"/>
                    <a:gd name="T1" fmla="*/ 5 h 5"/>
                    <a:gd name="T2" fmla="*/ 4 w 4"/>
                    <a:gd name="T3" fmla="*/ 0 h 5"/>
                    <a:gd name="T4" fmla="*/ 3 w 4"/>
                    <a:gd name="T5" fmla="*/ 0 h 5"/>
                    <a:gd name="T6" fmla="*/ 3 w 4"/>
                    <a:gd name="T7" fmla="*/ 5 h 5"/>
                    <a:gd name="T8" fmla="*/ 1 w 4"/>
                    <a:gd name="T9" fmla="*/ 5 h 5"/>
                    <a:gd name="T10" fmla="*/ 1 w 4"/>
                    <a:gd name="T11" fmla="*/ 0 h 5"/>
                    <a:gd name="T12" fmla="*/ 0 w 4"/>
                    <a:gd name="T13" fmla="*/ 0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5"/>
                      </a:lnTo>
                      <a:lnTo>
                        <a:pt x="1" y="5"/>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8" name="Freeform 715"/>
                <p:cNvSpPr>
                  <a:spLocks/>
                </p:cNvSpPr>
                <p:nvPr/>
              </p:nvSpPr>
              <p:spPr bwMode="auto">
                <a:xfrm>
                  <a:off x="3979200" y="3309440"/>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59" name="Freeform 716"/>
                <p:cNvSpPr>
                  <a:spLocks/>
                </p:cNvSpPr>
                <p:nvPr/>
              </p:nvSpPr>
              <p:spPr bwMode="auto">
                <a:xfrm>
                  <a:off x="4016562" y="3309440"/>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0" name="Freeform 717"/>
                <p:cNvSpPr>
                  <a:spLocks/>
                </p:cNvSpPr>
                <p:nvPr/>
              </p:nvSpPr>
              <p:spPr bwMode="auto">
                <a:xfrm>
                  <a:off x="4024035" y="3309440"/>
                  <a:ext cx="29890" cy="37363"/>
                </a:xfrm>
                <a:custGeom>
                  <a:avLst/>
                  <a:gdLst>
                    <a:gd name="T0" fmla="*/ 4 w 4"/>
                    <a:gd name="T1" fmla="*/ 5 h 5"/>
                    <a:gd name="T2" fmla="*/ 4 w 4"/>
                    <a:gd name="T3" fmla="*/ 0 h 5"/>
                    <a:gd name="T4" fmla="*/ 3 w 4"/>
                    <a:gd name="T5" fmla="*/ 0 h 5"/>
                    <a:gd name="T6" fmla="*/ 3 w 4"/>
                    <a:gd name="T7" fmla="*/ 3 h 5"/>
                    <a:gd name="T8" fmla="*/ 3 w 4"/>
                    <a:gd name="T9" fmla="*/ 3 h 5"/>
                    <a:gd name="T10" fmla="*/ 3 w 4"/>
                    <a:gd name="T11" fmla="*/ 3 h 5"/>
                    <a:gd name="T12" fmla="*/ 2 w 4"/>
                    <a:gd name="T13" fmla="*/ 3 h 5"/>
                    <a:gd name="T14" fmla="*/ 2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3 h 5"/>
                    <a:gd name="T28" fmla="*/ 2 w 4"/>
                    <a:gd name="T29" fmla="*/ 3 h 5"/>
                    <a:gd name="T30" fmla="*/ 2 w 4"/>
                    <a:gd name="T31" fmla="*/ 3 h 5"/>
                    <a:gd name="T32" fmla="*/ 3 w 4"/>
                    <a:gd name="T33" fmla="*/ 3 h 5"/>
                    <a:gd name="T34" fmla="*/ 3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3" y="3"/>
                      </a:lnTo>
                      <a:lnTo>
                        <a:pt x="3" y="3"/>
                      </a:lnTo>
                      <a:lnTo>
                        <a:pt x="2" y="3"/>
                      </a:lnTo>
                      <a:lnTo>
                        <a:pt x="2" y="2"/>
                      </a:lnTo>
                      <a:lnTo>
                        <a:pt x="1" y="2"/>
                      </a:lnTo>
                      <a:lnTo>
                        <a:pt x="1" y="0"/>
                      </a:lnTo>
                      <a:lnTo>
                        <a:pt x="0" y="0"/>
                      </a:lnTo>
                      <a:lnTo>
                        <a:pt x="0" y="5"/>
                      </a:lnTo>
                      <a:lnTo>
                        <a:pt x="1" y="5"/>
                      </a:lnTo>
                      <a:lnTo>
                        <a:pt x="1" y="3"/>
                      </a:lnTo>
                      <a:lnTo>
                        <a:pt x="2" y="3"/>
                      </a:lnTo>
                      <a:lnTo>
                        <a:pt x="2" y="3"/>
                      </a:lnTo>
                      <a:lnTo>
                        <a:pt x="3" y="3"/>
                      </a:lnTo>
                      <a:lnTo>
                        <a:pt x="3"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1" name="Freeform 718"/>
                <p:cNvSpPr>
                  <a:spLocks/>
                </p:cNvSpPr>
                <p:nvPr/>
              </p:nvSpPr>
              <p:spPr bwMode="auto">
                <a:xfrm>
                  <a:off x="4061397" y="3309440"/>
                  <a:ext cx="29890" cy="37363"/>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5 h 5"/>
                    <a:gd name="T12" fmla="*/ 1 w 4"/>
                    <a:gd name="T13" fmla="*/ 5 h 5"/>
                    <a:gd name="T14" fmla="*/ 1 w 4"/>
                    <a:gd name="T15" fmla="*/ 1 h 5"/>
                    <a:gd name="T16" fmla="*/ 3 w 4"/>
                    <a:gd name="T17" fmla="*/ 1 h 5"/>
                    <a:gd name="T18" fmla="*/ 3 w 4"/>
                    <a:gd name="T19" fmla="*/ 2 h 5"/>
                    <a:gd name="T20" fmla="*/ 4 w 4"/>
                    <a:gd name="T21" fmla="*/ 2 h 5"/>
                    <a:gd name="T22" fmla="*/ 4 w 4"/>
                    <a:gd name="T23" fmla="*/ 1 h 5"/>
                    <a:gd name="T24" fmla="*/ 3 w 4"/>
                    <a:gd name="T25" fmla="*/ 1 h 5"/>
                    <a:gd name="T26" fmla="*/ 3 w 4"/>
                    <a:gd name="T27" fmla="*/ 0 h 5"/>
                    <a:gd name="T28" fmla="*/ 1 w 4"/>
                    <a:gd name="T29" fmla="*/ 0 h 5"/>
                    <a:gd name="T30" fmla="*/ 1 w 4"/>
                    <a:gd name="T31" fmla="*/ 1 h 5"/>
                    <a:gd name="T32" fmla="*/ 0 w 4"/>
                    <a:gd name="T33" fmla="*/ 1 h 5"/>
                    <a:gd name="T34" fmla="*/ 0 w 4"/>
                    <a:gd name="T35" fmla="*/ 5 h 5"/>
                    <a:gd name="T36" fmla="*/ 1 w 4"/>
                    <a:gd name="T37" fmla="*/ 5 h 5"/>
                    <a:gd name="T38" fmla="*/ 1 w 4"/>
                    <a:gd name="T39" fmla="*/ 5 h 5"/>
                    <a:gd name="T40" fmla="*/ 3 w 4"/>
                    <a:gd name="T41" fmla="*/ 5 h 5"/>
                    <a:gd name="T42" fmla="*/ 3 w 4"/>
                    <a:gd name="T43" fmla="*/ 5 h 5"/>
                    <a:gd name="T44" fmla="*/ 4 w 4"/>
                    <a:gd name="T45" fmla="*/ 5 h 5"/>
                    <a:gd name="T46" fmla="*/ 4 w 4"/>
                    <a:gd name="T4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2" name="Freeform 719"/>
                <p:cNvSpPr>
                  <a:spLocks noEditPoints="1"/>
                </p:cNvSpPr>
                <p:nvPr/>
              </p:nvSpPr>
              <p:spPr bwMode="auto">
                <a:xfrm>
                  <a:off x="3874584" y="3391638"/>
                  <a:ext cx="29890" cy="37363"/>
                </a:xfrm>
                <a:custGeom>
                  <a:avLst/>
                  <a:gdLst>
                    <a:gd name="T0" fmla="*/ 4 w 4"/>
                    <a:gd name="T1" fmla="*/ 4 h 5"/>
                    <a:gd name="T2" fmla="*/ 4 w 4"/>
                    <a:gd name="T3" fmla="*/ 1 h 5"/>
                    <a:gd name="T4" fmla="*/ 4 w 4"/>
                    <a:gd name="T5" fmla="*/ 1 h 5"/>
                    <a:gd name="T6" fmla="*/ 4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4 w 4"/>
                    <a:gd name="T21" fmla="*/ 4 h 5"/>
                    <a:gd name="T22" fmla="*/ 4 w 4"/>
                    <a:gd name="T23" fmla="*/ 4 h 5"/>
                    <a:gd name="T24" fmla="*/ 4 w 4"/>
                    <a:gd name="T25" fmla="*/ 4 h 5"/>
                    <a:gd name="T26" fmla="*/ 4 w 4"/>
                    <a:gd name="T27" fmla="*/ 4 h 5"/>
                    <a:gd name="T28" fmla="*/ 3 w 4"/>
                    <a:gd name="T29" fmla="*/ 4 h 5"/>
                    <a:gd name="T30" fmla="*/ 2 w 4"/>
                    <a:gd name="T31" fmla="*/ 4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1"/>
                      </a:lnTo>
                      <a:lnTo>
                        <a:pt x="4" y="1"/>
                      </a:lnTo>
                      <a:lnTo>
                        <a:pt x="4" y="0"/>
                      </a:lnTo>
                      <a:lnTo>
                        <a:pt x="2" y="0"/>
                      </a:lnTo>
                      <a:lnTo>
                        <a:pt x="2" y="0"/>
                      </a:lnTo>
                      <a:lnTo>
                        <a:pt x="0" y="0"/>
                      </a:lnTo>
                      <a:lnTo>
                        <a:pt x="0" y="5"/>
                      </a:lnTo>
                      <a:lnTo>
                        <a:pt x="2" y="5"/>
                      </a:lnTo>
                      <a:lnTo>
                        <a:pt x="2" y="4"/>
                      </a:lnTo>
                      <a:lnTo>
                        <a:pt x="4" y="4"/>
                      </a:lnTo>
                      <a:lnTo>
                        <a:pt x="4" y="4"/>
                      </a:lnTo>
                      <a:lnTo>
                        <a:pt x="4" y="4"/>
                      </a:lnTo>
                      <a:lnTo>
                        <a:pt x="4" y="4"/>
                      </a:lnTo>
                      <a:close/>
                      <a:moveTo>
                        <a:pt x="3" y="4"/>
                      </a:moveTo>
                      <a:lnTo>
                        <a:pt x="2" y="4"/>
                      </a:lnTo>
                      <a:lnTo>
                        <a:pt x="2" y="4"/>
                      </a:lnTo>
                      <a:lnTo>
                        <a:pt x="1" y="4"/>
                      </a:lnTo>
                      <a:lnTo>
                        <a:pt x="1" y="0"/>
                      </a:lnTo>
                      <a:lnTo>
                        <a:pt x="2" y="0"/>
                      </a:lnTo>
                      <a:lnTo>
                        <a:pt x="2"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3" name="Freeform 720"/>
                <p:cNvSpPr>
                  <a:spLocks/>
                </p:cNvSpPr>
                <p:nvPr/>
              </p:nvSpPr>
              <p:spPr bwMode="auto">
                <a:xfrm>
                  <a:off x="3911947" y="3391638"/>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4" name="Freeform 721"/>
                <p:cNvSpPr>
                  <a:spLocks noEditPoints="1"/>
                </p:cNvSpPr>
                <p:nvPr/>
              </p:nvSpPr>
              <p:spPr bwMode="auto">
                <a:xfrm>
                  <a:off x="3926892" y="3391638"/>
                  <a:ext cx="29890" cy="37363"/>
                </a:xfrm>
                <a:custGeom>
                  <a:avLst/>
                  <a:gdLst>
                    <a:gd name="T0" fmla="*/ 4 w 4"/>
                    <a:gd name="T1" fmla="*/ 5 h 5"/>
                    <a:gd name="T2" fmla="*/ 4 w 4"/>
                    <a:gd name="T3" fmla="*/ 4 h 5"/>
                    <a:gd name="T4" fmla="*/ 3 w 4"/>
                    <a:gd name="T5" fmla="*/ 4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4 h 5"/>
                    <a:gd name="T28" fmla="*/ 3 w 4"/>
                    <a:gd name="T29" fmla="*/ 4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2"/>
                      </a:lnTo>
                      <a:lnTo>
                        <a:pt x="4" y="2"/>
                      </a:lnTo>
                      <a:lnTo>
                        <a:pt x="4" y="0"/>
                      </a:lnTo>
                      <a:lnTo>
                        <a:pt x="3" y="0"/>
                      </a:lnTo>
                      <a:lnTo>
                        <a:pt x="3" y="0"/>
                      </a:lnTo>
                      <a:lnTo>
                        <a:pt x="0" y="0"/>
                      </a:lnTo>
                      <a:lnTo>
                        <a:pt x="0" y="5"/>
                      </a:lnTo>
                      <a:lnTo>
                        <a:pt x="1" y="5"/>
                      </a:lnTo>
                      <a:lnTo>
                        <a:pt x="1" y="3"/>
                      </a:lnTo>
                      <a:lnTo>
                        <a:pt x="2" y="3"/>
                      </a:lnTo>
                      <a:lnTo>
                        <a:pt x="2" y="4"/>
                      </a:lnTo>
                      <a:lnTo>
                        <a:pt x="3" y="4"/>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5" name="Freeform 722"/>
                <p:cNvSpPr>
                  <a:spLocks/>
                </p:cNvSpPr>
                <p:nvPr/>
              </p:nvSpPr>
              <p:spPr bwMode="auto">
                <a:xfrm>
                  <a:off x="3964254" y="3391638"/>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6" name="Freeform 723"/>
                <p:cNvSpPr>
                  <a:spLocks/>
                </p:cNvSpPr>
                <p:nvPr/>
              </p:nvSpPr>
              <p:spPr bwMode="auto">
                <a:xfrm>
                  <a:off x="4001617" y="3391638"/>
                  <a:ext cx="29890" cy="37363"/>
                </a:xfrm>
                <a:custGeom>
                  <a:avLst/>
                  <a:gdLst>
                    <a:gd name="T0" fmla="*/ 4 w 4"/>
                    <a:gd name="T1" fmla="*/ 1 h 5"/>
                    <a:gd name="T2" fmla="*/ 4 w 4"/>
                    <a:gd name="T3" fmla="*/ 0 h 5"/>
                    <a:gd name="T4" fmla="*/ 3 w 4"/>
                    <a:gd name="T5" fmla="*/ 0 h 5"/>
                    <a:gd name="T6" fmla="*/ 3 w 4"/>
                    <a:gd name="T7" fmla="*/ 1 h 5"/>
                    <a:gd name="T8" fmla="*/ 3 w 4"/>
                    <a:gd name="T9" fmla="*/ 1 h 5"/>
                    <a:gd name="T10" fmla="*/ 3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1 h 5"/>
                    <a:gd name="T24" fmla="*/ 1 w 4"/>
                    <a:gd name="T25" fmla="*/ 1 h 5"/>
                    <a:gd name="T26" fmla="*/ 1 w 4"/>
                    <a:gd name="T27" fmla="*/ 2 h 5"/>
                    <a:gd name="T28" fmla="*/ 2 w 4"/>
                    <a:gd name="T29" fmla="*/ 2 h 5"/>
                    <a:gd name="T30" fmla="*/ 2 w 4"/>
                    <a:gd name="T31" fmla="*/ 5 h 5"/>
                    <a:gd name="T32" fmla="*/ 3 w 4"/>
                    <a:gd name="T33" fmla="*/ 5 h 5"/>
                    <a:gd name="T34" fmla="*/ 3 w 4"/>
                    <a:gd name="T35" fmla="*/ 2 h 5"/>
                    <a:gd name="T36" fmla="*/ 3 w 4"/>
                    <a:gd name="T37" fmla="*/ 2 h 5"/>
                    <a:gd name="T38" fmla="*/ 3 w 4"/>
                    <a:gd name="T39" fmla="*/ 1 h 5"/>
                    <a:gd name="T40" fmla="*/ 4 w 4"/>
                    <a:gd name="T41" fmla="*/ 1 h 5"/>
                    <a:gd name="T42" fmla="*/ 4 w 4"/>
                    <a:gd name="T4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1"/>
                      </a:moveTo>
                      <a:lnTo>
                        <a:pt x="4" y="0"/>
                      </a:lnTo>
                      <a:lnTo>
                        <a:pt x="3" y="0"/>
                      </a:lnTo>
                      <a:lnTo>
                        <a:pt x="3" y="1"/>
                      </a:lnTo>
                      <a:lnTo>
                        <a:pt x="3" y="1"/>
                      </a:lnTo>
                      <a:lnTo>
                        <a:pt x="3" y="2"/>
                      </a:lnTo>
                      <a:lnTo>
                        <a:pt x="2" y="2"/>
                      </a:lnTo>
                      <a:lnTo>
                        <a:pt x="2" y="1"/>
                      </a:lnTo>
                      <a:lnTo>
                        <a:pt x="1" y="1"/>
                      </a:lnTo>
                      <a:lnTo>
                        <a:pt x="1" y="0"/>
                      </a:lnTo>
                      <a:lnTo>
                        <a:pt x="0" y="0"/>
                      </a:lnTo>
                      <a:lnTo>
                        <a:pt x="0" y="1"/>
                      </a:lnTo>
                      <a:lnTo>
                        <a:pt x="1" y="1"/>
                      </a:lnTo>
                      <a:lnTo>
                        <a:pt x="1" y="2"/>
                      </a:lnTo>
                      <a:lnTo>
                        <a:pt x="2" y="2"/>
                      </a:lnTo>
                      <a:lnTo>
                        <a:pt x="2" y="5"/>
                      </a:lnTo>
                      <a:lnTo>
                        <a:pt x="3" y="5"/>
                      </a:lnTo>
                      <a:lnTo>
                        <a:pt x="3" y="2"/>
                      </a:lnTo>
                      <a:lnTo>
                        <a:pt x="3" y="2"/>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7" name="Freeform 724"/>
                <p:cNvSpPr>
                  <a:spLocks/>
                </p:cNvSpPr>
                <p:nvPr/>
              </p:nvSpPr>
              <p:spPr bwMode="auto">
                <a:xfrm>
                  <a:off x="3022717" y="3854934"/>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2 h 5"/>
                    <a:gd name="T12" fmla="*/ 2 w 3"/>
                    <a:gd name="T13" fmla="*/ 2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2"/>
                      </a:lnTo>
                      <a:lnTo>
                        <a:pt x="2" y="2"/>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8" name="Freeform 725"/>
                <p:cNvSpPr>
                  <a:spLocks/>
                </p:cNvSpPr>
                <p:nvPr/>
              </p:nvSpPr>
              <p:spPr bwMode="auto">
                <a:xfrm>
                  <a:off x="3052607" y="3854934"/>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69" name="Freeform 726"/>
                <p:cNvSpPr>
                  <a:spLocks/>
                </p:cNvSpPr>
                <p:nvPr/>
              </p:nvSpPr>
              <p:spPr bwMode="auto">
                <a:xfrm>
                  <a:off x="3082497" y="3854934"/>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0" name="Freeform 727"/>
                <p:cNvSpPr>
                  <a:spLocks/>
                </p:cNvSpPr>
                <p:nvPr/>
              </p:nvSpPr>
              <p:spPr bwMode="auto">
                <a:xfrm>
                  <a:off x="3119860" y="3854934"/>
                  <a:ext cx="22418" cy="37363"/>
                </a:xfrm>
                <a:custGeom>
                  <a:avLst/>
                  <a:gdLst>
                    <a:gd name="T0" fmla="*/ 3 w 3"/>
                    <a:gd name="T1" fmla="*/ 5 h 5"/>
                    <a:gd name="T2" fmla="*/ 3 w 3"/>
                    <a:gd name="T3" fmla="*/ 4 h 5"/>
                    <a:gd name="T4" fmla="*/ 1 w 3"/>
                    <a:gd name="T5" fmla="*/ 4 h 5"/>
                    <a:gd name="T6" fmla="*/ 1 w 3"/>
                    <a:gd name="T7" fmla="*/ 2 h 5"/>
                    <a:gd name="T8" fmla="*/ 3 w 3"/>
                    <a:gd name="T9" fmla="*/ 2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2"/>
                      </a:lnTo>
                      <a:lnTo>
                        <a:pt x="3" y="2"/>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1" name="Freeform 728"/>
                <p:cNvSpPr>
                  <a:spLocks/>
                </p:cNvSpPr>
                <p:nvPr/>
              </p:nvSpPr>
              <p:spPr bwMode="auto">
                <a:xfrm>
                  <a:off x="3179640"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2" name="Freeform 729"/>
                <p:cNvSpPr>
                  <a:spLocks/>
                </p:cNvSpPr>
                <p:nvPr/>
              </p:nvSpPr>
              <p:spPr bwMode="auto">
                <a:xfrm>
                  <a:off x="3246893"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3" name="Freeform 730"/>
                <p:cNvSpPr>
                  <a:spLocks/>
                </p:cNvSpPr>
                <p:nvPr/>
              </p:nvSpPr>
              <p:spPr bwMode="auto">
                <a:xfrm>
                  <a:off x="3276783" y="3854934"/>
                  <a:ext cx="29890" cy="37363"/>
                </a:xfrm>
                <a:custGeom>
                  <a:avLst/>
                  <a:gdLst>
                    <a:gd name="T0" fmla="*/ 4 w 4"/>
                    <a:gd name="T1" fmla="*/ 5 h 5"/>
                    <a:gd name="T2" fmla="*/ 4 w 4"/>
                    <a:gd name="T3" fmla="*/ 4 h 5"/>
                    <a:gd name="T4" fmla="*/ 3 w 4"/>
                    <a:gd name="T5" fmla="*/ 4 h 5"/>
                    <a:gd name="T6" fmla="*/ 3 w 4"/>
                    <a:gd name="T7" fmla="*/ 2 h 5"/>
                    <a:gd name="T8" fmla="*/ 2 w 4"/>
                    <a:gd name="T9" fmla="*/ 2 h 5"/>
                    <a:gd name="T10" fmla="*/ 2 w 4"/>
                    <a:gd name="T11" fmla="*/ 2 h 5"/>
                    <a:gd name="T12" fmla="*/ 3 w 4"/>
                    <a:gd name="T13" fmla="*/ 2 h 5"/>
                    <a:gd name="T14" fmla="*/ 3 w 4"/>
                    <a:gd name="T15" fmla="*/ 1 h 5"/>
                    <a:gd name="T16" fmla="*/ 4 w 4"/>
                    <a:gd name="T17" fmla="*/ 1 h 5"/>
                    <a:gd name="T18" fmla="*/ 4 w 4"/>
                    <a:gd name="T19" fmla="*/ 0 h 5"/>
                    <a:gd name="T20" fmla="*/ 3 w 4"/>
                    <a:gd name="T21" fmla="*/ 0 h 5"/>
                    <a:gd name="T22" fmla="*/ 3 w 4"/>
                    <a:gd name="T23" fmla="*/ 1 h 5"/>
                    <a:gd name="T24" fmla="*/ 2 w 4"/>
                    <a:gd name="T25" fmla="*/ 1 h 5"/>
                    <a:gd name="T26" fmla="*/ 2 w 4"/>
                    <a:gd name="T27" fmla="*/ 2 h 5"/>
                    <a:gd name="T28" fmla="*/ 1 w 4"/>
                    <a:gd name="T29" fmla="*/ 2 h 5"/>
                    <a:gd name="T30" fmla="*/ 1 w 4"/>
                    <a:gd name="T31" fmla="*/ 1 h 5"/>
                    <a:gd name="T32" fmla="*/ 1 w 4"/>
                    <a:gd name="T33" fmla="*/ 1 h 5"/>
                    <a:gd name="T34" fmla="*/ 1 w 4"/>
                    <a:gd name="T35" fmla="*/ 0 h 5"/>
                    <a:gd name="T36" fmla="*/ 0 w 4"/>
                    <a:gd name="T37" fmla="*/ 0 h 5"/>
                    <a:gd name="T38" fmla="*/ 0 w 4"/>
                    <a:gd name="T39" fmla="*/ 1 h 5"/>
                    <a:gd name="T40" fmla="*/ 1 w 4"/>
                    <a:gd name="T41" fmla="*/ 1 h 5"/>
                    <a:gd name="T42" fmla="*/ 1 w 4"/>
                    <a:gd name="T43" fmla="*/ 2 h 5"/>
                    <a:gd name="T44" fmla="*/ 1 w 4"/>
                    <a:gd name="T45" fmla="*/ 2 h 5"/>
                    <a:gd name="T46" fmla="*/ 1 w 4"/>
                    <a:gd name="T47" fmla="*/ 2 h 5"/>
                    <a:gd name="T48" fmla="*/ 1 w 4"/>
                    <a:gd name="T49" fmla="*/ 2 h 5"/>
                    <a:gd name="T50" fmla="*/ 1 w 4"/>
                    <a:gd name="T51" fmla="*/ 4 h 5"/>
                    <a:gd name="T52" fmla="*/ 0 w 4"/>
                    <a:gd name="T53" fmla="*/ 4 h 5"/>
                    <a:gd name="T54" fmla="*/ 0 w 4"/>
                    <a:gd name="T55" fmla="*/ 5 h 5"/>
                    <a:gd name="T56" fmla="*/ 1 w 4"/>
                    <a:gd name="T57" fmla="*/ 5 h 5"/>
                    <a:gd name="T58" fmla="*/ 1 w 4"/>
                    <a:gd name="T59" fmla="*/ 4 h 5"/>
                    <a:gd name="T60" fmla="*/ 1 w 4"/>
                    <a:gd name="T61" fmla="*/ 4 h 5"/>
                    <a:gd name="T62" fmla="*/ 1 w 4"/>
                    <a:gd name="T63" fmla="*/ 2 h 5"/>
                    <a:gd name="T64" fmla="*/ 2 w 4"/>
                    <a:gd name="T65" fmla="*/ 2 h 5"/>
                    <a:gd name="T66" fmla="*/ 2 w 4"/>
                    <a:gd name="T67" fmla="*/ 4 h 5"/>
                    <a:gd name="T68" fmla="*/ 3 w 4"/>
                    <a:gd name="T69" fmla="*/ 4 h 5"/>
                    <a:gd name="T70" fmla="*/ 3 w 4"/>
                    <a:gd name="T71" fmla="*/ 5 h 5"/>
                    <a:gd name="T72" fmla="*/ 4 w 4"/>
                    <a:gd name="T73" fmla="*/ 5 h 5"/>
                    <a:gd name="T74" fmla="*/ 4 w 4"/>
                    <a:gd name="T7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5">
                      <a:moveTo>
                        <a:pt x="4" y="5"/>
                      </a:moveTo>
                      <a:lnTo>
                        <a:pt x="4" y="4"/>
                      </a:lnTo>
                      <a:lnTo>
                        <a:pt x="3" y="4"/>
                      </a:lnTo>
                      <a:lnTo>
                        <a:pt x="3" y="2"/>
                      </a:lnTo>
                      <a:lnTo>
                        <a:pt x="2" y="2"/>
                      </a:lnTo>
                      <a:lnTo>
                        <a:pt x="2" y="2"/>
                      </a:lnTo>
                      <a:lnTo>
                        <a:pt x="3" y="2"/>
                      </a:lnTo>
                      <a:lnTo>
                        <a:pt x="3" y="1"/>
                      </a:lnTo>
                      <a:lnTo>
                        <a:pt x="4" y="1"/>
                      </a:lnTo>
                      <a:lnTo>
                        <a:pt x="4" y="0"/>
                      </a:lnTo>
                      <a:lnTo>
                        <a:pt x="3" y="0"/>
                      </a:lnTo>
                      <a:lnTo>
                        <a:pt x="3" y="1"/>
                      </a:lnTo>
                      <a:lnTo>
                        <a:pt x="2" y="1"/>
                      </a:lnTo>
                      <a:lnTo>
                        <a:pt x="2" y="2"/>
                      </a:lnTo>
                      <a:lnTo>
                        <a:pt x="1" y="2"/>
                      </a:lnTo>
                      <a:lnTo>
                        <a:pt x="1" y="1"/>
                      </a:lnTo>
                      <a:lnTo>
                        <a:pt x="1" y="1"/>
                      </a:lnTo>
                      <a:lnTo>
                        <a:pt x="1" y="0"/>
                      </a:lnTo>
                      <a:lnTo>
                        <a:pt x="0" y="0"/>
                      </a:lnTo>
                      <a:lnTo>
                        <a:pt x="0" y="1"/>
                      </a:lnTo>
                      <a:lnTo>
                        <a:pt x="1" y="1"/>
                      </a:lnTo>
                      <a:lnTo>
                        <a:pt x="1" y="2"/>
                      </a:lnTo>
                      <a:lnTo>
                        <a:pt x="1" y="2"/>
                      </a:lnTo>
                      <a:lnTo>
                        <a:pt x="1" y="2"/>
                      </a:lnTo>
                      <a:lnTo>
                        <a:pt x="1" y="2"/>
                      </a:lnTo>
                      <a:lnTo>
                        <a:pt x="1" y="4"/>
                      </a:lnTo>
                      <a:lnTo>
                        <a:pt x="0" y="4"/>
                      </a:lnTo>
                      <a:lnTo>
                        <a:pt x="0" y="5"/>
                      </a:lnTo>
                      <a:lnTo>
                        <a:pt x="1" y="5"/>
                      </a:lnTo>
                      <a:lnTo>
                        <a:pt x="1" y="4"/>
                      </a:lnTo>
                      <a:lnTo>
                        <a:pt x="1" y="4"/>
                      </a:lnTo>
                      <a:lnTo>
                        <a:pt x="1" y="2"/>
                      </a:lnTo>
                      <a:lnTo>
                        <a:pt x="2" y="2"/>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4" name="Freeform 731"/>
                <p:cNvSpPr>
                  <a:spLocks/>
                </p:cNvSpPr>
                <p:nvPr/>
              </p:nvSpPr>
              <p:spPr bwMode="auto">
                <a:xfrm>
                  <a:off x="3314145" y="3854934"/>
                  <a:ext cx="0" cy="37363"/>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5" name="Freeform 732"/>
                <p:cNvSpPr>
                  <a:spLocks/>
                </p:cNvSpPr>
                <p:nvPr/>
              </p:nvSpPr>
              <p:spPr bwMode="auto">
                <a:xfrm>
                  <a:off x="3329090" y="3854934"/>
                  <a:ext cx="29890" cy="37363"/>
                </a:xfrm>
                <a:custGeom>
                  <a:avLst/>
                  <a:gdLst>
                    <a:gd name="T0" fmla="*/ 4 w 4"/>
                    <a:gd name="T1" fmla="*/ 0 h 5"/>
                    <a:gd name="T2" fmla="*/ 4 w 4"/>
                    <a:gd name="T3" fmla="*/ 0 h 5"/>
                    <a:gd name="T4" fmla="*/ 0 w 4"/>
                    <a:gd name="T5" fmla="*/ 0 h 5"/>
                    <a:gd name="T6" fmla="*/ 0 w 4"/>
                    <a:gd name="T7" fmla="*/ 0 h 5"/>
                    <a:gd name="T8" fmla="*/ 1 w 4"/>
                    <a:gd name="T9" fmla="*/ 0 h 5"/>
                    <a:gd name="T10" fmla="*/ 1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1" y="0"/>
                      </a:lnTo>
                      <a:lnTo>
                        <a:pt x="1"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6" name="Freeform 733"/>
                <p:cNvSpPr>
                  <a:spLocks/>
                </p:cNvSpPr>
                <p:nvPr/>
              </p:nvSpPr>
              <p:spPr bwMode="auto">
                <a:xfrm>
                  <a:off x="3388870" y="3854934"/>
                  <a:ext cx="29890" cy="37363"/>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7" name="Freeform 734"/>
                <p:cNvSpPr>
                  <a:spLocks noEditPoints="1"/>
                </p:cNvSpPr>
                <p:nvPr/>
              </p:nvSpPr>
              <p:spPr bwMode="auto">
                <a:xfrm>
                  <a:off x="3545793" y="3854934"/>
                  <a:ext cx="22418" cy="37363"/>
                </a:xfrm>
                <a:custGeom>
                  <a:avLst/>
                  <a:gdLst>
                    <a:gd name="T0" fmla="*/ 3 w 3"/>
                    <a:gd name="T1" fmla="*/ 4 h 5"/>
                    <a:gd name="T2" fmla="*/ 3 w 3"/>
                    <a:gd name="T3" fmla="*/ 1 h 5"/>
                    <a:gd name="T4" fmla="*/ 2 w 3"/>
                    <a:gd name="T5" fmla="*/ 1 h 5"/>
                    <a:gd name="T6" fmla="*/ 2 w 3"/>
                    <a:gd name="T7" fmla="*/ 0 h 5"/>
                    <a:gd name="T8" fmla="*/ 2 w 3"/>
                    <a:gd name="T9" fmla="*/ 0 h 5"/>
                    <a:gd name="T10" fmla="*/ 2 w 3"/>
                    <a:gd name="T11" fmla="*/ 0 h 5"/>
                    <a:gd name="T12" fmla="*/ 0 w 3"/>
                    <a:gd name="T13" fmla="*/ 0 h 5"/>
                    <a:gd name="T14" fmla="*/ 0 w 3"/>
                    <a:gd name="T15" fmla="*/ 5 h 5"/>
                    <a:gd name="T16" fmla="*/ 2 w 3"/>
                    <a:gd name="T17" fmla="*/ 5 h 5"/>
                    <a:gd name="T18" fmla="*/ 2 w 3"/>
                    <a:gd name="T19" fmla="*/ 4 h 5"/>
                    <a:gd name="T20" fmla="*/ 2 w 3"/>
                    <a:gd name="T21" fmla="*/ 4 h 5"/>
                    <a:gd name="T22" fmla="*/ 2 w 3"/>
                    <a:gd name="T23" fmla="*/ 4 h 5"/>
                    <a:gd name="T24" fmla="*/ 3 w 3"/>
                    <a:gd name="T25" fmla="*/ 4 h 5"/>
                    <a:gd name="T26" fmla="*/ 3 w 3"/>
                    <a:gd name="T27" fmla="*/ 4 h 5"/>
                    <a:gd name="T28" fmla="*/ 2 w 3"/>
                    <a:gd name="T29" fmla="*/ 4 h 5"/>
                    <a:gd name="T30" fmla="*/ 2 w 3"/>
                    <a:gd name="T31" fmla="*/ 4 h 5"/>
                    <a:gd name="T32" fmla="*/ 2 w 3"/>
                    <a:gd name="T33" fmla="*/ 4 h 5"/>
                    <a:gd name="T34" fmla="*/ 0 w 3"/>
                    <a:gd name="T35" fmla="*/ 4 h 5"/>
                    <a:gd name="T36" fmla="*/ 0 w 3"/>
                    <a:gd name="T37" fmla="*/ 0 h 5"/>
                    <a:gd name="T38" fmla="*/ 2 w 3"/>
                    <a:gd name="T39" fmla="*/ 0 h 5"/>
                    <a:gd name="T40" fmla="*/ 2 w 3"/>
                    <a:gd name="T41" fmla="*/ 1 h 5"/>
                    <a:gd name="T42" fmla="*/ 2 w 3"/>
                    <a:gd name="T43" fmla="*/ 1 h 5"/>
                    <a:gd name="T44" fmla="*/ 2 w 3"/>
                    <a:gd name="T45" fmla="*/ 4 h 5"/>
                    <a:gd name="T46" fmla="*/ 2 w 3"/>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4"/>
                      </a:moveTo>
                      <a:lnTo>
                        <a:pt x="3" y="1"/>
                      </a:lnTo>
                      <a:lnTo>
                        <a:pt x="2" y="1"/>
                      </a:lnTo>
                      <a:lnTo>
                        <a:pt x="2" y="0"/>
                      </a:lnTo>
                      <a:lnTo>
                        <a:pt x="2" y="0"/>
                      </a:lnTo>
                      <a:lnTo>
                        <a:pt x="2" y="0"/>
                      </a:lnTo>
                      <a:lnTo>
                        <a:pt x="0" y="0"/>
                      </a:lnTo>
                      <a:lnTo>
                        <a:pt x="0" y="5"/>
                      </a:lnTo>
                      <a:lnTo>
                        <a:pt x="2" y="5"/>
                      </a:lnTo>
                      <a:lnTo>
                        <a:pt x="2" y="4"/>
                      </a:lnTo>
                      <a:lnTo>
                        <a:pt x="2" y="4"/>
                      </a:lnTo>
                      <a:lnTo>
                        <a:pt x="2" y="4"/>
                      </a:lnTo>
                      <a:lnTo>
                        <a:pt x="3" y="4"/>
                      </a:lnTo>
                      <a:lnTo>
                        <a:pt x="3" y="4"/>
                      </a:lnTo>
                      <a:close/>
                      <a:moveTo>
                        <a:pt x="2" y="4"/>
                      </a:moveTo>
                      <a:lnTo>
                        <a:pt x="2" y="4"/>
                      </a:lnTo>
                      <a:lnTo>
                        <a:pt x="2" y="4"/>
                      </a:lnTo>
                      <a:lnTo>
                        <a:pt x="0" y="4"/>
                      </a:lnTo>
                      <a:lnTo>
                        <a:pt x="0" y="0"/>
                      </a:lnTo>
                      <a:lnTo>
                        <a:pt x="2" y="0"/>
                      </a:lnTo>
                      <a:lnTo>
                        <a:pt x="2"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8" name="Freeform 735"/>
                <p:cNvSpPr>
                  <a:spLocks/>
                </p:cNvSpPr>
                <p:nvPr/>
              </p:nvSpPr>
              <p:spPr bwMode="auto">
                <a:xfrm>
                  <a:off x="3583156" y="3854934"/>
                  <a:ext cx="22418" cy="37363"/>
                </a:xfrm>
                <a:custGeom>
                  <a:avLst/>
                  <a:gdLst>
                    <a:gd name="T0" fmla="*/ 3 w 3"/>
                    <a:gd name="T1" fmla="*/ 5 h 5"/>
                    <a:gd name="T2" fmla="*/ 3 w 3"/>
                    <a:gd name="T3" fmla="*/ 4 h 5"/>
                    <a:gd name="T4" fmla="*/ 0 w 3"/>
                    <a:gd name="T5" fmla="*/ 4 h 5"/>
                    <a:gd name="T6" fmla="*/ 0 w 3"/>
                    <a:gd name="T7" fmla="*/ 2 h 5"/>
                    <a:gd name="T8" fmla="*/ 2 w 3"/>
                    <a:gd name="T9" fmla="*/ 2 h 5"/>
                    <a:gd name="T10" fmla="*/ 2 w 3"/>
                    <a:gd name="T11" fmla="*/ 2 h 5"/>
                    <a:gd name="T12" fmla="*/ 0 w 3"/>
                    <a:gd name="T13" fmla="*/ 2 h 5"/>
                    <a:gd name="T14" fmla="*/ 0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0" y="4"/>
                      </a:lnTo>
                      <a:lnTo>
                        <a:pt x="0" y="2"/>
                      </a:lnTo>
                      <a:lnTo>
                        <a:pt x="2" y="2"/>
                      </a:lnTo>
                      <a:lnTo>
                        <a:pt x="2" y="2"/>
                      </a:lnTo>
                      <a:lnTo>
                        <a:pt x="0" y="2"/>
                      </a:lnTo>
                      <a:lnTo>
                        <a:pt x="0"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79" name="Freeform 736"/>
                <p:cNvSpPr>
                  <a:spLocks/>
                </p:cNvSpPr>
                <p:nvPr/>
              </p:nvSpPr>
              <p:spPr bwMode="auto">
                <a:xfrm>
                  <a:off x="3613046" y="3854934"/>
                  <a:ext cx="29890" cy="37363"/>
                </a:xfrm>
                <a:custGeom>
                  <a:avLst/>
                  <a:gdLst>
                    <a:gd name="T0" fmla="*/ 4 w 4"/>
                    <a:gd name="T1" fmla="*/ 4 h 5"/>
                    <a:gd name="T2" fmla="*/ 4 w 4"/>
                    <a:gd name="T3" fmla="*/ 2 h 5"/>
                    <a:gd name="T4" fmla="*/ 2 w 4"/>
                    <a:gd name="T5" fmla="*/ 2 h 5"/>
                    <a:gd name="T6" fmla="*/ 2 w 4"/>
                    <a:gd name="T7" fmla="*/ 2 h 5"/>
                    <a:gd name="T8" fmla="*/ 3 w 4"/>
                    <a:gd name="T9" fmla="*/ 2 h 5"/>
                    <a:gd name="T10" fmla="*/ 3 w 4"/>
                    <a:gd name="T11" fmla="*/ 4 h 5"/>
                    <a:gd name="T12" fmla="*/ 0 w 4"/>
                    <a:gd name="T13" fmla="*/ 4 h 5"/>
                    <a:gd name="T14" fmla="*/ 0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0 w 4"/>
                    <a:gd name="T29" fmla="*/ 0 h 5"/>
                    <a:gd name="T30" fmla="*/ 0 w 4"/>
                    <a:gd name="T31" fmla="*/ 0 h 5"/>
                    <a:gd name="T32" fmla="*/ 0 w 4"/>
                    <a:gd name="T33" fmla="*/ 0 h 5"/>
                    <a:gd name="T34" fmla="*/ 0 w 4"/>
                    <a:gd name="T35" fmla="*/ 4 h 5"/>
                    <a:gd name="T36" fmla="*/ 0 w 4"/>
                    <a:gd name="T37" fmla="*/ 4 h 5"/>
                    <a:gd name="T38" fmla="*/ 0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2"/>
                      </a:lnTo>
                      <a:lnTo>
                        <a:pt x="3" y="2"/>
                      </a:lnTo>
                      <a:lnTo>
                        <a:pt x="3" y="4"/>
                      </a:lnTo>
                      <a:lnTo>
                        <a:pt x="0" y="4"/>
                      </a:lnTo>
                      <a:lnTo>
                        <a:pt x="0" y="0"/>
                      </a:lnTo>
                      <a:lnTo>
                        <a:pt x="3" y="0"/>
                      </a:lnTo>
                      <a:lnTo>
                        <a:pt x="3" y="1"/>
                      </a:lnTo>
                      <a:lnTo>
                        <a:pt x="4" y="1"/>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0" name="Freeform 737"/>
                <p:cNvSpPr>
                  <a:spLocks/>
                </p:cNvSpPr>
                <p:nvPr/>
              </p:nvSpPr>
              <p:spPr bwMode="auto">
                <a:xfrm>
                  <a:off x="3672826" y="385493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2 h 5"/>
                    <a:gd name="T12" fmla="*/ 3 w 3"/>
                    <a:gd name="T13" fmla="*/ 2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2"/>
                      </a:lnTo>
                      <a:lnTo>
                        <a:pt x="3" y="2"/>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1" name="Freeform 738"/>
                <p:cNvSpPr>
                  <a:spLocks/>
                </p:cNvSpPr>
                <p:nvPr/>
              </p:nvSpPr>
              <p:spPr bwMode="auto">
                <a:xfrm>
                  <a:off x="3022717" y="3922187"/>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2" name="Freeform 739"/>
                <p:cNvSpPr>
                  <a:spLocks/>
                </p:cNvSpPr>
                <p:nvPr/>
              </p:nvSpPr>
              <p:spPr bwMode="auto">
                <a:xfrm>
                  <a:off x="3052607" y="392218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3" name="Freeform 740"/>
                <p:cNvSpPr>
                  <a:spLocks/>
                </p:cNvSpPr>
                <p:nvPr/>
              </p:nvSpPr>
              <p:spPr bwMode="auto">
                <a:xfrm>
                  <a:off x="3082497" y="3922187"/>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4" name="Freeform 741"/>
                <p:cNvSpPr>
                  <a:spLocks/>
                </p:cNvSpPr>
                <p:nvPr/>
              </p:nvSpPr>
              <p:spPr bwMode="auto">
                <a:xfrm>
                  <a:off x="3119860" y="392218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5" name="Freeform 742"/>
                <p:cNvSpPr>
                  <a:spLocks/>
                </p:cNvSpPr>
                <p:nvPr/>
              </p:nvSpPr>
              <p:spPr bwMode="auto">
                <a:xfrm>
                  <a:off x="3179640" y="3922187"/>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6" name="Freeform 743"/>
                <p:cNvSpPr>
                  <a:spLocks noEditPoints="1"/>
                </p:cNvSpPr>
                <p:nvPr/>
              </p:nvSpPr>
              <p:spPr bwMode="auto">
                <a:xfrm>
                  <a:off x="3246893" y="392218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7" name="Freeform 744"/>
                <p:cNvSpPr>
                  <a:spLocks/>
                </p:cNvSpPr>
                <p:nvPr/>
              </p:nvSpPr>
              <p:spPr bwMode="auto">
                <a:xfrm>
                  <a:off x="3276783" y="3922187"/>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8" name="Freeform 745"/>
                <p:cNvSpPr>
                  <a:spLocks noEditPoints="1"/>
                </p:cNvSpPr>
                <p:nvPr/>
              </p:nvSpPr>
              <p:spPr bwMode="auto">
                <a:xfrm>
                  <a:off x="3545793" y="3922187"/>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89" name="Freeform 746"/>
                <p:cNvSpPr>
                  <a:spLocks/>
                </p:cNvSpPr>
                <p:nvPr/>
              </p:nvSpPr>
              <p:spPr bwMode="auto">
                <a:xfrm>
                  <a:off x="3022717" y="399691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0" name="Freeform 747"/>
                <p:cNvSpPr>
                  <a:spLocks/>
                </p:cNvSpPr>
                <p:nvPr/>
              </p:nvSpPr>
              <p:spPr bwMode="auto">
                <a:xfrm>
                  <a:off x="3052607" y="3996912"/>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1" name="Freeform 748"/>
                <p:cNvSpPr>
                  <a:spLocks/>
                </p:cNvSpPr>
                <p:nvPr/>
              </p:nvSpPr>
              <p:spPr bwMode="auto">
                <a:xfrm>
                  <a:off x="3082497" y="3996912"/>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2" name="Freeform 749"/>
                <p:cNvSpPr>
                  <a:spLocks/>
                </p:cNvSpPr>
                <p:nvPr/>
              </p:nvSpPr>
              <p:spPr bwMode="auto">
                <a:xfrm>
                  <a:off x="3119860" y="3996912"/>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3" name="Freeform 750"/>
                <p:cNvSpPr>
                  <a:spLocks/>
                </p:cNvSpPr>
                <p:nvPr/>
              </p:nvSpPr>
              <p:spPr bwMode="auto">
                <a:xfrm>
                  <a:off x="3179640" y="3996912"/>
                  <a:ext cx="29890" cy="44835"/>
                </a:xfrm>
                <a:custGeom>
                  <a:avLst/>
                  <a:gdLst>
                    <a:gd name="T0" fmla="*/ 4 w 4"/>
                    <a:gd name="T1" fmla="*/ 5 h 6"/>
                    <a:gd name="T2" fmla="*/ 4 w 4"/>
                    <a:gd name="T3" fmla="*/ 3 h 6"/>
                    <a:gd name="T4" fmla="*/ 2 w 4"/>
                    <a:gd name="T5" fmla="*/ 3 h 6"/>
                    <a:gd name="T6" fmla="*/ 2 w 4"/>
                    <a:gd name="T7" fmla="*/ 4 h 6"/>
                    <a:gd name="T8" fmla="*/ 3 w 4"/>
                    <a:gd name="T9" fmla="*/ 4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4"/>
                      </a:lnTo>
                      <a:lnTo>
                        <a:pt x="3" y="4"/>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4" name="Freeform 751"/>
                <p:cNvSpPr>
                  <a:spLocks noEditPoints="1"/>
                </p:cNvSpPr>
                <p:nvPr/>
              </p:nvSpPr>
              <p:spPr bwMode="auto">
                <a:xfrm>
                  <a:off x="3246893" y="3996912"/>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5" name="Freeform 752"/>
                <p:cNvSpPr>
                  <a:spLocks/>
                </p:cNvSpPr>
                <p:nvPr/>
              </p:nvSpPr>
              <p:spPr bwMode="auto">
                <a:xfrm>
                  <a:off x="3276783" y="3996912"/>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4 h 6"/>
                    <a:gd name="T12" fmla="*/ 4 w 4"/>
                    <a:gd name="T13" fmla="*/ 4 h 6"/>
                    <a:gd name="T14" fmla="*/ 4 w 4"/>
                    <a:gd name="T15" fmla="*/ 3 h 6"/>
                    <a:gd name="T16" fmla="*/ 4 w 4"/>
                    <a:gd name="T17" fmla="*/ 3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3 h 6"/>
                    <a:gd name="T40" fmla="*/ 3 w 4"/>
                    <a:gd name="T41" fmla="*/ 3 h 6"/>
                    <a:gd name="T42" fmla="*/ 3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4"/>
                      </a:lnTo>
                      <a:lnTo>
                        <a:pt x="4" y="4"/>
                      </a:lnTo>
                      <a:lnTo>
                        <a:pt x="4" y="3"/>
                      </a:lnTo>
                      <a:lnTo>
                        <a:pt x="4" y="3"/>
                      </a:lnTo>
                      <a:lnTo>
                        <a:pt x="4" y="1"/>
                      </a:lnTo>
                      <a:lnTo>
                        <a:pt x="4" y="1"/>
                      </a:lnTo>
                      <a:lnTo>
                        <a:pt x="4" y="0"/>
                      </a:lnTo>
                      <a:lnTo>
                        <a:pt x="1" y="0"/>
                      </a:lnTo>
                      <a:lnTo>
                        <a:pt x="1" y="1"/>
                      </a:lnTo>
                      <a:lnTo>
                        <a:pt x="0" y="1"/>
                      </a:lnTo>
                      <a:lnTo>
                        <a:pt x="0" y="2"/>
                      </a:lnTo>
                      <a:lnTo>
                        <a:pt x="1" y="2"/>
                      </a:lnTo>
                      <a:lnTo>
                        <a:pt x="1" y="1"/>
                      </a:lnTo>
                      <a:lnTo>
                        <a:pt x="4" y="1"/>
                      </a:lnTo>
                      <a:lnTo>
                        <a:pt x="4" y="3"/>
                      </a:lnTo>
                      <a:lnTo>
                        <a:pt x="3" y="3"/>
                      </a:lnTo>
                      <a:lnTo>
                        <a:pt x="3"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6" name="Freeform 753"/>
                <p:cNvSpPr>
                  <a:spLocks noEditPoints="1"/>
                </p:cNvSpPr>
                <p:nvPr/>
              </p:nvSpPr>
              <p:spPr bwMode="auto">
                <a:xfrm>
                  <a:off x="3545793" y="3996912"/>
                  <a:ext cx="37363" cy="44835"/>
                </a:xfrm>
                <a:custGeom>
                  <a:avLst/>
                  <a:gdLst>
                    <a:gd name="T0" fmla="*/ 5 w 5"/>
                    <a:gd name="T1" fmla="*/ 4 h 6"/>
                    <a:gd name="T2" fmla="*/ 5 w 5"/>
                    <a:gd name="T3" fmla="*/ 3 h 6"/>
                    <a:gd name="T4" fmla="*/ 3 w 5"/>
                    <a:gd name="T5" fmla="*/ 2 h 6"/>
                    <a:gd name="T6" fmla="*/ 4 w 5"/>
                    <a:gd name="T7" fmla="*/ 1 h 6"/>
                    <a:gd name="T8" fmla="*/ 5 w 5"/>
                    <a:gd name="T9" fmla="*/ 0 h 6"/>
                    <a:gd name="T10" fmla="*/ 5 w 5"/>
                    <a:gd name="T11" fmla="*/ 0 h 6"/>
                    <a:gd name="T12" fmla="*/ 5 w 5"/>
                    <a:gd name="T13" fmla="*/ 0 h 6"/>
                    <a:gd name="T14" fmla="*/ 4 w 5"/>
                    <a:gd name="T15" fmla="*/ 1 h 6"/>
                    <a:gd name="T16" fmla="*/ 3 w 5"/>
                    <a:gd name="T17" fmla="*/ 2 h 6"/>
                    <a:gd name="T18" fmla="*/ 2 w 5"/>
                    <a:gd name="T19" fmla="*/ 0 h 6"/>
                    <a:gd name="T20" fmla="*/ 2 w 5"/>
                    <a:gd name="T21" fmla="*/ 0 h 6"/>
                    <a:gd name="T22" fmla="*/ 0 w 5"/>
                    <a:gd name="T23" fmla="*/ 0 h 6"/>
                    <a:gd name="T24" fmla="*/ 0 w 5"/>
                    <a:gd name="T25" fmla="*/ 2 h 6"/>
                    <a:gd name="T26" fmla="*/ 0 w 5"/>
                    <a:gd name="T27" fmla="*/ 3 h 6"/>
                    <a:gd name="T28" fmla="*/ 2 w 5"/>
                    <a:gd name="T29" fmla="*/ 4 h 6"/>
                    <a:gd name="T30" fmla="*/ 1 w 5"/>
                    <a:gd name="T31" fmla="*/ 4 h 6"/>
                    <a:gd name="T32" fmla="*/ 0 w 5"/>
                    <a:gd name="T33" fmla="*/ 5 h 6"/>
                    <a:gd name="T34" fmla="*/ 0 w 5"/>
                    <a:gd name="T35" fmla="*/ 6 h 6"/>
                    <a:gd name="T36" fmla="*/ 0 w 5"/>
                    <a:gd name="T37" fmla="*/ 5 h 6"/>
                    <a:gd name="T38" fmla="*/ 1 w 5"/>
                    <a:gd name="T39" fmla="*/ 4 h 6"/>
                    <a:gd name="T40" fmla="*/ 2 w 5"/>
                    <a:gd name="T41" fmla="*/ 4 h 6"/>
                    <a:gd name="T42" fmla="*/ 2 w 5"/>
                    <a:gd name="T43" fmla="*/ 5 h 6"/>
                    <a:gd name="T44" fmla="*/ 3 w 5"/>
                    <a:gd name="T45" fmla="*/ 6 h 6"/>
                    <a:gd name="T46" fmla="*/ 5 w 5"/>
                    <a:gd name="T47" fmla="*/ 5 h 6"/>
                    <a:gd name="T48" fmla="*/ 5 w 5"/>
                    <a:gd name="T49" fmla="*/ 5 h 6"/>
                    <a:gd name="T50" fmla="*/ 2 w 5"/>
                    <a:gd name="T51" fmla="*/ 4 h 6"/>
                    <a:gd name="T52" fmla="*/ 3 w 5"/>
                    <a:gd name="T53" fmla="*/ 3 h 6"/>
                    <a:gd name="T54" fmla="*/ 3 w 5"/>
                    <a:gd name="T55" fmla="*/ 4 h 6"/>
                    <a:gd name="T56" fmla="*/ 0 w 5"/>
                    <a:gd name="T57" fmla="*/ 2 h 6"/>
                    <a:gd name="T58" fmla="*/ 2 w 5"/>
                    <a:gd name="T59" fmla="*/ 0 h 6"/>
                    <a:gd name="T60" fmla="*/ 2 w 5"/>
                    <a:gd name="T61" fmla="*/ 2 h 6"/>
                    <a:gd name="T62" fmla="*/ 3 w 5"/>
                    <a:gd name="T63" fmla="*/ 5 h 6"/>
                    <a:gd name="T64" fmla="*/ 5 w 5"/>
                    <a:gd name="T65" fmla="*/ 4 h 6"/>
                    <a:gd name="T66" fmla="*/ 5 w 5"/>
                    <a:gd name="T67" fmla="*/ 5 h 6"/>
                    <a:gd name="T68" fmla="*/ 2 w 5"/>
                    <a:gd name="T69" fmla="*/ 3 h 6"/>
                    <a:gd name="T70" fmla="*/ 2 w 5"/>
                    <a:gd name="T71" fmla="*/ 2 h 6"/>
                    <a:gd name="T72" fmla="*/ 2 w 5"/>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 h="6">
                      <a:moveTo>
                        <a:pt x="5" y="5"/>
                      </a:moveTo>
                      <a:lnTo>
                        <a:pt x="5" y="4"/>
                      </a:lnTo>
                      <a:lnTo>
                        <a:pt x="5" y="4"/>
                      </a:lnTo>
                      <a:lnTo>
                        <a:pt x="5" y="3"/>
                      </a:lnTo>
                      <a:lnTo>
                        <a:pt x="3" y="3"/>
                      </a:lnTo>
                      <a:lnTo>
                        <a:pt x="3" y="2"/>
                      </a:lnTo>
                      <a:lnTo>
                        <a:pt x="4" y="2"/>
                      </a:lnTo>
                      <a:lnTo>
                        <a:pt x="4" y="1"/>
                      </a:lnTo>
                      <a:lnTo>
                        <a:pt x="5" y="1"/>
                      </a:lnTo>
                      <a:lnTo>
                        <a:pt x="5" y="0"/>
                      </a:lnTo>
                      <a:lnTo>
                        <a:pt x="5" y="0"/>
                      </a:lnTo>
                      <a:lnTo>
                        <a:pt x="5" y="0"/>
                      </a:lnTo>
                      <a:lnTo>
                        <a:pt x="5" y="0"/>
                      </a:lnTo>
                      <a:lnTo>
                        <a:pt x="5" y="0"/>
                      </a:lnTo>
                      <a:lnTo>
                        <a:pt x="4" y="0"/>
                      </a:lnTo>
                      <a:lnTo>
                        <a:pt x="4" y="1"/>
                      </a:lnTo>
                      <a:lnTo>
                        <a:pt x="3" y="1"/>
                      </a:lnTo>
                      <a:lnTo>
                        <a:pt x="3" y="2"/>
                      </a:lnTo>
                      <a:lnTo>
                        <a:pt x="2" y="2"/>
                      </a:lnTo>
                      <a:lnTo>
                        <a:pt x="2" y="0"/>
                      </a:lnTo>
                      <a:lnTo>
                        <a:pt x="2" y="0"/>
                      </a:lnTo>
                      <a:lnTo>
                        <a:pt x="2" y="0"/>
                      </a:lnTo>
                      <a:lnTo>
                        <a:pt x="0" y="0"/>
                      </a:lnTo>
                      <a:lnTo>
                        <a:pt x="0" y="0"/>
                      </a:lnTo>
                      <a:lnTo>
                        <a:pt x="0" y="0"/>
                      </a:lnTo>
                      <a:lnTo>
                        <a:pt x="0" y="2"/>
                      </a:lnTo>
                      <a:lnTo>
                        <a:pt x="0" y="2"/>
                      </a:lnTo>
                      <a:lnTo>
                        <a:pt x="0" y="3"/>
                      </a:lnTo>
                      <a:lnTo>
                        <a:pt x="2" y="3"/>
                      </a:lnTo>
                      <a:lnTo>
                        <a:pt x="2" y="4"/>
                      </a:lnTo>
                      <a:lnTo>
                        <a:pt x="1" y="4"/>
                      </a:lnTo>
                      <a:lnTo>
                        <a:pt x="1" y="4"/>
                      </a:lnTo>
                      <a:lnTo>
                        <a:pt x="0" y="4"/>
                      </a:lnTo>
                      <a:lnTo>
                        <a:pt x="0" y="5"/>
                      </a:lnTo>
                      <a:lnTo>
                        <a:pt x="0" y="5"/>
                      </a:lnTo>
                      <a:lnTo>
                        <a:pt x="0" y="6"/>
                      </a:lnTo>
                      <a:lnTo>
                        <a:pt x="0" y="6"/>
                      </a:lnTo>
                      <a:lnTo>
                        <a:pt x="0" y="5"/>
                      </a:lnTo>
                      <a:lnTo>
                        <a:pt x="1" y="5"/>
                      </a:lnTo>
                      <a:lnTo>
                        <a:pt x="1" y="4"/>
                      </a:lnTo>
                      <a:lnTo>
                        <a:pt x="2" y="4"/>
                      </a:lnTo>
                      <a:lnTo>
                        <a:pt x="2" y="4"/>
                      </a:lnTo>
                      <a:lnTo>
                        <a:pt x="2" y="4"/>
                      </a:lnTo>
                      <a:lnTo>
                        <a:pt x="2" y="5"/>
                      </a:lnTo>
                      <a:lnTo>
                        <a:pt x="3" y="5"/>
                      </a:lnTo>
                      <a:lnTo>
                        <a:pt x="3" y="6"/>
                      </a:lnTo>
                      <a:lnTo>
                        <a:pt x="5" y="6"/>
                      </a:lnTo>
                      <a:lnTo>
                        <a:pt x="5" y="5"/>
                      </a:lnTo>
                      <a:lnTo>
                        <a:pt x="5" y="5"/>
                      </a:lnTo>
                      <a:lnTo>
                        <a:pt x="5" y="5"/>
                      </a:lnTo>
                      <a:close/>
                      <a:moveTo>
                        <a:pt x="3" y="4"/>
                      </a:moveTo>
                      <a:lnTo>
                        <a:pt x="2" y="4"/>
                      </a:lnTo>
                      <a:lnTo>
                        <a:pt x="2" y="3"/>
                      </a:lnTo>
                      <a:lnTo>
                        <a:pt x="3" y="3"/>
                      </a:lnTo>
                      <a:lnTo>
                        <a:pt x="3" y="4"/>
                      </a:lnTo>
                      <a:lnTo>
                        <a:pt x="3" y="4"/>
                      </a:lnTo>
                      <a:close/>
                      <a:moveTo>
                        <a:pt x="2" y="2"/>
                      </a:moveTo>
                      <a:lnTo>
                        <a:pt x="0" y="2"/>
                      </a:lnTo>
                      <a:lnTo>
                        <a:pt x="0" y="0"/>
                      </a:lnTo>
                      <a:lnTo>
                        <a:pt x="2" y="0"/>
                      </a:lnTo>
                      <a:lnTo>
                        <a:pt x="2" y="2"/>
                      </a:lnTo>
                      <a:lnTo>
                        <a:pt x="2" y="2"/>
                      </a:lnTo>
                      <a:close/>
                      <a:moveTo>
                        <a:pt x="5" y="5"/>
                      </a:moveTo>
                      <a:lnTo>
                        <a:pt x="3" y="5"/>
                      </a:lnTo>
                      <a:lnTo>
                        <a:pt x="3" y="4"/>
                      </a:lnTo>
                      <a:lnTo>
                        <a:pt x="5" y="4"/>
                      </a:lnTo>
                      <a:lnTo>
                        <a:pt x="5" y="5"/>
                      </a:lnTo>
                      <a:lnTo>
                        <a:pt x="5" y="5"/>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7" name="Freeform 754"/>
                <p:cNvSpPr>
                  <a:spLocks/>
                </p:cNvSpPr>
                <p:nvPr/>
              </p:nvSpPr>
              <p:spPr bwMode="auto">
                <a:xfrm>
                  <a:off x="3022717" y="4079110"/>
                  <a:ext cx="22418" cy="37363"/>
                </a:xfrm>
                <a:custGeom>
                  <a:avLst/>
                  <a:gdLst>
                    <a:gd name="T0" fmla="*/ 3 w 3"/>
                    <a:gd name="T1" fmla="*/ 0 h 5"/>
                    <a:gd name="T2" fmla="*/ 3 w 3"/>
                    <a:gd name="T3" fmla="*/ 0 h 5"/>
                    <a:gd name="T4" fmla="*/ 0 w 3"/>
                    <a:gd name="T5" fmla="*/ 0 h 5"/>
                    <a:gd name="T6" fmla="*/ 0 w 3"/>
                    <a:gd name="T7" fmla="*/ 5 h 5"/>
                    <a:gd name="T8" fmla="*/ 0 w 3"/>
                    <a:gd name="T9" fmla="*/ 5 h 5"/>
                    <a:gd name="T10" fmla="*/ 0 w 3"/>
                    <a:gd name="T11" fmla="*/ 3 h 5"/>
                    <a:gd name="T12" fmla="*/ 2 w 3"/>
                    <a:gd name="T13" fmla="*/ 3 h 5"/>
                    <a:gd name="T14" fmla="*/ 2 w 3"/>
                    <a:gd name="T15" fmla="*/ 2 h 5"/>
                    <a:gd name="T16" fmla="*/ 0 w 3"/>
                    <a:gd name="T17" fmla="*/ 2 h 5"/>
                    <a:gd name="T18" fmla="*/ 0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0" y="5"/>
                      </a:lnTo>
                      <a:lnTo>
                        <a:pt x="0" y="3"/>
                      </a:lnTo>
                      <a:lnTo>
                        <a:pt x="2" y="3"/>
                      </a:lnTo>
                      <a:lnTo>
                        <a:pt x="2" y="2"/>
                      </a:lnTo>
                      <a:lnTo>
                        <a:pt x="0" y="2"/>
                      </a:lnTo>
                      <a:lnTo>
                        <a:pt x="0"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8" name="Freeform 755"/>
                <p:cNvSpPr>
                  <a:spLocks/>
                </p:cNvSpPr>
                <p:nvPr/>
              </p:nvSpPr>
              <p:spPr bwMode="auto">
                <a:xfrm>
                  <a:off x="3052607" y="4079110"/>
                  <a:ext cx="22418" cy="37363"/>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599" name="Freeform 756"/>
                <p:cNvSpPr>
                  <a:spLocks/>
                </p:cNvSpPr>
                <p:nvPr/>
              </p:nvSpPr>
              <p:spPr bwMode="auto">
                <a:xfrm>
                  <a:off x="3082497" y="4079110"/>
                  <a:ext cx="29890" cy="37363"/>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0" name="Freeform 757"/>
                <p:cNvSpPr>
                  <a:spLocks/>
                </p:cNvSpPr>
                <p:nvPr/>
              </p:nvSpPr>
              <p:spPr bwMode="auto">
                <a:xfrm>
                  <a:off x="3119860" y="4079110"/>
                  <a:ext cx="22418" cy="37363"/>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1" name="Freeform 758"/>
                <p:cNvSpPr>
                  <a:spLocks/>
                </p:cNvSpPr>
                <p:nvPr/>
              </p:nvSpPr>
              <p:spPr bwMode="auto">
                <a:xfrm>
                  <a:off x="3179640" y="4079110"/>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2" name="Freeform 759"/>
                <p:cNvSpPr>
                  <a:spLocks noEditPoints="1"/>
                </p:cNvSpPr>
                <p:nvPr/>
              </p:nvSpPr>
              <p:spPr bwMode="auto">
                <a:xfrm>
                  <a:off x="3246893" y="4079110"/>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3" name="Freeform 760"/>
                <p:cNvSpPr>
                  <a:spLocks/>
                </p:cNvSpPr>
                <p:nvPr/>
              </p:nvSpPr>
              <p:spPr bwMode="auto">
                <a:xfrm>
                  <a:off x="3276783" y="4079110"/>
                  <a:ext cx="29890" cy="37363"/>
                </a:xfrm>
                <a:custGeom>
                  <a:avLst/>
                  <a:gdLst>
                    <a:gd name="T0" fmla="*/ 4 w 4"/>
                    <a:gd name="T1" fmla="*/ 5 h 5"/>
                    <a:gd name="T2" fmla="*/ 4 w 4"/>
                    <a:gd name="T3" fmla="*/ 4 h 5"/>
                    <a:gd name="T4" fmla="*/ 2 w 4"/>
                    <a:gd name="T5" fmla="*/ 4 h 5"/>
                    <a:gd name="T6" fmla="*/ 2 w 4"/>
                    <a:gd name="T7" fmla="*/ 3 h 5"/>
                    <a:gd name="T8" fmla="*/ 3 w 4"/>
                    <a:gd name="T9" fmla="*/ 3 h 5"/>
                    <a:gd name="T10" fmla="*/ 3 w 4"/>
                    <a:gd name="T11" fmla="*/ 3 h 5"/>
                    <a:gd name="T12" fmla="*/ 4 w 4"/>
                    <a:gd name="T13" fmla="*/ 3 h 5"/>
                    <a:gd name="T14" fmla="*/ 4 w 4"/>
                    <a:gd name="T15" fmla="*/ 2 h 5"/>
                    <a:gd name="T16" fmla="*/ 4 w 4"/>
                    <a:gd name="T17" fmla="*/ 2 h 5"/>
                    <a:gd name="T18" fmla="*/ 4 w 4"/>
                    <a:gd name="T19" fmla="*/ 0 h 5"/>
                    <a:gd name="T20" fmla="*/ 4 w 4"/>
                    <a:gd name="T21" fmla="*/ 0 h 5"/>
                    <a:gd name="T22" fmla="*/ 4 w 4"/>
                    <a:gd name="T23" fmla="*/ 0 h 5"/>
                    <a:gd name="T24" fmla="*/ 1 w 4"/>
                    <a:gd name="T25" fmla="*/ 0 h 5"/>
                    <a:gd name="T26" fmla="*/ 1 w 4"/>
                    <a:gd name="T27" fmla="*/ 0 h 5"/>
                    <a:gd name="T28" fmla="*/ 0 w 4"/>
                    <a:gd name="T29" fmla="*/ 0 h 5"/>
                    <a:gd name="T30" fmla="*/ 0 w 4"/>
                    <a:gd name="T31" fmla="*/ 1 h 5"/>
                    <a:gd name="T32" fmla="*/ 1 w 4"/>
                    <a:gd name="T33" fmla="*/ 1 h 5"/>
                    <a:gd name="T34" fmla="*/ 1 w 4"/>
                    <a:gd name="T35" fmla="*/ 0 h 5"/>
                    <a:gd name="T36" fmla="*/ 4 w 4"/>
                    <a:gd name="T37" fmla="*/ 0 h 5"/>
                    <a:gd name="T38" fmla="*/ 4 w 4"/>
                    <a:gd name="T39" fmla="*/ 2 h 5"/>
                    <a:gd name="T40" fmla="*/ 3 w 4"/>
                    <a:gd name="T41" fmla="*/ 2 h 5"/>
                    <a:gd name="T42" fmla="*/ 3 w 4"/>
                    <a:gd name="T43" fmla="*/ 3 h 5"/>
                    <a:gd name="T44" fmla="*/ 2 w 4"/>
                    <a:gd name="T45" fmla="*/ 3 h 5"/>
                    <a:gd name="T46" fmla="*/ 2 w 4"/>
                    <a:gd name="T47" fmla="*/ 3 h 5"/>
                    <a:gd name="T48" fmla="*/ 1 w 4"/>
                    <a:gd name="T49" fmla="*/ 3 h 5"/>
                    <a:gd name="T50" fmla="*/ 1 w 4"/>
                    <a:gd name="T51" fmla="*/ 4 h 5"/>
                    <a:gd name="T52" fmla="*/ 0 w 4"/>
                    <a:gd name="T53" fmla="*/ 4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4"/>
                      </a:lnTo>
                      <a:lnTo>
                        <a:pt x="2" y="4"/>
                      </a:lnTo>
                      <a:lnTo>
                        <a:pt x="2" y="3"/>
                      </a:lnTo>
                      <a:lnTo>
                        <a:pt x="3" y="3"/>
                      </a:lnTo>
                      <a:lnTo>
                        <a:pt x="3" y="3"/>
                      </a:lnTo>
                      <a:lnTo>
                        <a:pt x="4" y="3"/>
                      </a:lnTo>
                      <a:lnTo>
                        <a:pt x="4" y="2"/>
                      </a:lnTo>
                      <a:lnTo>
                        <a:pt x="4" y="2"/>
                      </a:lnTo>
                      <a:lnTo>
                        <a:pt x="4" y="0"/>
                      </a:lnTo>
                      <a:lnTo>
                        <a:pt x="4" y="0"/>
                      </a:lnTo>
                      <a:lnTo>
                        <a:pt x="4" y="0"/>
                      </a:lnTo>
                      <a:lnTo>
                        <a:pt x="1" y="0"/>
                      </a:lnTo>
                      <a:lnTo>
                        <a:pt x="1" y="0"/>
                      </a:lnTo>
                      <a:lnTo>
                        <a:pt x="0" y="0"/>
                      </a:lnTo>
                      <a:lnTo>
                        <a:pt x="0" y="1"/>
                      </a:lnTo>
                      <a:lnTo>
                        <a:pt x="1" y="1"/>
                      </a:lnTo>
                      <a:lnTo>
                        <a:pt x="1" y="0"/>
                      </a:lnTo>
                      <a:lnTo>
                        <a:pt x="4" y="0"/>
                      </a:lnTo>
                      <a:lnTo>
                        <a:pt x="4" y="2"/>
                      </a:lnTo>
                      <a:lnTo>
                        <a:pt x="3" y="2"/>
                      </a:lnTo>
                      <a:lnTo>
                        <a:pt x="3" y="3"/>
                      </a:lnTo>
                      <a:lnTo>
                        <a:pt x="2" y="3"/>
                      </a:lnTo>
                      <a:lnTo>
                        <a:pt x="2" y="3"/>
                      </a:lnTo>
                      <a:lnTo>
                        <a:pt x="1" y="3"/>
                      </a:lnTo>
                      <a:lnTo>
                        <a:pt x="1" y="4"/>
                      </a:lnTo>
                      <a:lnTo>
                        <a:pt x="0" y="4"/>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4" name="Freeform 761"/>
                <p:cNvSpPr>
                  <a:spLocks noEditPoints="1"/>
                </p:cNvSpPr>
                <p:nvPr/>
              </p:nvSpPr>
              <p:spPr bwMode="auto">
                <a:xfrm>
                  <a:off x="3545793" y="4079110"/>
                  <a:ext cx="22418" cy="37363"/>
                </a:xfrm>
                <a:custGeom>
                  <a:avLst/>
                  <a:gdLst>
                    <a:gd name="T0" fmla="*/ 3 w 3"/>
                    <a:gd name="T1" fmla="*/ 3 h 5"/>
                    <a:gd name="T2" fmla="*/ 3 w 3"/>
                    <a:gd name="T3" fmla="*/ 0 h 5"/>
                    <a:gd name="T4" fmla="*/ 2 w 3"/>
                    <a:gd name="T5" fmla="*/ 0 h 5"/>
                    <a:gd name="T6" fmla="*/ 2 w 3"/>
                    <a:gd name="T7" fmla="*/ 0 h 5"/>
                    <a:gd name="T8" fmla="*/ 0 w 3"/>
                    <a:gd name="T9" fmla="*/ 0 h 5"/>
                    <a:gd name="T10" fmla="*/ 0 w 3"/>
                    <a:gd name="T11" fmla="*/ 5 h 5"/>
                    <a:gd name="T12" fmla="*/ 0 w 3"/>
                    <a:gd name="T13" fmla="*/ 5 h 5"/>
                    <a:gd name="T14" fmla="*/ 0 w 3"/>
                    <a:gd name="T15" fmla="*/ 3 h 5"/>
                    <a:gd name="T16" fmla="*/ 2 w 3"/>
                    <a:gd name="T17" fmla="*/ 3 h 5"/>
                    <a:gd name="T18" fmla="*/ 2 w 3"/>
                    <a:gd name="T19" fmla="*/ 3 h 5"/>
                    <a:gd name="T20" fmla="*/ 3 w 3"/>
                    <a:gd name="T21" fmla="*/ 3 h 5"/>
                    <a:gd name="T22" fmla="*/ 3 w 3"/>
                    <a:gd name="T23" fmla="*/ 3 h 5"/>
                    <a:gd name="T24" fmla="*/ 2 w 3"/>
                    <a:gd name="T25" fmla="*/ 3 h 5"/>
                    <a:gd name="T26" fmla="*/ 0 w 3"/>
                    <a:gd name="T27" fmla="*/ 3 h 5"/>
                    <a:gd name="T28" fmla="*/ 0 w 3"/>
                    <a:gd name="T29" fmla="*/ 0 h 5"/>
                    <a:gd name="T30" fmla="*/ 2 w 3"/>
                    <a:gd name="T31" fmla="*/ 0 h 5"/>
                    <a:gd name="T32" fmla="*/ 2 w 3"/>
                    <a:gd name="T33" fmla="*/ 3 h 5"/>
                    <a:gd name="T34" fmla="*/ 2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2" y="0"/>
                      </a:lnTo>
                      <a:lnTo>
                        <a:pt x="2" y="0"/>
                      </a:lnTo>
                      <a:lnTo>
                        <a:pt x="0" y="0"/>
                      </a:lnTo>
                      <a:lnTo>
                        <a:pt x="0" y="5"/>
                      </a:lnTo>
                      <a:lnTo>
                        <a:pt x="0" y="5"/>
                      </a:lnTo>
                      <a:lnTo>
                        <a:pt x="0" y="3"/>
                      </a:lnTo>
                      <a:lnTo>
                        <a:pt x="2" y="3"/>
                      </a:lnTo>
                      <a:lnTo>
                        <a:pt x="2" y="3"/>
                      </a:lnTo>
                      <a:lnTo>
                        <a:pt x="3" y="3"/>
                      </a:lnTo>
                      <a:lnTo>
                        <a:pt x="3"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5" name="Freeform 762"/>
                <p:cNvSpPr>
                  <a:spLocks noEditPoints="1"/>
                </p:cNvSpPr>
                <p:nvPr/>
              </p:nvSpPr>
              <p:spPr bwMode="auto">
                <a:xfrm>
                  <a:off x="3575683" y="4079110"/>
                  <a:ext cx="29890" cy="37363"/>
                </a:xfrm>
                <a:custGeom>
                  <a:avLst/>
                  <a:gdLst>
                    <a:gd name="T0" fmla="*/ 4 w 4"/>
                    <a:gd name="T1" fmla="*/ 3 h 5"/>
                    <a:gd name="T2" fmla="*/ 4 w 4"/>
                    <a:gd name="T3" fmla="*/ 0 h 5"/>
                    <a:gd name="T4" fmla="*/ 4 w 4"/>
                    <a:gd name="T5" fmla="*/ 0 h 5"/>
                    <a:gd name="T6" fmla="*/ 4 w 4"/>
                    <a:gd name="T7" fmla="*/ 0 h 5"/>
                    <a:gd name="T8" fmla="*/ 0 w 4"/>
                    <a:gd name="T9" fmla="*/ 0 h 5"/>
                    <a:gd name="T10" fmla="*/ 0 w 4"/>
                    <a:gd name="T11" fmla="*/ 5 h 5"/>
                    <a:gd name="T12" fmla="*/ 1 w 4"/>
                    <a:gd name="T13" fmla="*/ 5 h 5"/>
                    <a:gd name="T14" fmla="*/ 1 w 4"/>
                    <a:gd name="T15" fmla="*/ 3 h 5"/>
                    <a:gd name="T16" fmla="*/ 4 w 4"/>
                    <a:gd name="T17" fmla="*/ 3 h 5"/>
                    <a:gd name="T18" fmla="*/ 4 w 4"/>
                    <a:gd name="T19" fmla="*/ 3 h 5"/>
                    <a:gd name="T20" fmla="*/ 4 w 4"/>
                    <a:gd name="T21" fmla="*/ 3 h 5"/>
                    <a:gd name="T22" fmla="*/ 4 w 4"/>
                    <a:gd name="T23" fmla="*/ 3 h 5"/>
                    <a:gd name="T24" fmla="*/ 4 w 4"/>
                    <a:gd name="T25" fmla="*/ 3 h 5"/>
                    <a:gd name="T26" fmla="*/ 1 w 4"/>
                    <a:gd name="T27" fmla="*/ 3 h 5"/>
                    <a:gd name="T28" fmla="*/ 1 w 4"/>
                    <a:gd name="T29" fmla="*/ 0 h 5"/>
                    <a:gd name="T30" fmla="*/ 4 w 4"/>
                    <a:gd name="T31" fmla="*/ 0 h 5"/>
                    <a:gd name="T32" fmla="*/ 4 w 4"/>
                    <a:gd name="T33" fmla="*/ 3 h 5"/>
                    <a:gd name="T34" fmla="*/ 4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4" y="0"/>
                      </a:lnTo>
                      <a:lnTo>
                        <a:pt x="4" y="0"/>
                      </a:lnTo>
                      <a:lnTo>
                        <a:pt x="0" y="0"/>
                      </a:lnTo>
                      <a:lnTo>
                        <a:pt x="0" y="5"/>
                      </a:lnTo>
                      <a:lnTo>
                        <a:pt x="1" y="5"/>
                      </a:lnTo>
                      <a:lnTo>
                        <a:pt x="1" y="3"/>
                      </a:lnTo>
                      <a:lnTo>
                        <a:pt x="4" y="3"/>
                      </a:lnTo>
                      <a:lnTo>
                        <a:pt x="4" y="3"/>
                      </a:lnTo>
                      <a:lnTo>
                        <a:pt x="4" y="3"/>
                      </a:lnTo>
                      <a:lnTo>
                        <a:pt x="4" y="3"/>
                      </a:lnTo>
                      <a:close/>
                      <a:moveTo>
                        <a:pt x="4" y="3"/>
                      </a:moveTo>
                      <a:lnTo>
                        <a:pt x="1" y="3"/>
                      </a:lnTo>
                      <a:lnTo>
                        <a:pt x="1" y="0"/>
                      </a:lnTo>
                      <a:lnTo>
                        <a:pt x="4" y="0"/>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6" name="Freeform 763"/>
                <p:cNvSpPr>
                  <a:spLocks/>
                </p:cNvSpPr>
                <p:nvPr/>
              </p:nvSpPr>
              <p:spPr bwMode="auto">
                <a:xfrm>
                  <a:off x="3613046" y="4079110"/>
                  <a:ext cx="44835" cy="37363"/>
                </a:xfrm>
                <a:custGeom>
                  <a:avLst/>
                  <a:gdLst>
                    <a:gd name="T0" fmla="*/ 6 w 6"/>
                    <a:gd name="T1" fmla="*/ 5 h 5"/>
                    <a:gd name="T2" fmla="*/ 6 w 6"/>
                    <a:gd name="T3" fmla="*/ 0 h 5"/>
                    <a:gd name="T4" fmla="*/ 5 w 6"/>
                    <a:gd name="T5" fmla="*/ 0 h 5"/>
                    <a:gd name="T6" fmla="*/ 5 w 6"/>
                    <a:gd name="T7" fmla="*/ 0 h 5"/>
                    <a:gd name="T8" fmla="*/ 4 w 6"/>
                    <a:gd name="T9" fmla="*/ 0 h 5"/>
                    <a:gd name="T10" fmla="*/ 4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0 h 5"/>
                    <a:gd name="T24" fmla="*/ 2 w 6"/>
                    <a:gd name="T25" fmla="*/ 0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4 w 6"/>
                    <a:gd name="T49" fmla="*/ 2 h 5"/>
                    <a:gd name="T50" fmla="*/ 4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0"/>
                      </a:lnTo>
                      <a:lnTo>
                        <a:pt x="4" y="0"/>
                      </a:lnTo>
                      <a:lnTo>
                        <a:pt x="4" y="1"/>
                      </a:lnTo>
                      <a:lnTo>
                        <a:pt x="4" y="1"/>
                      </a:lnTo>
                      <a:lnTo>
                        <a:pt x="4" y="2"/>
                      </a:lnTo>
                      <a:lnTo>
                        <a:pt x="3" y="2"/>
                      </a:lnTo>
                      <a:lnTo>
                        <a:pt x="3" y="1"/>
                      </a:lnTo>
                      <a:lnTo>
                        <a:pt x="2" y="1"/>
                      </a:lnTo>
                      <a:lnTo>
                        <a:pt x="2" y="0"/>
                      </a:lnTo>
                      <a:lnTo>
                        <a:pt x="2" y="0"/>
                      </a:lnTo>
                      <a:lnTo>
                        <a:pt x="2" y="0"/>
                      </a:lnTo>
                      <a:lnTo>
                        <a:pt x="0" y="0"/>
                      </a:lnTo>
                      <a:lnTo>
                        <a:pt x="0" y="5"/>
                      </a:lnTo>
                      <a:lnTo>
                        <a:pt x="2" y="5"/>
                      </a:lnTo>
                      <a:lnTo>
                        <a:pt x="2" y="1"/>
                      </a:lnTo>
                      <a:lnTo>
                        <a:pt x="2" y="1"/>
                      </a:lnTo>
                      <a:lnTo>
                        <a:pt x="2" y="2"/>
                      </a:lnTo>
                      <a:lnTo>
                        <a:pt x="3" y="2"/>
                      </a:lnTo>
                      <a:lnTo>
                        <a:pt x="3" y="3"/>
                      </a:lnTo>
                      <a:lnTo>
                        <a:pt x="4" y="3"/>
                      </a:lnTo>
                      <a:lnTo>
                        <a:pt x="4" y="2"/>
                      </a:lnTo>
                      <a:lnTo>
                        <a:pt x="4" y="2"/>
                      </a:lnTo>
                      <a:lnTo>
                        <a:pt x="4"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7" name="Freeform 764"/>
                <p:cNvSpPr>
                  <a:spLocks/>
                </p:cNvSpPr>
                <p:nvPr/>
              </p:nvSpPr>
              <p:spPr bwMode="auto">
                <a:xfrm>
                  <a:off x="4711506" y="4004384"/>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8" name="Freeform 765"/>
                <p:cNvSpPr>
                  <a:spLocks/>
                </p:cNvSpPr>
                <p:nvPr/>
              </p:nvSpPr>
              <p:spPr bwMode="auto">
                <a:xfrm>
                  <a:off x="4748869"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09" name="Freeform 766"/>
                <p:cNvSpPr>
                  <a:spLocks/>
                </p:cNvSpPr>
                <p:nvPr/>
              </p:nvSpPr>
              <p:spPr bwMode="auto">
                <a:xfrm>
                  <a:off x="4808649" y="4004384"/>
                  <a:ext cx="37363" cy="44835"/>
                </a:xfrm>
                <a:custGeom>
                  <a:avLst/>
                  <a:gdLst>
                    <a:gd name="T0" fmla="*/ 5 w 5"/>
                    <a:gd name="T1" fmla="*/ 5 h 6"/>
                    <a:gd name="T2" fmla="*/ 5 w 5"/>
                    <a:gd name="T3" fmla="*/ 3 h 6"/>
                    <a:gd name="T4" fmla="*/ 4 w 5"/>
                    <a:gd name="T5" fmla="*/ 3 h 6"/>
                    <a:gd name="T6" fmla="*/ 4 w 5"/>
                    <a:gd name="T7" fmla="*/ 3 h 6"/>
                    <a:gd name="T8" fmla="*/ 2 w 5"/>
                    <a:gd name="T9" fmla="*/ 3 h 6"/>
                    <a:gd name="T10" fmla="*/ 2 w 5"/>
                    <a:gd name="T11" fmla="*/ 1 h 6"/>
                    <a:gd name="T12" fmla="*/ 4 w 5"/>
                    <a:gd name="T13" fmla="*/ 1 h 6"/>
                    <a:gd name="T14" fmla="*/ 4 w 5"/>
                    <a:gd name="T15" fmla="*/ 2 h 6"/>
                    <a:gd name="T16" fmla="*/ 5 w 5"/>
                    <a:gd name="T17" fmla="*/ 2 h 6"/>
                    <a:gd name="T18" fmla="*/ 5 w 5"/>
                    <a:gd name="T19" fmla="*/ 1 h 6"/>
                    <a:gd name="T20" fmla="*/ 4 w 5"/>
                    <a:gd name="T21" fmla="*/ 1 h 6"/>
                    <a:gd name="T22" fmla="*/ 4 w 5"/>
                    <a:gd name="T23" fmla="*/ 0 h 6"/>
                    <a:gd name="T24" fmla="*/ 2 w 5"/>
                    <a:gd name="T25" fmla="*/ 0 h 6"/>
                    <a:gd name="T26" fmla="*/ 2 w 5"/>
                    <a:gd name="T27" fmla="*/ 1 h 6"/>
                    <a:gd name="T28" fmla="*/ 0 w 5"/>
                    <a:gd name="T29" fmla="*/ 1 h 6"/>
                    <a:gd name="T30" fmla="*/ 0 w 5"/>
                    <a:gd name="T31" fmla="*/ 3 h 6"/>
                    <a:gd name="T32" fmla="*/ 2 w 5"/>
                    <a:gd name="T33" fmla="*/ 3 h 6"/>
                    <a:gd name="T34" fmla="*/ 2 w 5"/>
                    <a:gd name="T35" fmla="*/ 3 h 6"/>
                    <a:gd name="T36" fmla="*/ 4 w 5"/>
                    <a:gd name="T37" fmla="*/ 3 h 6"/>
                    <a:gd name="T38" fmla="*/ 4 w 5"/>
                    <a:gd name="T39" fmla="*/ 5 h 6"/>
                    <a:gd name="T40" fmla="*/ 2 w 5"/>
                    <a:gd name="T41" fmla="*/ 5 h 6"/>
                    <a:gd name="T42" fmla="*/ 2 w 5"/>
                    <a:gd name="T43" fmla="*/ 4 h 6"/>
                    <a:gd name="T44" fmla="*/ 0 w 5"/>
                    <a:gd name="T45" fmla="*/ 4 h 6"/>
                    <a:gd name="T46" fmla="*/ 0 w 5"/>
                    <a:gd name="T47" fmla="*/ 5 h 6"/>
                    <a:gd name="T48" fmla="*/ 2 w 5"/>
                    <a:gd name="T49" fmla="*/ 5 h 6"/>
                    <a:gd name="T50" fmla="*/ 2 w 5"/>
                    <a:gd name="T51" fmla="*/ 6 h 6"/>
                    <a:gd name="T52" fmla="*/ 4 w 5"/>
                    <a:gd name="T53" fmla="*/ 6 h 6"/>
                    <a:gd name="T54" fmla="*/ 4 w 5"/>
                    <a:gd name="T55" fmla="*/ 5 h 6"/>
                    <a:gd name="T56" fmla="*/ 5 w 5"/>
                    <a:gd name="T57" fmla="*/ 5 h 6"/>
                    <a:gd name="T58" fmla="*/ 5 w 5"/>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6"/>
                      </a:lnTo>
                      <a:lnTo>
                        <a:pt x="4" y="6"/>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0" name="Freeform 767"/>
                <p:cNvSpPr>
                  <a:spLocks noEditPoints="1"/>
                </p:cNvSpPr>
                <p:nvPr/>
              </p:nvSpPr>
              <p:spPr bwMode="auto">
                <a:xfrm>
                  <a:off x="4853484" y="4004384"/>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1" name="Freeform 768"/>
                <p:cNvSpPr>
                  <a:spLocks noEditPoints="1"/>
                </p:cNvSpPr>
                <p:nvPr/>
              </p:nvSpPr>
              <p:spPr bwMode="auto">
                <a:xfrm>
                  <a:off x="4890847" y="4004384"/>
                  <a:ext cx="22418" cy="44835"/>
                </a:xfrm>
                <a:custGeom>
                  <a:avLst/>
                  <a:gdLst>
                    <a:gd name="T0" fmla="*/ 3 w 3"/>
                    <a:gd name="T1" fmla="*/ 6 h 6"/>
                    <a:gd name="T2" fmla="*/ 3 w 3"/>
                    <a:gd name="T3" fmla="*/ 4 h 6"/>
                    <a:gd name="T4" fmla="*/ 3 w 3"/>
                    <a:gd name="T5" fmla="*/ 4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6 h 6"/>
                    <a:gd name="T20" fmla="*/ 0 w 3"/>
                    <a:gd name="T21" fmla="*/ 6 h 6"/>
                    <a:gd name="T22" fmla="*/ 0 w 3"/>
                    <a:gd name="T23" fmla="*/ 3 h 6"/>
                    <a:gd name="T24" fmla="*/ 2 w 3"/>
                    <a:gd name="T25" fmla="*/ 3 h 6"/>
                    <a:gd name="T26" fmla="*/ 2 w 3"/>
                    <a:gd name="T27" fmla="*/ 4 h 6"/>
                    <a:gd name="T28" fmla="*/ 3 w 3"/>
                    <a:gd name="T29" fmla="*/ 4 h 6"/>
                    <a:gd name="T30" fmla="*/ 3 w 3"/>
                    <a:gd name="T31" fmla="*/ 6 h 6"/>
                    <a:gd name="T32" fmla="*/ 3 w 3"/>
                    <a:gd name="T33" fmla="*/ 6 h 6"/>
                    <a:gd name="T34" fmla="*/ 3 w 3"/>
                    <a:gd name="T35" fmla="*/ 6 h 6"/>
                    <a:gd name="T36" fmla="*/ 3 w 3"/>
                    <a:gd name="T37" fmla="*/ 3 h 6"/>
                    <a:gd name="T38" fmla="*/ 0 w 3"/>
                    <a:gd name="T39" fmla="*/ 3 h 6"/>
                    <a:gd name="T40" fmla="*/ 0 w 3"/>
                    <a:gd name="T41" fmla="*/ 1 h 6"/>
                    <a:gd name="T42" fmla="*/ 3 w 3"/>
                    <a:gd name="T43" fmla="*/ 1 h 6"/>
                    <a:gd name="T44" fmla="*/ 3 w 3"/>
                    <a:gd name="T45" fmla="*/ 3 h 6"/>
                    <a:gd name="T46" fmla="*/ 3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4"/>
                      </a:lnTo>
                      <a:lnTo>
                        <a:pt x="3" y="4"/>
                      </a:lnTo>
                      <a:lnTo>
                        <a:pt x="3" y="3"/>
                      </a:lnTo>
                      <a:lnTo>
                        <a:pt x="3" y="3"/>
                      </a:lnTo>
                      <a:lnTo>
                        <a:pt x="3" y="1"/>
                      </a:lnTo>
                      <a:lnTo>
                        <a:pt x="3" y="1"/>
                      </a:lnTo>
                      <a:lnTo>
                        <a:pt x="3" y="0"/>
                      </a:lnTo>
                      <a:lnTo>
                        <a:pt x="0" y="0"/>
                      </a:lnTo>
                      <a:lnTo>
                        <a:pt x="0" y="6"/>
                      </a:lnTo>
                      <a:lnTo>
                        <a:pt x="0" y="6"/>
                      </a:lnTo>
                      <a:lnTo>
                        <a:pt x="0" y="3"/>
                      </a:lnTo>
                      <a:lnTo>
                        <a:pt x="2" y="3"/>
                      </a:lnTo>
                      <a:lnTo>
                        <a:pt x="2" y="4"/>
                      </a:lnTo>
                      <a:lnTo>
                        <a:pt x="3" y="4"/>
                      </a:lnTo>
                      <a:lnTo>
                        <a:pt x="3" y="6"/>
                      </a:lnTo>
                      <a:lnTo>
                        <a:pt x="3" y="6"/>
                      </a:lnTo>
                      <a:lnTo>
                        <a:pt x="3" y="6"/>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2" name="Freeform 769"/>
                <p:cNvSpPr>
                  <a:spLocks noEditPoints="1"/>
                </p:cNvSpPr>
                <p:nvPr/>
              </p:nvSpPr>
              <p:spPr bwMode="auto">
                <a:xfrm>
                  <a:off x="4928210" y="4004384"/>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1 w 4"/>
                    <a:gd name="T39" fmla="*/ 3 h 6"/>
                    <a:gd name="T40" fmla="*/ 1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1" y="0"/>
                      </a:lnTo>
                      <a:lnTo>
                        <a:pt x="1" y="2"/>
                      </a:lnTo>
                      <a:lnTo>
                        <a:pt x="1" y="2"/>
                      </a:lnTo>
                      <a:lnTo>
                        <a:pt x="1" y="3"/>
                      </a:lnTo>
                      <a:lnTo>
                        <a:pt x="0" y="3"/>
                      </a:lnTo>
                      <a:lnTo>
                        <a:pt x="0" y="6"/>
                      </a:lnTo>
                      <a:lnTo>
                        <a:pt x="1" y="6"/>
                      </a:lnTo>
                      <a:lnTo>
                        <a:pt x="1" y="4"/>
                      </a:lnTo>
                      <a:lnTo>
                        <a:pt x="3" y="4"/>
                      </a:lnTo>
                      <a:lnTo>
                        <a:pt x="3" y="6"/>
                      </a:lnTo>
                      <a:lnTo>
                        <a:pt x="4" y="6"/>
                      </a:lnTo>
                      <a:lnTo>
                        <a:pt x="4"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3" name="Freeform 770"/>
                <p:cNvSpPr>
                  <a:spLocks/>
                </p:cNvSpPr>
                <p:nvPr/>
              </p:nvSpPr>
              <p:spPr bwMode="auto">
                <a:xfrm>
                  <a:off x="4965572" y="4004384"/>
                  <a:ext cx="29890" cy="44835"/>
                </a:xfrm>
                <a:custGeom>
                  <a:avLst/>
                  <a:gdLst>
                    <a:gd name="T0" fmla="*/ 4 w 4"/>
                    <a:gd name="T1" fmla="*/ 2 h 6"/>
                    <a:gd name="T2" fmla="*/ 4 w 4"/>
                    <a:gd name="T3" fmla="*/ 0 h 6"/>
                    <a:gd name="T4" fmla="*/ 3 w 4"/>
                    <a:gd name="T5" fmla="*/ 0 h 6"/>
                    <a:gd name="T6" fmla="*/ 3 w 4"/>
                    <a:gd name="T7" fmla="*/ 2 h 6"/>
                    <a:gd name="T8" fmla="*/ 2 w 4"/>
                    <a:gd name="T9" fmla="*/ 2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2 h 6"/>
                    <a:gd name="T24" fmla="*/ 1 w 4"/>
                    <a:gd name="T25" fmla="*/ 2 h 6"/>
                    <a:gd name="T26" fmla="*/ 1 w 4"/>
                    <a:gd name="T27" fmla="*/ 3 h 6"/>
                    <a:gd name="T28" fmla="*/ 1 w 4"/>
                    <a:gd name="T29" fmla="*/ 3 h 6"/>
                    <a:gd name="T30" fmla="*/ 1 w 4"/>
                    <a:gd name="T31" fmla="*/ 6 h 6"/>
                    <a:gd name="T32" fmla="*/ 2 w 4"/>
                    <a:gd name="T33" fmla="*/ 6 h 6"/>
                    <a:gd name="T34" fmla="*/ 2 w 4"/>
                    <a:gd name="T35" fmla="*/ 3 h 6"/>
                    <a:gd name="T36" fmla="*/ 3 w 4"/>
                    <a:gd name="T37" fmla="*/ 3 h 6"/>
                    <a:gd name="T38" fmla="*/ 3 w 4"/>
                    <a:gd name="T39" fmla="*/ 2 h 6"/>
                    <a:gd name="T40" fmla="*/ 4 w 4"/>
                    <a:gd name="T41" fmla="*/ 2 h 6"/>
                    <a:gd name="T42" fmla="*/ 4 w 4"/>
                    <a:gd name="T4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6"/>
                      </a:lnTo>
                      <a:lnTo>
                        <a:pt x="2" y="6"/>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4" name="Freeform 771"/>
                <p:cNvSpPr>
                  <a:spLocks/>
                </p:cNvSpPr>
                <p:nvPr/>
              </p:nvSpPr>
              <p:spPr bwMode="auto">
                <a:xfrm>
                  <a:off x="5070187" y="4004384"/>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2 w 4"/>
                    <a:gd name="T13" fmla="*/ 3 h 6"/>
                    <a:gd name="T14" fmla="*/ 2 w 4"/>
                    <a:gd name="T15" fmla="*/ 3 h 6"/>
                    <a:gd name="T16" fmla="*/ 2 w 4"/>
                    <a:gd name="T17" fmla="*/ 3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2 w 4"/>
                    <a:gd name="T37" fmla="*/ 2 h 6"/>
                    <a:gd name="T38" fmla="*/ 2 w 4"/>
                    <a:gd name="T39" fmla="*/ 3 h 6"/>
                    <a:gd name="T40" fmla="*/ 1 w 4"/>
                    <a:gd name="T41" fmla="*/ 3 h 6"/>
                    <a:gd name="T42" fmla="*/ 1 w 4"/>
                    <a:gd name="T43" fmla="*/ 0 h 6"/>
                    <a:gd name="T44" fmla="*/ 0 w 4"/>
                    <a:gd name="T45" fmla="*/ 0 h 6"/>
                    <a:gd name="T46" fmla="*/ 0 w 4"/>
                    <a:gd name="T47" fmla="*/ 6 h 6"/>
                    <a:gd name="T48" fmla="*/ 1 w 4"/>
                    <a:gd name="T49" fmla="*/ 6 h 6"/>
                    <a:gd name="T50" fmla="*/ 1 w 4"/>
                    <a:gd name="T51" fmla="*/ 3 h 6"/>
                    <a:gd name="T52" fmla="*/ 2 w 4"/>
                    <a:gd name="T53" fmla="*/ 3 h 6"/>
                    <a:gd name="T54" fmla="*/ 2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6"/>
                      </a:lnTo>
                      <a:lnTo>
                        <a:pt x="1" y="6"/>
                      </a:lnTo>
                      <a:lnTo>
                        <a:pt x="1" y="3"/>
                      </a:lnTo>
                      <a:lnTo>
                        <a:pt x="2" y="3"/>
                      </a:lnTo>
                      <a:lnTo>
                        <a:pt x="2"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5" name="Freeform 772"/>
                <p:cNvSpPr>
                  <a:spLocks/>
                </p:cNvSpPr>
                <p:nvPr/>
              </p:nvSpPr>
              <p:spPr bwMode="auto">
                <a:xfrm>
                  <a:off x="5107550" y="4004384"/>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6" name="Freeform 773"/>
                <p:cNvSpPr>
                  <a:spLocks noEditPoints="1"/>
                </p:cNvSpPr>
                <p:nvPr/>
              </p:nvSpPr>
              <p:spPr bwMode="auto">
                <a:xfrm>
                  <a:off x="5137440" y="4004384"/>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2 w 4"/>
                    <a:gd name="T31" fmla="*/ 3 h 6"/>
                    <a:gd name="T32" fmla="*/ 2 w 4"/>
                    <a:gd name="T33" fmla="*/ 1 h 6"/>
                    <a:gd name="T34" fmla="*/ 4 w 4"/>
                    <a:gd name="T35" fmla="*/ 1 h 6"/>
                    <a:gd name="T36" fmla="*/ 4 w 4"/>
                    <a:gd name="T37" fmla="*/ 3 h 6"/>
                    <a:gd name="T38" fmla="*/ 4 w 4"/>
                    <a:gd name="T39" fmla="*/ 3 h 6"/>
                    <a:gd name="T40" fmla="*/ 4 w 4"/>
                    <a:gd name="T41" fmla="*/ 5 h 6"/>
                    <a:gd name="T42" fmla="*/ 2 w 4"/>
                    <a:gd name="T43" fmla="*/ 5 h 6"/>
                    <a:gd name="T44" fmla="*/ 2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7" name="Freeform 774"/>
                <p:cNvSpPr>
                  <a:spLocks/>
                </p:cNvSpPr>
                <p:nvPr/>
              </p:nvSpPr>
              <p:spPr bwMode="auto">
                <a:xfrm>
                  <a:off x="5182275" y="3996912"/>
                  <a:ext cx="22418" cy="52308"/>
                </a:xfrm>
                <a:custGeom>
                  <a:avLst/>
                  <a:gdLst>
                    <a:gd name="T0" fmla="*/ 3 w 3"/>
                    <a:gd name="T1" fmla="*/ 2 h 7"/>
                    <a:gd name="T2" fmla="*/ 3 w 3"/>
                    <a:gd name="T3" fmla="*/ 0 h 7"/>
                    <a:gd name="T4" fmla="*/ 2 w 3"/>
                    <a:gd name="T5" fmla="*/ 0 h 7"/>
                    <a:gd name="T6" fmla="*/ 2 w 3"/>
                    <a:gd name="T7" fmla="*/ 2 h 7"/>
                    <a:gd name="T8" fmla="*/ 1 w 3"/>
                    <a:gd name="T9" fmla="*/ 2 h 7"/>
                    <a:gd name="T10" fmla="*/ 1 w 3"/>
                    <a:gd name="T11" fmla="*/ 4 h 7"/>
                    <a:gd name="T12" fmla="*/ 0 w 3"/>
                    <a:gd name="T13" fmla="*/ 4 h 7"/>
                    <a:gd name="T14" fmla="*/ 0 w 3"/>
                    <a:gd name="T15" fmla="*/ 5 h 7"/>
                    <a:gd name="T16" fmla="*/ 0 w 3"/>
                    <a:gd name="T17" fmla="*/ 5 h 7"/>
                    <a:gd name="T18" fmla="*/ 0 w 3"/>
                    <a:gd name="T19" fmla="*/ 7 h 7"/>
                    <a:gd name="T20" fmla="*/ 0 w 3"/>
                    <a:gd name="T21" fmla="*/ 7 h 7"/>
                    <a:gd name="T22" fmla="*/ 0 w 3"/>
                    <a:gd name="T23" fmla="*/ 5 h 7"/>
                    <a:gd name="T24" fmla="*/ 1 w 3"/>
                    <a:gd name="T25" fmla="*/ 5 h 7"/>
                    <a:gd name="T26" fmla="*/ 1 w 3"/>
                    <a:gd name="T27" fmla="*/ 4 h 7"/>
                    <a:gd name="T28" fmla="*/ 2 w 3"/>
                    <a:gd name="T29" fmla="*/ 4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1" y="2"/>
                      </a:lnTo>
                      <a:lnTo>
                        <a:pt x="1" y="4"/>
                      </a:lnTo>
                      <a:lnTo>
                        <a:pt x="0" y="4"/>
                      </a:lnTo>
                      <a:lnTo>
                        <a:pt x="0" y="5"/>
                      </a:lnTo>
                      <a:lnTo>
                        <a:pt x="0" y="5"/>
                      </a:lnTo>
                      <a:lnTo>
                        <a:pt x="0" y="7"/>
                      </a:lnTo>
                      <a:lnTo>
                        <a:pt x="0" y="7"/>
                      </a:lnTo>
                      <a:lnTo>
                        <a:pt x="0" y="5"/>
                      </a:lnTo>
                      <a:lnTo>
                        <a:pt x="1" y="5"/>
                      </a:lnTo>
                      <a:lnTo>
                        <a:pt x="1" y="4"/>
                      </a:lnTo>
                      <a:lnTo>
                        <a:pt x="2" y="4"/>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8" name="Freeform 775"/>
                <p:cNvSpPr>
                  <a:spLocks/>
                </p:cNvSpPr>
                <p:nvPr/>
              </p:nvSpPr>
              <p:spPr bwMode="auto">
                <a:xfrm>
                  <a:off x="5212165" y="4004384"/>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3 h 6"/>
                    <a:gd name="T20" fmla="*/ 3 w 4"/>
                    <a:gd name="T21" fmla="*/ 3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3"/>
                      </a:lnTo>
                      <a:lnTo>
                        <a:pt x="3" y="3"/>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19" name="Freeform 776"/>
                <p:cNvSpPr>
                  <a:spLocks noEditPoints="1"/>
                </p:cNvSpPr>
                <p:nvPr/>
              </p:nvSpPr>
              <p:spPr bwMode="auto">
                <a:xfrm>
                  <a:off x="5249528" y="4004384"/>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3 w 4"/>
                    <a:gd name="T25" fmla="*/ 3 h 6"/>
                    <a:gd name="T26" fmla="*/ 3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3" y="3"/>
                      </a:lnTo>
                      <a:lnTo>
                        <a:pt x="3"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0" name="Freeform 777"/>
                <p:cNvSpPr>
                  <a:spLocks noEditPoints="1"/>
                </p:cNvSpPr>
                <p:nvPr/>
              </p:nvSpPr>
              <p:spPr bwMode="auto">
                <a:xfrm>
                  <a:off x="4711506" y="4079110"/>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1" name="Freeform 778"/>
                <p:cNvSpPr>
                  <a:spLocks/>
                </p:cNvSpPr>
                <p:nvPr/>
              </p:nvSpPr>
              <p:spPr bwMode="auto">
                <a:xfrm>
                  <a:off x="4748869" y="4079110"/>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2" name="Freeform 779"/>
                <p:cNvSpPr>
                  <a:spLocks/>
                </p:cNvSpPr>
                <p:nvPr/>
              </p:nvSpPr>
              <p:spPr bwMode="auto">
                <a:xfrm>
                  <a:off x="4808649" y="4079110"/>
                  <a:ext cx="37363" cy="37363"/>
                </a:xfrm>
                <a:custGeom>
                  <a:avLst/>
                  <a:gdLst>
                    <a:gd name="T0" fmla="*/ 5 w 5"/>
                    <a:gd name="T1" fmla="*/ 5 h 5"/>
                    <a:gd name="T2" fmla="*/ 5 w 5"/>
                    <a:gd name="T3" fmla="*/ 3 h 5"/>
                    <a:gd name="T4" fmla="*/ 4 w 5"/>
                    <a:gd name="T5" fmla="*/ 3 h 5"/>
                    <a:gd name="T6" fmla="*/ 4 w 5"/>
                    <a:gd name="T7" fmla="*/ 3 h 5"/>
                    <a:gd name="T8" fmla="*/ 2 w 5"/>
                    <a:gd name="T9" fmla="*/ 3 h 5"/>
                    <a:gd name="T10" fmla="*/ 2 w 5"/>
                    <a:gd name="T11" fmla="*/ 1 h 5"/>
                    <a:gd name="T12" fmla="*/ 4 w 5"/>
                    <a:gd name="T13" fmla="*/ 1 h 5"/>
                    <a:gd name="T14" fmla="*/ 4 w 5"/>
                    <a:gd name="T15" fmla="*/ 2 h 5"/>
                    <a:gd name="T16" fmla="*/ 5 w 5"/>
                    <a:gd name="T17" fmla="*/ 2 h 5"/>
                    <a:gd name="T18" fmla="*/ 5 w 5"/>
                    <a:gd name="T19" fmla="*/ 1 h 5"/>
                    <a:gd name="T20" fmla="*/ 4 w 5"/>
                    <a:gd name="T21" fmla="*/ 1 h 5"/>
                    <a:gd name="T22" fmla="*/ 4 w 5"/>
                    <a:gd name="T23" fmla="*/ 0 h 5"/>
                    <a:gd name="T24" fmla="*/ 2 w 5"/>
                    <a:gd name="T25" fmla="*/ 0 h 5"/>
                    <a:gd name="T26" fmla="*/ 2 w 5"/>
                    <a:gd name="T27" fmla="*/ 1 h 5"/>
                    <a:gd name="T28" fmla="*/ 0 w 5"/>
                    <a:gd name="T29" fmla="*/ 1 h 5"/>
                    <a:gd name="T30" fmla="*/ 0 w 5"/>
                    <a:gd name="T31" fmla="*/ 3 h 5"/>
                    <a:gd name="T32" fmla="*/ 2 w 5"/>
                    <a:gd name="T33" fmla="*/ 3 h 5"/>
                    <a:gd name="T34" fmla="*/ 2 w 5"/>
                    <a:gd name="T35" fmla="*/ 3 h 5"/>
                    <a:gd name="T36" fmla="*/ 4 w 5"/>
                    <a:gd name="T37" fmla="*/ 3 h 5"/>
                    <a:gd name="T38" fmla="*/ 4 w 5"/>
                    <a:gd name="T39" fmla="*/ 5 h 5"/>
                    <a:gd name="T40" fmla="*/ 2 w 5"/>
                    <a:gd name="T41" fmla="*/ 5 h 5"/>
                    <a:gd name="T42" fmla="*/ 2 w 5"/>
                    <a:gd name="T43" fmla="*/ 4 h 5"/>
                    <a:gd name="T44" fmla="*/ 0 w 5"/>
                    <a:gd name="T45" fmla="*/ 4 h 5"/>
                    <a:gd name="T46" fmla="*/ 0 w 5"/>
                    <a:gd name="T47" fmla="*/ 5 h 5"/>
                    <a:gd name="T48" fmla="*/ 2 w 5"/>
                    <a:gd name="T49" fmla="*/ 5 h 5"/>
                    <a:gd name="T50" fmla="*/ 2 w 5"/>
                    <a:gd name="T51" fmla="*/ 5 h 5"/>
                    <a:gd name="T52" fmla="*/ 4 w 5"/>
                    <a:gd name="T53" fmla="*/ 5 h 5"/>
                    <a:gd name="T54" fmla="*/ 4 w 5"/>
                    <a:gd name="T55" fmla="*/ 5 h 5"/>
                    <a:gd name="T56" fmla="*/ 5 w 5"/>
                    <a:gd name="T57" fmla="*/ 5 h 5"/>
                    <a:gd name="T58" fmla="*/ 5 w 5"/>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5"/>
                      </a:moveTo>
                      <a:lnTo>
                        <a:pt x="5" y="3"/>
                      </a:lnTo>
                      <a:lnTo>
                        <a:pt x="4" y="3"/>
                      </a:lnTo>
                      <a:lnTo>
                        <a:pt x="4" y="3"/>
                      </a:lnTo>
                      <a:lnTo>
                        <a:pt x="2" y="3"/>
                      </a:lnTo>
                      <a:lnTo>
                        <a:pt x="2" y="1"/>
                      </a:lnTo>
                      <a:lnTo>
                        <a:pt x="4" y="1"/>
                      </a:lnTo>
                      <a:lnTo>
                        <a:pt x="4" y="2"/>
                      </a:lnTo>
                      <a:lnTo>
                        <a:pt x="5" y="2"/>
                      </a:lnTo>
                      <a:lnTo>
                        <a:pt x="5" y="1"/>
                      </a:lnTo>
                      <a:lnTo>
                        <a:pt x="4" y="1"/>
                      </a:lnTo>
                      <a:lnTo>
                        <a:pt x="4" y="0"/>
                      </a:lnTo>
                      <a:lnTo>
                        <a:pt x="2" y="0"/>
                      </a:lnTo>
                      <a:lnTo>
                        <a:pt x="2" y="1"/>
                      </a:lnTo>
                      <a:lnTo>
                        <a:pt x="0" y="1"/>
                      </a:lnTo>
                      <a:lnTo>
                        <a:pt x="0" y="3"/>
                      </a:lnTo>
                      <a:lnTo>
                        <a:pt x="2" y="3"/>
                      </a:lnTo>
                      <a:lnTo>
                        <a:pt x="2" y="3"/>
                      </a:lnTo>
                      <a:lnTo>
                        <a:pt x="4" y="3"/>
                      </a:lnTo>
                      <a:lnTo>
                        <a:pt x="4" y="5"/>
                      </a:lnTo>
                      <a:lnTo>
                        <a:pt x="2" y="5"/>
                      </a:lnTo>
                      <a:lnTo>
                        <a:pt x="2" y="4"/>
                      </a:lnTo>
                      <a:lnTo>
                        <a:pt x="0" y="4"/>
                      </a:lnTo>
                      <a:lnTo>
                        <a:pt x="0" y="5"/>
                      </a:lnTo>
                      <a:lnTo>
                        <a:pt x="2" y="5"/>
                      </a:lnTo>
                      <a:lnTo>
                        <a:pt x="2" y="5"/>
                      </a:lnTo>
                      <a:lnTo>
                        <a:pt x="4" y="5"/>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3" name="Freeform 780"/>
                <p:cNvSpPr>
                  <a:spLocks noEditPoints="1"/>
                </p:cNvSpPr>
                <p:nvPr/>
              </p:nvSpPr>
              <p:spPr bwMode="auto">
                <a:xfrm>
                  <a:off x="4853484" y="4079110"/>
                  <a:ext cx="29890" cy="37363"/>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0 w 4"/>
                    <a:gd name="T13" fmla="*/ 5 h 5"/>
                    <a:gd name="T14" fmla="*/ 0 w 4"/>
                    <a:gd name="T15" fmla="*/ 4 h 5"/>
                    <a:gd name="T16" fmla="*/ 3 w 4"/>
                    <a:gd name="T17" fmla="*/ 4 h 5"/>
                    <a:gd name="T18" fmla="*/ 3 w 4"/>
                    <a:gd name="T19" fmla="*/ 3 h 5"/>
                    <a:gd name="T20" fmla="*/ 4 w 4"/>
                    <a:gd name="T21" fmla="*/ 3 h 5"/>
                    <a:gd name="T22" fmla="*/ 4 w 4"/>
                    <a:gd name="T23" fmla="*/ 3 h 5"/>
                    <a:gd name="T24" fmla="*/ 3 w 4"/>
                    <a:gd name="T25" fmla="*/ 3 h 5"/>
                    <a:gd name="T26" fmla="*/ 0 w 4"/>
                    <a:gd name="T27" fmla="*/ 3 h 5"/>
                    <a:gd name="T28" fmla="*/ 0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0" y="5"/>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4" name="Freeform 781"/>
                <p:cNvSpPr>
                  <a:spLocks noEditPoints="1"/>
                </p:cNvSpPr>
                <p:nvPr/>
              </p:nvSpPr>
              <p:spPr bwMode="auto">
                <a:xfrm>
                  <a:off x="4890847" y="4079110"/>
                  <a:ext cx="22418" cy="37363"/>
                </a:xfrm>
                <a:custGeom>
                  <a:avLst/>
                  <a:gdLst>
                    <a:gd name="T0" fmla="*/ 3 w 3"/>
                    <a:gd name="T1" fmla="*/ 5 h 5"/>
                    <a:gd name="T2" fmla="*/ 3 w 3"/>
                    <a:gd name="T3" fmla="*/ 4 h 5"/>
                    <a:gd name="T4" fmla="*/ 3 w 3"/>
                    <a:gd name="T5" fmla="*/ 4 h 5"/>
                    <a:gd name="T6" fmla="*/ 3 w 3"/>
                    <a:gd name="T7" fmla="*/ 3 h 5"/>
                    <a:gd name="T8" fmla="*/ 3 w 3"/>
                    <a:gd name="T9" fmla="*/ 3 h 5"/>
                    <a:gd name="T10" fmla="*/ 3 w 3"/>
                    <a:gd name="T11" fmla="*/ 1 h 5"/>
                    <a:gd name="T12" fmla="*/ 3 w 3"/>
                    <a:gd name="T13" fmla="*/ 1 h 5"/>
                    <a:gd name="T14" fmla="*/ 3 w 3"/>
                    <a:gd name="T15" fmla="*/ 0 h 5"/>
                    <a:gd name="T16" fmla="*/ 0 w 3"/>
                    <a:gd name="T17" fmla="*/ 0 h 5"/>
                    <a:gd name="T18" fmla="*/ 0 w 3"/>
                    <a:gd name="T19" fmla="*/ 5 h 5"/>
                    <a:gd name="T20" fmla="*/ 0 w 3"/>
                    <a:gd name="T21" fmla="*/ 5 h 5"/>
                    <a:gd name="T22" fmla="*/ 0 w 3"/>
                    <a:gd name="T23" fmla="*/ 3 h 5"/>
                    <a:gd name="T24" fmla="*/ 2 w 3"/>
                    <a:gd name="T25" fmla="*/ 3 h 5"/>
                    <a:gd name="T26" fmla="*/ 2 w 3"/>
                    <a:gd name="T27" fmla="*/ 4 h 5"/>
                    <a:gd name="T28" fmla="*/ 3 w 3"/>
                    <a:gd name="T29" fmla="*/ 4 h 5"/>
                    <a:gd name="T30" fmla="*/ 3 w 3"/>
                    <a:gd name="T31" fmla="*/ 5 h 5"/>
                    <a:gd name="T32" fmla="*/ 3 w 3"/>
                    <a:gd name="T33" fmla="*/ 5 h 5"/>
                    <a:gd name="T34" fmla="*/ 3 w 3"/>
                    <a:gd name="T35" fmla="*/ 5 h 5"/>
                    <a:gd name="T36" fmla="*/ 3 w 3"/>
                    <a:gd name="T37" fmla="*/ 3 h 5"/>
                    <a:gd name="T38" fmla="*/ 0 w 3"/>
                    <a:gd name="T39" fmla="*/ 3 h 5"/>
                    <a:gd name="T40" fmla="*/ 0 w 3"/>
                    <a:gd name="T41" fmla="*/ 1 h 5"/>
                    <a:gd name="T42" fmla="*/ 3 w 3"/>
                    <a:gd name="T43" fmla="*/ 1 h 5"/>
                    <a:gd name="T44" fmla="*/ 3 w 3"/>
                    <a:gd name="T45" fmla="*/ 3 h 5"/>
                    <a:gd name="T46" fmla="*/ 3 w 3"/>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5">
                      <a:moveTo>
                        <a:pt x="3" y="5"/>
                      </a:moveTo>
                      <a:lnTo>
                        <a:pt x="3" y="4"/>
                      </a:lnTo>
                      <a:lnTo>
                        <a:pt x="3" y="4"/>
                      </a:lnTo>
                      <a:lnTo>
                        <a:pt x="3" y="3"/>
                      </a:lnTo>
                      <a:lnTo>
                        <a:pt x="3" y="3"/>
                      </a:lnTo>
                      <a:lnTo>
                        <a:pt x="3" y="1"/>
                      </a:lnTo>
                      <a:lnTo>
                        <a:pt x="3" y="1"/>
                      </a:lnTo>
                      <a:lnTo>
                        <a:pt x="3" y="0"/>
                      </a:lnTo>
                      <a:lnTo>
                        <a:pt x="0" y="0"/>
                      </a:lnTo>
                      <a:lnTo>
                        <a:pt x="0" y="5"/>
                      </a:lnTo>
                      <a:lnTo>
                        <a:pt x="0" y="5"/>
                      </a:lnTo>
                      <a:lnTo>
                        <a:pt x="0" y="3"/>
                      </a:lnTo>
                      <a:lnTo>
                        <a:pt x="2" y="3"/>
                      </a:lnTo>
                      <a:lnTo>
                        <a:pt x="2" y="4"/>
                      </a:lnTo>
                      <a:lnTo>
                        <a:pt x="3" y="4"/>
                      </a:lnTo>
                      <a:lnTo>
                        <a:pt x="3" y="5"/>
                      </a:lnTo>
                      <a:lnTo>
                        <a:pt x="3" y="5"/>
                      </a:lnTo>
                      <a:lnTo>
                        <a:pt x="3" y="5"/>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5" name="Freeform 782"/>
                <p:cNvSpPr>
                  <a:spLocks noEditPoints="1"/>
                </p:cNvSpPr>
                <p:nvPr/>
              </p:nvSpPr>
              <p:spPr bwMode="auto">
                <a:xfrm>
                  <a:off x="4928210" y="4079110"/>
                  <a:ext cx="29890" cy="37363"/>
                </a:xfrm>
                <a:custGeom>
                  <a:avLst/>
                  <a:gdLst>
                    <a:gd name="T0" fmla="*/ 4 w 4"/>
                    <a:gd name="T1" fmla="*/ 5 h 5"/>
                    <a:gd name="T2" fmla="*/ 4 w 4"/>
                    <a:gd name="T3" fmla="*/ 3 h 5"/>
                    <a:gd name="T4" fmla="*/ 3 w 4"/>
                    <a:gd name="T5" fmla="*/ 3 h 5"/>
                    <a:gd name="T6" fmla="*/ 3 w 4"/>
                    <a:gd name="T7" fmla="*/ 2 h 5"/>
                    <a:gd name="T8" fmla="*/ 2 w 4"/>
                    <a:gd name="T9" fmla="*/ 2 h 5"/>
                    <a:gd name="T10" fmla="*/ 2 w 4"/>
                    <a:gd name="T11" fmla="*/ 0 h 5"/>
                    <a:gd name="T12" fmla="*/ 1 w 4"/>
                    <a:gd name="T13" fmla="*/ 0 h 5"/>
                    <a:gd name="T14" fmla="*/ 1 w 4"/>
                    <a:gd name="T15" fmla="*/ 2 h 5"/>
                    <a:gd name="T16" fmla="*/ 1 w 4"/>
                    <a:gd name="T17" fmla="*/ 2 h 5"/>
                    <a:gd name="T18" fmla="*/ 1 w 4"/>
                    <a:gd name="T19" fmla="*/ 3 h 5"/>
                    <a:gd name="T20" fmla="*/ 0 w 4"/>
                    <a:gd name="T21" fmla="*/ 3 h 5"/>
                    <a:gd name="T22" fmla="*/ 0 w 4"/>
                    <a:gd name="T23" fmla="*/ 5 h 5"/>
                    <a:gd name="T24" fmla="*/ 1 w 4"/>
                    <a:gd name="T25" fmla="*/ 5 h 5"/>
                    <a:gd name="T26" fmla="*/ 1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2 h 5"/>
                    <a:gd name="T42" fmla="*/ 2 w 4"/>
                    <a:gd name="T43" fmla="*/ 2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2" y="2"/>
                      </a:lnTo>
                      <a:lnTo>
                        <a:pt x="2" y="0"/>
                      </a:lnTo>
                      <a:lnTo>
                        <a:pt x="1" y="0"/>
                      </a:lnTo>
                      <a:lnTo>
                        <a:pt x="1" y="2"/>
                      </a:lnTo>
                      <a:lnTo>
                        <a:pt x="1" y="2"/>
                      </a:lnTo>
                      <a:lnTo>
                        <a:pt x="1" y="3"/>
                      </a:lnTo>
                      <a:lnTo>
                        <a:pt x="0" y="3"/>
                      </a:lnTo>
                      <a:lnTo>
                        <a:pt x="0" y="5"/>
                      </a:lnTo>
                      <a:lnTo>
                        <a:pt x="1" y="5"/>
                      </a:lnTo>
                      <a:lnTo>
                        <a:pt x="1" y="4"/>
                      </a:lnTo>
                      <a:lnTo>
                        <a:pt x="3" y="4"/>
                      </a:lnTo>
                      <a:lnTo>
                        <a:pt x="3" y="5"/>
                      </a:lnTo>
                      <a:lnTo>
                        <a:pt x="4" y="5"/>
                      </a:lnTo>
                      <a:lnTo>
                        <a:pt x="4" y="5"/>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2626" name="Gruppieren 2625"/>
                <p:cNvGrpSpPr/>
                <p:nvPr/>
              </p:nvGrpSpPr>
              <p:grpSpPr>
                <a:xfrm>
                  <a:off x="2357662" y="2607024"/>
                  <a:ext cx="3160877" cy="1965274"/>
                  <a:chOff x="2357662" y="2607024"/>
                  <a:chExt cx="3160877" cy="1965274"/>
                </a:xfrm>
              </p:grpSpPr>
              <p:sp>
                <p:nvSpPr>
                  <p:cNvPr id="2736" name="Freeform 784"/>
                  <p:cNvSpPr>
                    <a:spLocks/>
                  </p:cNvSpPr>
                  <p:nvPr/>
                </p:nvSpPr>
                <p:spPr bwMode="auto">
                  <a:xfrm>
                    <a:off x="4965572" y="4079111"/>
                    <a:ext cx="29890" cy="37363"/>
                  </a:xfrm>
                  <a:custGeom>
                    <a:avLst/>
                    <a:gdLst>
                      <a:gd name="T0" fmla="*/ 4 w 4"/>
                      <a:gd name="T1" fmla="*/ 2 h 5"/>
                      <a:gd name="T2" fmla="*/ 4 w 4"/>
                      <a:gd name="T3" fmla="*/ 0 h 5"/>
                      <a:gd name="T4" fmla="*/ 3 w 4"/>
                      <a:gd name="T5" fmla="*/ 0 h 5"/>
                      <a:gd name="T6" fmla="*/ 3 w 4"/>
                      <a:gd name="T7" fmla="*/ 2 h 5"/>
                      <a:gd name="T8" fmla="*/ 2 w 4"/>
                      <a:gd name="T9" fmla="*/ 2 h 5"/>
                      <a:gd name="T10" fmla="*/ 2 w 4"/>
                      <a:gd name="T11" fmla="*/ 3 h 5"/>
                      <a:gd name="T12" fmla="*/ 1 w 4"/>
                      <a:gd name="T13" fmla="*/ 3 h 5"/>
                      <a:gd name="T14" fmla="*/ 1 w 4"/>
                      <a:gd name="T15" fmla="*/ 2 h 5"/>
                      <a:gd name="T16" fmla="*/ 1 w 4"/>
                      <a:gd name="T17" fmla="*/ 2 h 5"/>
                      <a:gd name="T18" fmla="*/ 1 w 4"/>
                      <a:gd name="T19" fmla="*/ 0 h 5"/>
                      <a:gd name="T20" fmla="*/ 0 w 4"/>
                      <a:gd name="T21" fmla="*/ 0 h 5"/>
                      <a:gd name="T22" fmla="*/ 0 w 4"/>
                      <a:gd name="T23" fmla="*/ 2 h 5"/>
                      <a:gd name="T24" fmla="*/ 1 w 4"/>
                      <a:gd name="T25" fmla="*/ 2 h 5"/>
                      <a:gd name="T26" fmla="*/ 1 w 4"/>
                      <a:gd name="T27" fmla="*/ 3 h 5"/>
                      <a:gd name="T28" fmla="*/ 1 w 4"/>
                      <a:gd name="T29" fmla="*/ 3 h 5"/>
                      <a:gd name="T30" fmla="*/ 1 w 4"/>
                      <a:gd name="T31" fmla="*/ 5 h 5"/>
                      <a:gd name="T32" fmla="*/ 2 w 4"/>
                      <a:gd name="T33" fmla="*/ 5 h 5"/>
                      <a:gd name="T34" fmla="*/ 2 w 4"/>
                      <a:gd name="T35" fmla="*/ 3 h 5"/>
                      <a:gd name="T36" fmla="*/ 3 w 4"/>
                      <a:gd name="T37" fmla="*/ 3 h 5"/>
                      <a:gd name="T38" fmla="*/ 3 w 4"/>
                      <a:gd name="T39" fmla="*/ 2 h 5"/>
                      <a:gd name="T40" fmla="*/ 4 w 4"/>
                      <a:gd name="T41" fmla="*/ 2 h 5"/>
                      <a:gd name="T42" fmla="*/ 4 w 4"/>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2"/>
                        </a:moveTo>
                        <a:lnTo>
                          <a:pt x="4" y="0"/>
                        </a:lnTo>
                        <a:lnTo>
                          <a:pt x="3" y="0"/>
                        </a:lnTo>
                        <a:lnTo>
                          <a:pt x="3" y="2"/>
                        </a:lnTo>
                        <a:lnTo>
                          <a:pt x="2" y="2"/>
                        </a:lnTo>
                        <a:lnTo>
                          <a:pt x="2" y="3"/>
                        </a:lnTo>
                        <a:lnTo>
                          <a:pt x="1" y="3"/>
                        </a:lnTo>
                        <a:lnTo>
                          <a:pt x="1" y="2"/>
                        </a:lnTo>
                        <a:lnTo>
                          <a:pt x="1" y="2"/>
                        </a:lnTo>
                        <a:lnTo>
                          <a:pt x="1" y="0"/>
                        </a:lnTo>
                        <a:lnTo>
                          <a:pt x="0" y="0"/>
                        </a:lnTo>
                        <a:lnTo>
                          <a:pt x="0" y="2"/>
                        </a:lnTo>
                        <a:lnTo>
                          <a:pt x="1" y="2"/>
                        </a:lnTo>
                        <a:lnTo>
                          <a:pt x="1" y="3"/>
                        </a:lnTo>
                        <a:lnTo>
                          <a:pt x="1" y="3"/>
                        </a:lnTo>
                        <a:lnTo>
                          <a:pt x="1" y="5"/>
                        </a:lnTo>
                        <a:lnTo>
                          <a:pt x="2" y="5"/>
                        </a:lnTo>
                        <a:lnTo>
                          <a:pt x="2" y="3"/>
                        </a:lnTo>
                        <a:lnTo>
                          <a:pt x="3" y="3"/>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7" name="Freeform 785"/>
                  <p:cNvSpPr>
                    <a:spLocks/>
                  </p:cNvSpPr>
                  <p:nvPr/>
                </p:nvSpPr>
                <p:spPr bwMode="auto">
                  <a:xfrm>
                    <a:off x="5070188" y="4079111"/>
                    <a:ext cx="29890" cy="37363"/>
                  </a:xfrm>
                  <a:custGeom>
                    <a:avLst/>
                    <a:gdLst>
                      <a:gd name="T0" fmla="*/ 4 w 4"/>
                      <a:gd name="T1" fmla="*/ 5 h 5"/>
                      <a:gd name="T2" fmla="*/ 4 w 4"/>
                      <a:gd name="T3" fmla="*/ 5 h 5"/>
                      <a:gd name="T4" fmla="*/ 3 w 4"/>
                      <a:gd name="T5" fmla="*/ 5 h 5"/>
                      <a:gd name="T6" fmla="*/ 3 w 4"/>
                      <a:gd name="T7" fmla="*/ 4 h 5"/>
                      <a:gd name="T8" fmla="*/ 2 w 4"/>
                      <a:gd name="T9" fmla="*/ 4 h 5"/>
                      <a:gd name="T10" fmla="*/ 2 w 4"/>
                      <a:gd name="T11" fmla="*/ 3 h 5"/>
                      <a:gd name="T12" fmla="*/ 2 w 4"/>
                      <a:gd name="T13" fmla="*/ 3 h 5"/>
                      <a:gd name="T14" fmla="*/ 2 w 4"/>
                      <a:gd name="T15" fmla="*/ 3 h 5"/>
                      <a:gd name="T16" fmla="*/ 2 w 4"/>
                      <a:gd name="T17" fmla="*/ 3 h 5"/>
                      <a:gd name="T18" fmla="*/ 2 w 4"/>
                      <a:gd name="T19" fmla="*/ 2 h 5"/>
                      <a:gd name="T20" fmla="*/ 3 w 4"/>
                      <a:gd name="T21" fmla="*/ 2 h 5"/>
                      <a:gd name="T22" fmla="*/ 3 w 4"/>
                      <a:gd name="T23" fmla="*/ 1 h 5"/>
                      <a:gd name="T24" fmla="*/ 4 w 4"/>
                      <a:gd name="T25" fmla="*/ 1 h 5"/>
                      <a:gd name="T26" fmla="*/ 4 w 4"/>
                      <a:gd name="T27" fmla="*/ 0 h 5"/>
                      <a:gd name="T28" fmla="*/ 3 w 4"/>
                      <a:gd name="T29" fmla="*/ 0 h 5"/>
                      <a:gd name="T30" fmla="*/ 3 w 4"/>
                      <a:gd name="T31" fmla="*/ 1 h 5"/>
                      <a:gd name="T32" fmla="*/ 2 w 4"/>
                      <a:gd name="T33" fmla="*/ 1 h 5"/>
                      <a:gd name="T34" fmla="*/ 2 w 4"/>
                      <a:gd name="T35" fmla="*/ 2 h 5"/>
                      <a:gd name="T36" fmla="*/ 2 w 4"/>
                      <a:gd name="T37" fmla="*/ 2 h 5"/>
                      <a:gd name="T38" fmla="*/ 2 w 4"/>
                      <a:gd name="T39" fmla="*/ 3 h 5"/>
                      <a:gd name="T40" fmla="*/ 1 w 4"/>
                      <a:gd name="T41" fmla="*/ 3 h 5"/>
                      <a:gd name="T42" fmla="*/ 1 w 4"/>
                      <a:gd name="T43" fmla="*/ 0 h 5"/>
                      <a:gd name="T44" fmla="*/ 0 w 4"/>
                      <a:gd name="T45" fmla="*/ 0 h 5"/>
                      <a:gd name="T46" fmla="*/ 0 w 4"/>
                      <a:gd name="T47" fmla="*/ 5 h 5"/>
                      <a:gd name="T48" fmla="*/ 1 w 4"/>
                      <a:gd name="T49" fmla="*/ 5 h 5"/>
                      <a:gd name="T50" fmla="*/ 1 w 4"/>
                      <a:gd name="T51" fmla="*/ 3 h 5"/>
                      <a:gd name="T52" fmla="*/ 2 w 4"/>
                      <a:gd name="T53" fmla="*/ 3 h 5"/>
                      <a:gd name="T54" fmla="*/ 2 w 4"/>
                      <a:gd name="T55" fmla="*/ 4 h 5"/>
                      <a:gd name="T56" fmla="*/ 2 w 4"/>
                      <a:gd name="T57" fmla="*/ 4 h 5"/>
                      <a:gd name="T58" fmla="*/ 2 w 4"/>
                      <a:gd name="T59" fmla="*/ 5 h 5"/>
                      <a:gd name="T60" fmla="*/ 3 w 4"/>
                      <a:gd name="T61" fmla="*/ 5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5"/>
                        </a:lnTo>
                        <a:lnTo>
                          <a:pt x="3" y="5"/>
                        </a:lnTo>
                        <a:lnTo>
                          <a:pt x="3" y="4"/>
                        </a:lnTo>
                        <a:lnTo>
                          <a:pt x="2" y="4"/>
                        </a:lnTo>
                        <a:lnTo>
                          <a:pt x="2" y="3"/>
                        </a:lnTo>
                        <a:lnTo>
                          <a:pt x="2" y="3"/>
                        </a:lnTo>
                        <a:lnTo>
                          <a:pt x="2" y="3"/>
                        </a:lnTo>
                        <a:lnTo>
                          <a:pt x="2" y="3"/>
                        </a:lnTo>
                        <a:lnTo>
                          <a:pt x="2" y="2"/>
                        </a:lnTo>
                        <a:lnTo>
                          <a:pt x="3" y="2"/>
                        </a:lnTo>
                        <a:lnTo>
                          <a:pt x="3" y="1"/>
                        </a:lnTo>
                        <a:lnTo>
                          <a:pt x="4" y="1"/>
                        </a:lnTo>
                        <a:lnTo>
                          <a:pt x="4" y="0"/>
                        </a:lnTo>
                        <a:lnTo>
                          <a:pt x="3" y="0"/>
                        </a:lnTo>
                        <a:lnTo>
                          <a:pt x="3" y="1"/>
                        </a:lnTo>
                        <a:lnTo>
                          <a:pt x="2" y="1"/>
                        </a:lnTo>
                        <a:lnTo>
                          <a:pt x="2" y="2"/>
                        </a:lnTo>
                        <a:lnTo>
                          <a:pt x="2" y="2"/>
                        </a:lnTo>
                        <a:lnTo>
                          <a:pt x="2" y="3"/>
                        </a:lnTo>
                        <a:lnTo>
                          <a:pt x="1" y="3"/>
                        </a:lnTo>
                        <a:lnTo>
                          <a:pt x="1" y="0"/>
                        </a:lnTo>
                        <a:lnTo>
                          <a:pt x="0" y="0"/>
                        </a:lnTo>
                        <a:lnTo>
                          <a:pt x="0" y="5"/>
                        </a:lnTo>
                        <a:lnTo>
                          <a:pt x="1" y="5"/>
                        </a:lnTo>
                        <a:lnTo>
                          <a:pt x="1" y="3"/>
                        </a:lnTo>
                        <a:lnTo>
                          <a:pt x="2" y="3"/>
                        </a:lnTo>
                        <a:lnTo>
                          <a:pt x="2" y="4"/>
                        </a:lnTo>
                        <a:lnTo>
                          <a:pt x="2" y="4"/>
                        </a:lnTo>
                        <a:lnTo>
                          <a:pt x="2"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8" name="Freeform 786"/>
                  <p:cNvSpPr>
                    <a:spLocks/>
                  </p:cNvSpPr>
                  <p:nvPr/>
                </p:nvSpPr>
                <p:spPr bwMode="auto">
                  <a:xfrm>
                    <a:off x="5107550" y="4079111"/>
                    <a:ext cx="22418" cy="37363"/>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9" name="Freeform 787"/>
                  <p:cNvSpPr>
                    <a:spLocks noEditPoints="1"/>
                  </p:cNvSpPr>
                  <p:nvPr/>
                </p:nvSpPr>
                <p:spPr bwMode="auto">
                  <a:xfrm>
                    <a:off x="5137440" y="4079111"/>
                    <a:ext cx="29890" cy="37363"/>
                  </a:xfrm>
                  <a:custGeom>
                    <a:avLst/>
                    <a:gdLst>
                      <a:gd name="T0" fmla="*/ 4 w 4"/>
                      <a:gd name="T1" fmla="*/ 5 h 5"/>
                      <a:gd name="T2" fmla="*/ 4 w 4"/>
                      <a:gd name="T3" fmla="*/ 3 h 5"/>
                      <a:gd name="T4" fmla="*/ 4 w 4"/>
                      <a:gd name="T5" fmla="*/ 3 h 5"/>
                      <a:gd name="T6" fmla="*/ 4 w 4"/>
                      <a:gd name="T7" fmla="*/ 3 h 5"/>
                      <a:gd name="T8" fmla="*/ 4 w 4"/>
                      <a:gd name="T9" fmla="*/ 3 h 5"/>
                      <a:gd name="T10" fmla="*/ 4 w 4"/>
                      <a:gd name="T11" fmla="*/ 1 h 5"/>
                      <a:gd name="T12" fmla="*/ 4 w 4"/>
                      <a:gd name="T13" fmla="*/ 1 h 5"/>
                      <a:gd name="T14" fmla="*/ 4 w 4"/>
                      <a:gd name="T15" fmla="*/ 0 h 5"/>
                      <a:gd name="T16" fmla="*/ 0 w 4"/>
                      <a:gd name="T17" fmla="*/ 0 h 5"/>
                      <a:gd name="T18" fmla="*/ 0 w 4"/>
                      <a:gd name="T19" fmla="*/ 5 h 5"/>
                      <a:gd name="T20" fmla="*/ 4 w 4"/>
                      <a:gd name="T21" fmla="*/ 5 h 5"/>
                      <a:gd name="T22" fmla="*/ 4 w 4"/>
                      <a:gd name="T23" fmla="*/ 5 h 5"/>
                      <a:gd name="T24" fmla="*/ 4 w 4"/>
                      <a:gd name="T25" fmla="*/ 5 h 5"/>
                      <a:gd name="T26" fmla="*/ 4 w 4"/>
                      <a:gd name="T27" fmla="*/ 5 h 5"/>
                      <a:gd name="T28" fmla="*/ 4 w 4"/>
                      <a:gd name="T29" fmla="*/ 3 h 5"/>
                      <a:gd name="T30" fmla="*/ 2 w 4"/>
                      <a:gd name="T31" fmla="*/ 3 h 5"/>
                      <a:gd name="T32" fmla="*/ 2 w 4"/>
                      <a:gd name="T33" fmla="*/ 1 h 5"/>
                      <a:gd name="T34" fmla="*/ 4 w 4"/>
                      <a:gd name="T35" fmla="*/ 1 h 5"/>
                      <a:gd name="T36" fmla="*/ 4 w 4"/>
                      <a:gd name="T37" fmla="*/ 3 h 5"/>
                      <a:gd name="T38" fmla="*/ 4 w 4"/>
                      <a:gd name="T39" fmla="*/ 3 h 5"/>
                      <a:gd name="T40" fmla="*/ 4 w 4"/>
                      <a:gd name="T41" fmla="*/ 5 h 5"/>
                      <a:gd name="T42" fmla="*/ 2 w 4"/>
                      <a:gd name="T43" fmla="*/ 5 h 5"/>
                      <a:gd name="T44" fmla="*/ 2 w 4"/>
                      <a:gd name="T45" fmla="*/ 3 h 5"/>
                      <a:gd name="T46" fmla="*/ 4 w 4"/>
                      <a:gd name="T47" fmla="*/ 3 h 5"/>
                      <a:gd name="T48" fmla="*/ 4 w 4"/>
                      <a:gd name="T49" fmla="*/ 5 h 5"/>
                      <a:gd name="T50" fmla="*/ 4 w 4"/>
                      <a:gd name="T5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5"/>
                        </a:moveTo>
                        <a:lnTo>
                          <a:pt x="4" y="3"/>
                        </a:lnTo>
                        <a:lnTo>
                          <a:pt x="4" y="3"/>
                        </a:lnTo>
                        <a:lnTo>
                          <a:pt x="4" y="3"/>
                        </a:lnTo>
                        <a:lnTo>
                          <a:pt x="4" y="3"/>
                        </a:lnTo>
                        <a:lnTo>
                          <a:pt x="4" y="1"/>
                        </a:lnTo>
                        <a:lnTo>
                          <a:pt x="4" y="1"/>
                        </a:lnTo>
                        <a:lnTo>
                          <a:pt x="4" y="0"/>
                        </a:lnTo>
                        <a:lnTo>
                          <a:pt x="0" y="0"/>
                        </a:lnTo>
                        <a:lnTo>
                          <a:pt x="0" y="5"/>
                        </a:lnTo>
                        <a:lnTo>
                          <a:pt x="4" y="5"/>
                        </a:lnTo>
                        <a:lnTo>
                          <a:pt x="4" y="5"/>
                        </a:lnTo>
                        <a:lnTo>
                          <a:pt x="4" y="5"/>
                        </a:lnTo>
                        <a:lnTo>
                          <a:pt x="4" y="5"/>
                        </a:lnTo>
                        <a:close/>
                        <a:moveTo>
                          <a:pt x="4" y="3"/>
                        </a:moveTo>
                        <a:lnTo>
                          <a:pt x="2" y="3"/>
                        </a:lnTo>
                        <a:lnTo>
                          <a:pt x="2" y="1"/>
                        </a:lnTo>
                        <a:lnTo>
                          <a:pt x="4" y="1"/>
                        </a:lnTo>
                        <a:lnTo>
                          <a:pt x="4" y="3"/>
                        </a:lnTo>
                        <a:lnTo>
                          <a:pt x="4" y="3"/>
                        </a:lnTo>
                        <a:close/>
                        <a:moveTo>
                          <a:pt x="4" y="5"/>
                        </a:moveTo>
                        <a:lnTo>
                          <a:pt x="2" y="5"/>
                        </a:lnTo>
                        <a:lnTo>
                          <a:pt x="2"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0" name="Freeform 788"/>
                  <p:cNvSpPr>
                    <a:spLocks/>
                  </p:cNvSpPr>
                  <p:nvPr/>
                </p:nvSpPr>
                <p:spPr bwMode="auto">
                  <a:xfrm>
                    <a:off x="5182275" y="4079111"/>
                    <a:ext cx="22418" cy="37363"/>
                  </a:xfrm>
                  <a:custGeom>
                    <a:avLst/>
                    <a:gdLst>
                      <a:gd name="T0" fmla="*/ 3 w 3"/>
                      <a:gd name="T1" fmla="*/ 1 h 5"/>
                      <a:gd name="T2" fmla="*/ 3 w 3"/>
                      <a:gd name="T3" fmla="*/ 0 h 5"/>
                      <a:gd name="T4" fmla="*/ 2 w 3"/>
                      <a:gd name="T5" fmla="*/ 0 h 5"/>
                      <a:gd name="T6" fmla="*/ 2 w 3"/>
                      <a:gd name="T7" fmla="*/ 1 h 5"/>
                      <a:gd name="T8" fmla="*/ 1 w 3"/>
                      <a:gd name="T9" fmla="*/ 1 h 5"/>
                      <a:gd name="T10" fmla="*/ 1 w 3"/>
                      <a:gd name="T11" fmla="*/ 3 h 5"/>
                      <a:gd name="T12" fmla="*/ 0 w 3"/>
                      <a:gd name="T13" fmla="*/ 3 h 5"/>
                      <a:gd name="T14" fmla="*/ 0 w 3"/>
                      <a:gd name="T15" fmla="*/ 4 h 5"/>
                      <a:gd name="T16" fmla="*/ 0 w 3"/>
                      <a:gd name="T17" fmla="*/ 4 h 5"/>
                      <a:gd name="T18" fmla="*/ 0 w 3"/>
                      <a:gd name="T19" fmla="*/ 5 h 5"/>
                      <a:gd name="T20" fmla="*/ 0 w 3"/>
                      <a:gd name="T21" fmla="*/ 5 h 5"/>
                      <a:gd name="T22" fmla="*/ 0 w 3"/>
                      <a:gd name="T23" fmla="*/ 4 h 5"/>
                      <a:gd name="T24" fmla="*/ 1 w 3"/>
                      <a:gd name="T25" fmla="*/ 4 h 5"/>
                      <a:gd name="T26" fmla="*/ 1 w 3"/>
                      <a:gd name="T27" fmla="*/ 3 h 5"/>
                      <a:gd name="T28" fmla="*/ 2 w 3"/>
                      <a:gd name="T29" fmla="*/ 3 h 5"/>
                      <a:gd name="T30" fmla="*/ 2 w 3"/>
                      <a:gd name="T31" fmla="*/ 1 h 5"/>
                      <a:gd name="T32" fmla="*/ 3 w 3"/>
                      <a:gd name="T33" fmla="*/ 1 h 5"/>
                      <a:gd name="T34" fmla="*/ 3 w 3"/>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1"/>
                        </a:moveTo>
                        <a:lnTo>
                          <a:pt x="3" y="0"/>
                        </a:lnTo>
                        <a:lnTo>
                          <a:pt x="2" y="0"/>
                        </a:lnTo>
                        <a:lnTo>
                          <a:pt x="2" y="1"/>
                        </a:lnTo>
                        <a:lnTo>
                          <a:pt x="1" y="1"/>
                        </a:lnTo>
                        <a:lnTo>
                          <a:pt x="1" y="3"/>
                        </a:lnTo>
                        <a:lnTo>
                          <a:pt x="0" y="3"/>
                        </a:lnTo>
                        <a:lnTo>
                          <a:pt x="0" y="4"/>
                        </a:lnTo>
                        <a:lnTo>
                          <a:pt x="0" y="4"/>
                        </a:lnTo>
                        <a:lnTo>
                          <a:pt x="0" y="5"/>
                        </a:lnTo>
                        <a:lnTo>
                          <a:pt x="0" y="5"/>
                        </a:lnTo>
                        <a:lnTo>
                          <a:pt x="0"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1" name="Freeform 789"/>
                  <p:cNvSpPr>
                    <a:spLocks/>
                  </p:cNvSpPr>
                  <p:nvPr/>
                </p:nvSpPr>
                <p:spPr bwMode="auto">
                  <a:xfrm>
                    <a:off x="5212166" y="4079111"/>
                    <a:ext cx="29890" cy="37363"/>
                  </a:xfrm>
                  <a:custGeom>
                    <a:avLst/>
                    <a:gdLst>
                      <a:gd name="T0" fmla="*/ 4 w 4"/>
                      <a:gd name="T1" fmla="*/ 5 h 5"/>
                      <a:gd name="T2" fmla="*/ 4 w 4"/>
                      <a:gd name="T3" fmla="*/ 0 h 5"/>
                      <a:gd name="T4" fmla="*/ 3 w 4"/>
                      <a:gd name="T5" fmla="*/ 0 h 5"/>
                      <a:gd name="T6" fmla="*/ 3 w 4"/>
                      <a:gd name="T7" fmla="*/ 3 h 5"/>
                      <a:gd name="T8" fmla="*/ 1 w 4"/>
                      <a:gd name="T9" fmla="*/ 3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3"/>
                        </a:lnTo>
                        <a:lnTo>
                          <a:pt x="1" y="3"/>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2" name="Freeform 790"/>
                  <p:cNvSpPr>
                    <a:spLocks noEditPoints="1"/>
                  </p:cNvSpPr>
                  <p:nvPr/>
                </p:nvSpPr>
                <p:spPr bwMode="auto">
                  <a:xfrm>
                    <a:off x="5249528" y="4079111"/>
                    <a:ext cx="29890" cy="37363"/>
                  </a:xfrm>
                  <a:custGeom>
                    <a:avLst/>
                    <a:gdLst>
                      <a:gd name="T0" fmla="*/ 4 w 4"/>
                      <a:gd name="T1" fmla="*/ 5 h 5"/>
                      <a:gd name="T2" fmla="*/ 4 w 4"/>
                      <a:gd name="T3" fmla="*/ 4 h 5"/>
                      <a:gd name="T4" fmla="*/ 3 w 4"/>
                      <a:gd name="T5" fmla="*/ 4 h 5"/>
                      <a:gd name="T6" fmla="*/ 3 w 4"/>
                      <a:gd name="T7" fmla="*/ 3 h 5"/>
                      <a:gd name="T8" fmla="*/ 4 w 4"/>
                      <a:gd name="T9" fmla="*/ 3 h 5"/>
                      <a:gd name="T10" fmla="*/ 4 w 4"/>
                      <a:gd name="T11" fmla="*/ 1 h 5"/>
                      <a:gd name="T12" fmla="*/ 3 w 4"/>
                      <a:gd name="T13" fmla="*/ 1 h 5"/>
                      <a:gd name="T14" fmla="*/ 3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3 w 4"/>
                      <a:gd name="T29" fmla="*/ 4 h 5"/>
                      <a:gd name="T30" fmla="*/ 3 w 4"/>
                      <a:gd name="T31" fmla="*/ 5 h 5"/>
                      <a:gd name="T32" fmla="*/ 4 w 4"/>
                      <a:gd name="T33" fmla="*/ 5 h 5"/>
                      <a:gd name="T34" fmla="*/ 4 w 4"/>
                      <a:gd name="T35" fmla="*/ 5 h 5"/>
                      <a:gd name="T36" fmla="*/ 3 w 4"/>
                      <a:gd name="T37" fmla="*/ 3 h 5"/>
                      <a:gd name="T38" fmla="*/ 1 w 4"/>
                      <a:gd name="T39" fmla="*/ 3 h 5"/>
                      <a:gd name="T40" fmla="*/ 1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3" y="4"/>
                        </a:lnTo>
                        <a:lnTo>
                          <a:pt x="3" y="3"/>
                        </a:lnTo>
                        <a:lnTo>
                          <a:pt x="4" y="3"/>
                        </a:lnTo>
                        <a:lnTo>
                          <a:pt x="4" y="1"/>
                        </a:lnTo>
                        <a:lnTo>
                          <a:pt x="3" y="1"/>
                        </a:lnTo>
                        <a:lnTo>
                          <a:pt x="3" y="0"/>
                        </a:lnTo>
                        <a:lnTo>
                          <a:pt x="0" y="0"/>
                        </a:lnTo>
                        <a:lnTo>
                          <a:pt x="0" y="5"/>
                        </a:lnTo>
                        <a:lnTo>
                          <a:pt x="1" y="5"/>
                        </a:lnTo>
                        <a:lnTo>
                          <a:pt x="1" y="3"/>
                        </a:lnTo>
                        <a:lnTo>
                          <a:pt x="3" y="3"/>
                        </a:lnTo>
                        <a:lnTo>
                          <a:pt x="3" y="4"/>
                        </a:lnTo>
                        <a:lnTo>
                          <a:pt x="3" y="4"/>
                        </a:lnTo>
                        <a:lnTo>
                          <a:pt x="3" y="5"/>
                        </a:lnTo>
                        <a:lnTo>
                          <a:pt x="4" y="5"/>
                        </a:lnTo>
                        <a:lnTo>
                          <a:pt x="4" y="5"/>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3" name="Freeform 791"/>
                  <p:cNvSpPr>
                    <a:spLocks/>
                  </p:cNvSpPr>
                  <p:nvPr/>
                </p:nvSpPr>
                <p:spPr bwMode="auto">
                  <a:xfrm>
                    <a:off x="4711507"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4" name="Freeform 792"/>
                  <p:cNvSpPr>
                    <a:spLocks/>
                  </p:cNvSpPr>
                  <p:nvPr/>
                </p:nvSpPr>
                <p:spPr bwMode="auto">
                  <a:xfrm>
                    <a:off x="4748869" y="4153837"/>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5" name="Freeform 793"/>
                  <p:cNvSpPr>
                    <a:spLocks/>
                  </p:cNvSpPr>
                  <p:nvPr/>
                </p:nvSpPr>
                <p:spPr bwMode="auto">
                  <a:xfrm>
                    <a:off x="4763814" y="4153837"/>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6" name="Freeform 794"/>
                  <p:cNvSpPr>
                    <a:spLocks/>
                  </p:cNvSpPr>
                  <p:nvPr/>
                </p:nvSpPr>
                <p:spPr bwMode="auto">
                  <a:xfrm>
                    <a:off x="4793704" y="415383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7" name="Freeform 795"/>
                  <p:cNvSpPr>
                    <a:spLocks noEditPoints="1"/>
                  </p:cNvSpPr>
                  <p:nvPr/>
                </p:nvSpPr>
                <p:spPr bwMode="auto">
                  <a:xfrm>
                    <a:off x="5070188" y="4153837"/>
                    <a:ext cx="29890" cy="44835"/>
                  </a:xfrm>
                  <a:custGeom>
                    <a:avLst/>
                    <a:gdLst>
                      <a:gd name="T0" fmla="*/ 4 w 4"/>
                      <a:gd name="T1" fmla="*/ 4 h 6"/>
                      <a:gd name="T2" fmla="*/ 4 w 4"/>
                      <a:gd name="T3" fmla="*/ 2 h 6"/>
                      <a:gd name="T4" fmla="*/ 4 w 4"/>
                      <a:gd name="T5" fmla="*/ 2 h 6"/>
                      <a:gd name="T6" fmla="*/ 4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4 w 4"/>
                      <a:gd name="T21" fmla="*/ 5 h 6"/>
                      <a:gd name="T22" fmla="*/ 4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4" y="2"/>
                        </a:lnTo>
                        <a:lnTo>
                          <a:pt x="4" y="1"/>
                        </a:lnTo>
                        <a:lnTo>
                          <a:pt x="2" y="1"/>
                        </a:lnTo>
                        <a:lnTo>
                          <a:pt x="2" y="0"/>
                        </a:lnTo>
                        <a:lnTo>
                          <a:pt x="0" y="0"/>
                        </a:lnTo>
                        <a:lnTo>
                          <a:pt x="0" y="6"/>
                        </a:lnTo>
                        <a:lnTo>
                          <a:pt x="2" y="6"/>
                        </a:lnTo>
                        <a:lnTo>
                          <a:pt x="2" y="5"/>
                        </a:lnTo>
                        <a:lnTo>
                          <a:pt x="4" y="5"/>
                        </a:lnTo>
                        <a:lnTo>
                          <a:pt x="4"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8" name="Freeform 796"/>
                  <p:cNvSpPr>
                    <a:spLocks/>
                  </p:cNvSpPr>
                  <p:nvPr/>
                </p:nvSpPr>
                <p:spPr bwMode="auto">
                  <a:xfrm>
                    <a:off x="5107550" y="415383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49" name="Freeform 797"/>
                  <p:cNvSpPr>
                    <a:spLocks/>
                  </p:cNvSpPr>
                  <p:nvPr/>
                </p:nvSpPr>
                <p:spPr bwMode="auto">
                  <a:xfrm>
                    <a:off x="5137440" y="4153837"/>
                    <a:ext cx="29890" cy="44835"/>
                  </a:xfrm>
                  <a:custGeom>
                    <a:avLst/>
                    <a:gdLst>
                      <a:gd name="T0" fmla="*/ 4 w 4"/>
                      <a:gd name="T1" fmla="*/ 5 h 6"/>
                      <a:gd name="T2" fmla="*/ 4 w 4"/>
                      <a:gd name="T3" fmla="*/ 2 h 6"/>
                      <a:gd name="T4" fmla="*/ 3 w 4"/>
                      <a:gd name="T5" fmla="*/ 2 h 6"/>
                      <a:gd name="T6" fmla="*/ 3 w 4"/>
                      <a:gd name="T7" fmla="*/ 4 h 6"/>
                      <a:gd name="T8" fmla="*/ 4 w 4"/>
                      <a:gd name="T9" fmla="*/ 4 h 6"/>
                      <a:gd name="T10" fmla="*/ 4 w 4"/>
                      <a:gd name="T11" fmla="*/ 5 h 6"/>
                      <a:gd name="T12" fmla="*/ 2 w 4"/>
                      <a:gd name="T13" fmla="*/ 5 h 6"/>
                      <a:gd name="T14" fmla="*/ 2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2 w 4"/>
                      <a:gd name="T29" fmla="*/ 0 h 6"/>
                      <a:gd name="T30" fmla="*/ 2 w 4"/>
                      <a:gd name="T31" fmla="*/ 1 h 6"/>
                      <a:gd name="T32" fmla="*/ 0 w 4"/>
                      <a:gd name="T33" fmla="*/ 1 h 6"/>
                      <a:gd name="T34" fmla="*/ 0 w 4"/>
                      <a:gd name="T35" fmla="*/ 5 h 6"/>
                      <a:gd name="T36" fmla="*/ 2 w 4"/>
                      <a:gd name="T37" fmla="*/ 5 h 6"/>
                      <a:gd name="T38" fmla="*/ 2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4"/>
                        </a:lnTo>
                        <a:lnTo>
                          <a:pt x="4" y="4"/>
                        </a:lnTo>
                        <a:lnTo>
                          <a:pt x="4" y="5"/>
                        </a:lnTo>
                        <a:lnTo>
                          <a:pt x="2" y="5"/>
                        </a:lnTo>
                        <a:lnTo>
                          <a:pt x="2" y="1"/>
                        </a:lnTo>
                        <a:lnTo>
                          <a:pt x="4" y="1"/>
                        </a:lnTo>
                        <a:lnTo>
                          <a:pt x="4" y="2"/>
                        </a:lnTo>
                        <a:lnTo>
                          <a:pt x="4" y="2"/>
                        </a:ln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0" name="Freeform 798"/>
                  <p:cNvSpPr>
                    <a:spLocks/>
                  </p:cNvSpPr>
                  <p:nvPr/>
                </p:nvSpPr>
                <p:spPr bwMode="auto">
                  <a:xfrm>
                    <a:off x="4718979" y="3600870"/>
                    <a:ext cx="29890" cy="37363"/>
                  </a:xfrm>
                  <a:custGeom>
                    <a:avLst/>
                    <a:gdLst>
                      <a:gd name="T0" fmla="*/ 4 w 4"/>
                      <a:gd name="T1" fmla="*/ 5 h 5"/>
                      <a:gd name="T2" fmla="*/ 4 w 4"/>
                      <a:gd name="T3" fmla="*/ 3 h 5"/>
                      <a:gd name="T4" fmla="*/ 3 w 4"/>
                      <a:gd name="T5" fmla="*/ 3 h 5"/>
                      <a:gd name="T6" fmla="*/ 3 w 4"/>
                      <a:gd name="T7" fmla="*/ 5 h 5"/>
                      <a:gd name="T8" fmla="*/ 0 w 4"/>
                      <a:gd name="T9" fmla="*/ 5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5 h 5"/>
                      <a:gd name="T32" fmla="*/ 0 w 4"/>
                      <a:gd name="T33" fmla="*/ 5 h 5"/>
                      <a:gd name="T34" fmla="*/ 0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0" y="5"/>
                        </a:lnTo>
                        <a:lnTo>
                          <a:pt x="0" y="1"/>
                        </a:lnTo>
                        <a:lnTo>
                          <a:pt x="3" y="1"/>
                        </a:lnTo>
                        <a:lnTo>
                          <a:pt x="3" y="1"/>
                        </a:lnTo>
                        <a:lnTo>
                          <a:pt x="4" y="1"/>
                        </a:ln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1" name="Freeform 799"/>
                  <p:cNvSpPr>
                    <a:spLocks noEditPoints="1"/>
                  </p:cNvSpPr>
                  <p:nvPr/>
                </p:nvSpPr>
                <p:spPr bwMode="auto">
                  <a:xfrm>
                    <a:off x="4756342" y="3600870"/>
                    <a:ext cx="29890" cy="37363"/>
                  </a:xfrm>
                  <a:custGeom>
                    <a:avLst/>
                    <a:gdLst>
                      <a:gd name="T0" fmla="*/ 4 w 4"/>
                      <a:gd name="T1" fmla="*/ 5 h 5"/>
                      <a:gd name="T2" fmla="*/ 4 w 4"/>
                      <a:gd name="T3" fmla="*/ 1 h 5"/>
                      <a:gd name="T4" fmla="*/ 3 w 4"/>
                      <a:gd name="T5" fmla="*/ 1 h 5"/>
                      <a:gd name="T6" fmla="*/ 3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1" y="0"/>
                        </a:lnTo>
                        <a:lnTo>
                          <a:pt x="1" y="1"/>
                        </a:lnTo>
                        <a:lnTo>
                          <a:pt x="0" y="1"/>
                        </a:lnTo>
                        <a:lnTo>
                          <a:pt x="0" y="5"/>
                        </a:lnTo>
                        <a:lnTo>
                          <a:pt x="1" y="5"/>
                        </a:lnTo>
                        <a:lnTo>
                          <a:pt x="1"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2" name="Freeform 800"/>
                  <p:cNvSpPr>
                    <a:spLocks/>
                  </p:cNvSpPr>
                  <p:nvPr/>
                </p:nvSpPr>
                <p:spPr bwMode="auto">
                  <a:xfrm>
                    <a:off x="4793704"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3" name="Freeform 801"/>
                  <p:cNvSpPr>
                    <a:spLocks noEditPoints="1"/>
                  </p:cNvSpPr>
                  <p:nvPr/>
                </p:nvSpPr>
                <p:spPr bwMode="auto">
                  <a:xfrm>
                    <a:off x="4831067" y="3600870"/>
                    <a:ext cx="29890" cy="37363"/>
                  </a:xfrm>
                  <a:custGeom>
                    <a:avLst/>
                    <a:gdLst>
                      <a:gd name="T0" fmla="*/ 4 w 4"/>
                      <a:gd name="T1" fmla="*/ 3 h 5"/>
                      <a:gd name="T2" fmla="*/ 4 w 4"/>
                      <a:gd name="T3" fmla="*/ 1 h 5"/>
                      <a:gd name="T4" fmla="*/ 3 w 4"/>
                      <a:gd name="T5" fmla="*/ 1 h 5"/>
                      <a:gd name="T6" fmla="*/ 3 w 4"/>
                      <a:gd name="T7" fmla="*/ 1 h 5"/>
                      <a:gd name="T8" fmla="*/ 3 w 4"/>
                      <a:gd name="T9" fmla="*/ 1 h 5"/>
                      <a:gd name="T10" fmla="*/ 3 w 4"/>
                      <a:gd name="T11" fmla="*/ 0 h 5"/>
                      <a:gd name="T12" fmla="*/ 0 w 4"/>
                      <a:gd name="T13" fmla="*/ 0 h 5"/>
                      <a:gd name="T14" fmla="*/ 0 w 4"/>
                      <a:gd name="T15" fmla="*/ 5 h 5"/>
                      <a:gd name="T16" fmla="*/ 3 w 4"/>
                      <a:gd name="T17" fmla="*/ 5 h 5"/>
                      <a:gd name="T18" fmla="*/ 3 w 4"/>
                      <a:gd name="T19" fmla="*/ 5 h 5"/>
                      <a:gd name="T20" fmla="*/ 3 w 4"/>
                      <a:gd name="T21" fmla="*/ 5 h 5"/>
                      <a:gd name="T22" fmla="*/ 3 w 4"/>
                      <a:gd name="T23" fmla="*/ 3 h 5"/>
                      <a:gd name="T24" fmla="*/ 4 w 4"/>
                      <a:gd name="T25" fmla="*/ 3 h 5"/>
                      <a:gd name="T26" fmla="*/ 4 w 4"/>
                      <a:gd name="T27" fmla="*/ 3 h 5"/>
                      <a:gd name="T28" fmla="*/ 3 w 4"/>
                      <a:gd name="T29" fmla="*/ 3 h 5"/>
                      <a:gd name="T30" fmla="*/ 2 w 4"/>
                      <a:gd name="T31" fmla="*/ 3 h 5"/>
                      <a:gd name="T32" fmla="*/ 2 w 4"/>
                      <a:gd name="T33" fmla="*/ 5 h 5"/>
                      <a:gd name="T34" fmla="*/ 1 w 4"/>
                      <a:gd name="T35" fmla="*/ 5 h 5"/>
                      <a:gd name="T36" fmla="*/ 1 w 4"/>
                      <a:gd name="T37" fmla="*/ 1 h 5"/>
                      <a:gd name="T38" fmla="*/ 2 w 4"/>
                      <a:gd name="T39" fmla="*/ 1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1"/>
                        </a:lnTo>
                        <a:lnTo>
                          <a:pt x="3" y="1"/>
                        </a:lnTo>
                        <a:lnTo>
                          <a:pt x="3" y="0"/>
                        </a:lnTo>
                        <a:lnTo>
                          <a:pt x="0" y="0"/>
                        </a:lnTo>
                        <a:lnTo>
                          <a:pt x="0" y="5"/>
                        </a:lnTo>
                        <a:lnTo>
                          <a:pt x="3" y="5"/>
                        </a:lnTo>
                        <a:lnTo>
                          <a:pt x="3" y="5"/>
                        </a:lnTo>
                        <a:lnTo>
                          <a:pt x="3" y="5"/>
                        </a:lnTo>
                        <a:lnTo>
                          <a:pt x="3" y="3"/>
                        </a:lnTo>
                        <a:lnTo>
                          <a:pt x="4" y="3"/>
                        </a:lnTo>
                        <a:lnTo>
                          <a:pt x="4" y="3"/>
                        </a:lnTo>
                        <a:close/>
                        <a:moveTo>
                          <a:pt x="3" y="3"/>
                        </a:moveTo>
                        <a:lnTo>
                          <a:pt x="2" y="3"/>
                        </a:lnTo>
                        <a:lnTo>
                          <a:pt x="2" y="5"/>
                        </a:lnTo>
                        <a:lnTo>
                          <a:pt x="1" y="5"/>
                        </a:lnTo>
                        <a:lnTo>
                          <a:pt x="1" y="1"/>
                        </a:lnTo>
                        <a:lnTo>
                          <a:pt x="2" y="1"/>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4" name="Freeform 802"/>
                  <p:cNvSpPr>
                    <a:spLocks/>
                  </p:cNvSpPr>
                  <p:nvPr/>
                </p:nvSpPr>
                <p:spPr bwMode="auto">
                  <a:xfrm>
                    <a:off x="4890847" y="3600870"/>
                    <a:ext cx="37363" cy="37363"/>
                  </a:xfrm>
                  <a:custGeom>
                    <a:avLst/>
                    <a:gdLst>
                      <a:gd name="T0" fmla="*/ 5 w 5"/>
                      <a:gd name="T1" fmla="*/ 5 h 5"/>
                      <a:gd name="T2" fmla="*/ 5 w 5"/>
                      <a:gd name="T3" fmla="*/ 3 h 5"/>
                      <a:gd name="T4" fmla="*/ 3 w 5"/>
                      <a:gd name="T5" fmla="*/ 3 h 5"/>
                      <a:gd name="T6" fmla="*/ 3 w 5"/>
                      <a:gd name="T7" fmla="*/ 5 h 5"/>
                      <a:gd name="T8" fmla="*/ 1 w 5"/>
                      <a:gd name="T9" fmla="*/ 5 h 5"/>
                      <a:gd name="T10" fmla="*/ 1 w 5"/>
                      <a:gd name="T11" fmla="*/ 1 h 5"/>
                      <a:gd name="T12" fmla="*/ 3 w 5"/>
                      <a:gd name="T13" fmla="*/ 1 h 5"/>
                      <a:gd name="T14" fmla="*/ 3 w 5"/>
                      <a:gd name="T15" fmla="*/ 1 h 5"/>
                      <a:gd name="T16" fmla="*/ 5 w 5"/>
                      <a:gd name="T17" fmla="*/ 1 h 5"/>
                      <a:gd name="T18" fmla="*/ 5 w 5"/>
                      <a:gd name="T19" fmla="*/ 1 h 5"/>
                      <a:gd name="T20" fmla="*/ 3 w 5"/>
                      <a:gd name="T21" fmla="*/ 1 h 5"/>
                      <a:gd name="T22" fmla="*/ 3 w 5"/>
                      <a:gd name="T23" fmla="*/ 0 h 5"/>
                      <a:gd name="T24" fmla="*/ 1 w 5"/>
                      <a:gd name="T25" fmla="*/ 0 h 5"/>
                      <a:gd name="T26" fmla="*/ 1 w 5"/>
                      <a:gd name="T27" fmla="*/ 1 h 5"/>
                      <a:gd name="T28" fmla="*/ 0 w 5"/>
                      <a:gd name="T29" fmla="*/ 1 h 5"/>
                      <a:gd name="T30" fmla="*/ 0 w 5"/>
                      <a:gd name="T31" fmla="*/ 5 h 5"/>
                      <a:gd name="T32" fmla="*/ 1 w 5"/>
                      <a:gd name="T33" fmla="*/ 5 h 5"/>
                      <a:gd name="T34" fmla="*/ 1 w 5"/>
                      <a:gd name="T35" fmla="*/ 5 h 5"/>
                      <a:gd name="T36" fmla="*/ 3 w 5"/>
                      <a:gd name="T37" fmla="*/ 5 h 5"/>
                      <a:gd name="T38" fmla="*/ 3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3"/>
                        </a:lnTo>
                        <a:lnTo>
                          <a:pt x="3" y="3"/>
                        </a:lnTo>
                        <a:lnTo>
                          <a:pt x="3" y="5"/>
                        </a:lnTo>
                        <a:lnTo>
                          <a:pt x="1" y="5"/>
                        </a:lnTo>
                        <a:lnTo>
                          <a:pt x="1" y="1"/>
                        </a:lnTo>
                        <a:lnTo>
                          <a:pt x="3" y="1"/>
                        </a:lnTo>
                        <a:lnTo>
                          <a:pt x="3" y="1"/>
                        </a:lnTo>
                        <a:lnTo>
                          <a:pt x="5" y="1"/>
                        </a:lnTo>
                        <a:lnTo>
                          <a:pt x="5" y="1"/>
                        </a:lnTo>
                        <a:lnTo>
                          <a:pt x="3" y="1"/>
                        </a:lnTo>
                        <a:lnTo>
                          <a:pt x="3" y="0"/>
                        </a:lnTo>
                        <a:lnTo>
                          <a:pt x="1" y="0"/>
                        </a:lnTo>
                        <a:lnTo>
                          <a:pt x="1" y="1"/>
                        </a:lnTo>
                        <a:lnTo>
                          <a:pt x="0" y="1"/>
                        </a:lnTo>
                        <a:lnTo>
                          <a:pt x="0" y="5"/>
                        </a:lnTo>
                        <a:lnTo>
                          <a:pt x="1" y="5"/>
                        </a:lnTo>
                        <a:lnTo>
                          <a:pt x="1" y="5"/>
                        </a:lnTo>
                        <a:lnTo>
                          <a:pt x="3" y="5"/>
                        </a:lnTo>
                        <a:lnTo>
                          <a:pt x="3"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5" name="Freeform 803"/>
                  <p:cNvSpPr>
                    <a:spLocks/>
                  </p:cNvSpPr>
                  <p:nvPr/>
                </p:nvSpPr>
                <p:spPr bwMode="auto">
                  <a:xfrm>
                    <a:off x="4935682" y="3600870"/>
                    <a:ext cx="22418" cy="37363"/>
                  </a:xfrm>
                  <a:custGeom>
                    <a:avLst/>
                    <a:gdLst>
                      <a:gd name="T0" fmla="*/ 3 w 3"/>
                      <a:gd name="T1" fmla="*/ 5 h 5"/>
                      <a:gd name="T2" fmla="*/ 3 w 3"/>
                      <a:gd name="T3" fmla="*/ 5 h 5"/>
                      <a:gd name="T4" fmla="*/ 0 w 3"/>
                      <a:gd name="T5" fmla="*/ 5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0" y="5"/>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6" name="Freeform 804"/>
                  <p:cNvSpPr>
                    <a:spLocks/>
                  </p:cNvSpPr>
                  <p:nvPr/>
                </p:nvSpPr>
                <p:spPr bwMode="auto">
                  <a:xfrm>
                    <a:off x="4965572" y="3600870"/>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1 w 4"/>
                      <a:gd name="T29" fmla="*/ 2 h 5"/>
                      <a:gd name="T30" fmla="*/ 1 w 4"/>
                      <a:gd name="T31" fmla="*/ 3 h 5"/>
                      <a:gd name="T32" fmla="*/ 2 w 4"/>
                      <a:gd name="T33" fmla="*/ 3 h 5"/>
                      <a:gd name="T34" fmla="*/ 2 w 4"/>
                      <a:gd name="T35" fmla="*/ 3 h 5"/>
                      <a:gd name="T36" fmla="*/ 3 w 4"/>
                      <a:gd name="T37" fmla="*/ 3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1"/>
                        </a:lnTo>
                        <a:lnTo>
                          <a:pt x="0" y="1"/>
                        </a:lnTo>
                        <a:lnTo>
                          <a:pt x="0" y="0"/>
                        </a:lnTo>
                        <a:lnTo>
                          <a:pt x="0" y="0"/>
                        </a:lnTo>
                        <a:lnTo>
                          <a:pt x="0" y="5"/>
                        </a:lnTo>
                        <a:lnTo>
                          <a:pt x="0" y="5"/>
                        </a:lnTo>
                        <a:lnTo>
                          <a:pt x="0" y="2"/>
                        </a:lnTo>
                        <a:lnTo>
                          <a:pt x="1" y="2"/>
                        </a:lnTo>
                        <a:lnTo>
                          <a:pt x="1" y="3"/>
                        </a:lnTo>
                        <a:lnTo>
                          <a:pt x="2" y="3"/>
                        </a:lnTo>
                        <a:lnTo>
                          <a:pt x="2"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7" name="Freeform 805"/>
                  <p:cNvSpPr>
                    <a:spLocks noEditPoints="1"/>
                  </p:cNvSpPr>
                  <p:nvPr/>
                </p:nvSpPr>
                <p:spPr bwMode="auto">
                  <a:xfrm>
                    <a:off x="5077660" y="3593397"/>
                    <a:ext cx="44835" cy="44835"/>
                  </a:xfrm>
                  <a:custGeom>
                    <a:avLst/>
                    <a:gdLst>
                      <a:gd name="T0" fmla="*/ 6 w 6"/>
                      <a:gd name="T1" fmla="*/ 4 h 6"/>
                      <a:gd name="T2" fmla="*/ 6 w 6"/>
                      <a:gd name="T3" fmla="*/ 3 h 6"/>
                      <a:gd name="T4" fmla="*/ 4 w 6"/>
                      <a:gd name="T5" fmla="*/ 2 h 6"/>
                      <a:gd name="T6" fmla="*/ 4 w 6"/>
                      <a:gd name="T7" fmla="*/ 2 h 6"/>
                      <a:gd name="T8" fmla="*/ 6 w 6"/>
                      <a:gd name="T9" fmla="*/ 1 h 6"/>
                      <a:gd name="T10" fmla="*/ 6 w 6"/>
                      <a:gd name="T11" fmla="*/ 0 h 6"/>
                      <a:gd name="T12" fmla="*/ 6 w 6"/>
                      <a:gd name="T13" fmla="*/ 1 h 6"/>
                      <a:gd name="T14" fmla="*/ 4 w 6"/>
                      <a:gd name="T15" fmla="*/ 2 h 6"/>
                      <a:gd name="T16" fmla="*/ 4 w 6"/>
                      <a:gd name="T17" fmla="*/ 2 h 6"/>
                      <a:gd name="T18" fmla="*/ 3 w 6"/>
                      <a:gd name="T19" fmla="*/ 1 h 6"/>
                      <a:gd name="T20" fmla="*/ 2 w 6"/>
                      <a:gd name="T21" fmla="*/ 0 h 6"/>
                      <a:gd name="T22" fmla="*/ 1 w 6"/>
                      <a:gd name="T23" fmla="*/ 1 h 6"/>
                      <a:gd name="T24" fmla="*/ 0 w 6"/>
                      <a:gd name="T25" fmla="*/ 2 h 6"/>
                      <a:gd name="T26" fmla="*/ 1 w 6"/>
                      <a:gd name="T27" fmla="*/ 3 h 6"/>
                      <a:gd name="T28" fmla="*/ 2 w 6"/>
                      <a:gd name="T29" fmla="*/ 4 h 6"/>
                      <a:gd name="T30" fmla="*/ 1 w 6"/>
                      <a:gd name="T31" fmla="*/ 4 h 6"/>
                      <a:gd name="T32" fmla="*/ 1 w 6"/>
                      <a:gd name="T33" fmla="*/ 6 h 6"/>
                      <a:gd name="T34" fmla="*/ 0 w 6"/>
                      <a:gd name="T35" fmla="*/ 6 h 6"/>
                      <a:gd name="T36" fmla="*/ 1 w 6"/>
                      <a:gd name="T37" fmla="*/ 6 h 6"/>
                      <a:gd name="T38" fmla="*/ 1 w 6"/>
                      <a:gd name="T39" fmla="*/ 4 h 6"/>
                      <a:gd name="T40" fmla="*/ 2 w 6"/>
                      <a:gd name="T41" fmla="*/ 4 h 6"/>
                      <a:gd name="T42" fmla="*/ 3 w 6"/>
                      <a:gd name="T43" fmla="*/ 6 h 6"/>
                      <a:gd name="T44" fmla="*/ 4 w 6"/>
                      <a:gd name="T45" fmla="*/ 6 h 6"/>
                      <a:gd name="T46" fmla="*/ 6 w 6"/>
                      <a:gd name="T47" fmla="*/ 6 h 6"/>
                      <a:gd name="T48" fmla="*/ 6 w 6"/>
                      <a:gd name="T49" fmla="*/ 6 h 6"/>
                      <a:gd name="T50" fmla="*/ 3 w 6"/>
                      <a:gd name="T51" fmla="*/ 4 h 6"/>
                      <a:gd name="T52" fmla="*/ 4 w 6"/>
                      <a:gd name="T53" fmla="*/ 3 h 6"/>
                      <a:gd name="T54" fmla="*/ 4 w 6"/>
                      <a:gd name="T55" fmla="*/ 4 h 6"/>
                      <a:gd name="T56" fmla="*/ 1 w 6"/>
                      <a:gd name="T57" fmla="*/ 2 h 6"/>
                      <a:gd name="T58" fmla="*/ 2 w 6"/>
                      <a:gd name="T59" fmla="*/ 1 h 6"/>
                      <a:gd name="T60" fmla="*/ 2 w 6"/>
                      <a:gd name="T61" fmla="*/ 2 h 6"/>
                      <a:gd name="T62" fmla="*/ 4 w 6"/>
                      <a:gd name="T63" fmla="*/ 6 h 6"/>
                      <a:gd name="T64" fmla="*/ 6 w 6"/>
                      <a:gd name="T65" fmla="*/ 4 h 6"/>
                      <a:gd name="T66" fmla="*/ 6 w 6"/>
                      <a:gd name="T67" fmla="*/ 6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6"/>
                        </a:moveTo>
                        <a:lnTo>
                          <a:pt x="6" y="4"/>
                        </a:lnTo>
                        <a:lnTo>
                          <a:pt x="6" y="4"/>
                        </a:lnTo>
                        <a:lnTo>
                          <a:pt x="6" y="3"/>
                        </a:lnTo>
                        <a:lnTo>
                          <a:pt x="4" y="3"/>
                        </a:lnTo>
                        <a:lnTo>
                          <a:pt x="4" y="2"/>
                        </a:lnTo>
                        <a:lnTo>
                          <a:pt x="4" y="2"/>
                        </a:lnTo>
                        <a:lnTo>
                          <a:pt x="4" y="2"/>
                        </a:lnTo>
                        <a:lnTo>
                          <a:pt x="6" y="2"/>
                        </a:lnTo>
                        <a:lnTo>
                          <a:pt x="6" y="1"/>
                        </a:lnTo>
                        <a:lnTo>
                          <a:pt x="6" y="1"/>
                        </a:lnTo>
                        <a:lnTo>
                          <a:pt x="6" y="0"/>
                        </a:lnTo>
                        <a:lnTo>
                          <a:pt x="6" y="0"/>
                        </a:lnTo>
                        <a:lnTo>
                          <a:pt x="6" y="1"/>
                        </a:lnTo>
                        <a:lnTo>
                          <a:pt x="4" y="1"/>
                        </a:lnTo>
                        <a:lnTo>
                          <a:pt x="4" y="2"/>
                        </a:lnTo>
                        <a:lnTo>
                          <a:pt x="4" y="2"/>
                        </a:lnTo>
                        <a:lnTo>
                          <a:pt x="4" y="2"/>
                        </a:lnTo>
                        <a:lnTo>
                          <a:pt x="3" y="2"/>
                        </a:lnTo>
                        <a:lnTo>
                          <a:pt x="3" y="1"/>
                        </a:lnTo>
                        <a:lnTo>
                          <a:pt x="2" y="1"/>
                        </a:lnTo>
                        <a:lnTo>
                          <a:pt x="2" y="0"/>
                        </a:lnTo>
                        <a:lnTo>
                          <a:pt x="1" y="0"/>
                        </a:lnTo>
                        <a:lnTo>
                          <a:pt x="1" y="1"/>
                        </a:lnTo>
                        <a:lnTo>
                          <a:pt x="0" y="1"/>
                        </a:lnTo>
                        <a:lnTo>
                          <a:pt x="0" y="2"/>
                        </a:lnTo>
                        <a:lnTo>
                          <a:pt x="1" y="2"/>
                        </a:lnTo>
                        <a:lnTo>
                          <a:pt x="1" y="3"/>
                        </a:lnTo>
                        <a:lnTo>
                          <a:pt x="2" y="3"/>
                        </a:lnTo>
                        <a:lnTo>
                          <a:pt x="2" y="4"/>
                        </a:lnTo>
                        <a:lnTo>
                          <a:pt x="1" y="4"/>
                        </a:lnTo>
                        <a:lnTo>
                          <a:pt x="1" y="4"/>
                        </a:lnTo>
                        <a:lnTo>
                          <a:pt x="1" y="4"/>
                        </a:lnTo>
                        <a:lnTo>
                          <a:pt x="1" y="6"/>
                        </a:lnTo>
                        <a:lnTo>
                          <a:pt x="0" y="6"/>
                        </a:lnTo>
                        <a:lnTo>
                          <a:pt x="0" y="6"/>
                        </a:lnTo>
                        <a:lnTo>
                          <a:pt x="1" y="6"/>
                        </a:lnTo>
                        <a:lnTo>
                          <a:pt x="1" y="6"/>
                        </a:lnTo>
                        <a:lnTo>
                          <a:pt x="1" y="6"/>
                        </a:lnTo>
                        <a:lnTo>
                          <a:pt x="1" y="4"/>
                        </a:lnTo>
                        <a:lnTo>
                          <a:pt x="2" y="4"/>
                        </a:lnTo>
                        <a:lnTo>
                          <a:pt x="2" y="4"/>
                        </a:lnTo>
                        <a:lnTo>
                          <a:pt x="3" y="4"/>
                        </a:lnTo>
                        <a:lnTo>
                          <a:pt x="3" y="6"/>
                        </a:lnTo>
                        <a:lnTo>
                          <a:pt x="4" y="6"/>
                        </a:lnTo>
                        <a:lnTo>
                          <a:pt x="4" y="6"/>
                        </a:lnTo>
                        <a:lnTo>
                          <a:pt x="6" y="6"/>
                        </a:lnTo>
                        <a:lnTo>
                          <a:pt x="6" y="6"/>
                        </a:lnTo>
                        <a:lnTo>
                          <a:pt x="6" y="6"/>
                        </a:lnTo>
                        <a:lnTo>
                          <a:pt x="6" y="6"/>
                        </a:lnTo>
                        <a:close/>
                        <a:moveTo>
                          <a:pt x="4" y="4"/>
                        </a:moveTo>
                        <a:lnTo>
                          <a:pt x="3" y="4"/>
                        </a:lnTo>
                        <a:lnTo>
                          <a:pt x="3" y="3"/>
                        </a:lnTo>
                        <a:lnTo>
                          <a:pt x="4" y="3"/>
                        </a:lnTo>
                        <a:lnTo>
                          <a:pt x="4" y="4"/>
                        </a:lnTo>
                        <a:lnTo>
                          <a:pt x="4" y="4"/>
                        </a:lnTo>
                        <a:close/>
                        <a:moveTo>
                          <a:pt x="2" y="2"/>
                        </a:moveTo>
                        <a:lnTo>
                          <a:pt x="1" y="2"/>
                        </a:lnTo>
                        <a:lnTo>
                          <a:pt x="1" y="1"/>
                        </a:lnTo>
                        <a:lnTo>
                          <a:pt x="2" y="1"/>
                        </a:lnTo>
                        <a:lnTo>
                          <a:pt x="2" y="2"/>
                        </a:lnTo>
                        <a:lnTo>
                          <a:pt x="2" y="2"/>
                        </a:lnTo>
                        <a:close/>
                        <a:moveTo>
                          <a:pt x="6" y="6"/>
                        </a:moveTo>
                        <a:lnTo>
                          <a:pt x="4" y="6"/>
                        </a:lnTo>
                        <a:lnTo>
                          <a:pt x="4" y="4"/>
                        </a:lnTo>
                        <a:lnTo>
                          <a:pt x="6" y="4"/>
                        </a:lnTo>
                        <a:lnTo>
                          <a:pt x="6" y="6"/>
                        </a:lnTo>
                        <a:lnTo>
                          <a:pt x="6" y="6"/>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8" name="Freeform 806"/>
                  <p:cNvSpPr>
                    <a:spLocks/>
                  </p:cNvSpPr>
                  <p:nvPr/>
                </p:nvSpPr>
                <p:spPr bwMode="auto">
                  <a:xfrm>
                    <a:off x="4718979" y="3675595"/>
                    <a:ext cx="29890" cy="37363"/>
                  </a:xfrm>
                  <a:custGeom>
                    <a:avLst/>
                    <a:gdLst>
                      <a:gd name="T0" fmla="*/ 4 w 4"/>
                      <a:gd name="T1" fmla="*/ 4 h 5"/>
                      <a:gd name="T2" fmla="*/ 4 w 4"/>
                      <a:gd name="T3" fmla="*/ 4 h 5"/>
                      <a:gd name="T4" fmla="*/ 3 w 4"/>
                      <a:gd name="T5" fmla="*/ 4 h 5"/>
                      <a:gd name="T6" fmla="*/ 3 w 4"/>
                      <a:gd name="T7" fmla="*/ 4 h 5"/>
                      <a:gd name="T8" fmla="*/ 0 w 4"/>
                      <a:gd name="T9" fmla="*/ 4 h 5"/>
                      <a:gd name="T10" fmla="*/ 0 w 4"/>
                      <a:gd name="T11" fmla="*/ 0 h 5"/>
                      <a:gd name="T12" fmla="*/ 3 w 4"/>
                      <a:gd name="T13" fmla="*/ 0 h 5"/>
                      <a:gd name="T14" fmla="*/ 3 w 4"/>
                      <a:gd name="T15" fmla="*/ 2 h 5"/>
                      <a:gd name="T16" fmla="*/ 4 w 4"/>
                      <a:gd name="T17" fmla="*/ 2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4 h 5"/>
                      <a:gd name="T32" fmla="*/ 0 w 4"/>
                      <a:gd name="T33" fmla="*/ 4 h 5"/>
                      <a:gd name="T34" fmla="*/ 0 w 4"/>
                      <a:gd name="T35" fmla="*/ 5 h 5"/>
                      <a:gd name="T36" fmla="*/ 3 w 4"/>
                      <a:gd name="T37" fmla="*/ 5 h 5"/>
                      <a:gd name="T38" fmla="*/ 3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3" y="4"/>
                        </a:lnTo>
                        <a:lnTo>
                          <a:pt x="3" y="4"/>
                        </a:lnTo>
                        <a:lnTo>
                          <a:pt x="0" y="4"/>
                        </a:lnTo>
                        <a:lnTo>
                          <a:pt x="0" y="0"/>
                        </a:lnTo>
                        <a:lnTo>
                          <a:pt x="3" y="0"/>
                        </a:lnTo>
                        <a:lnTo>
                          <a:pt x="3" y="2"/>
                        </a:lnTo>
                        <a:lnTo>
                          <a:pt x="4" y="2"/>
                        </a:ln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59" name="Freeform 807"/>
                  <p:cNvSpPr>
                    <a:spLocks noEditPoints="1"/>
                  </p:cNvSpPr>
                  <p:nvPr/>
                </p:nvSpPr>
                <p:spPr bwMode="auto">
                  <a:xfrm>
                    <a:off x="4756342" y="3675595"/>
                    <a:ext cx="22418" cy="37363"/>
                  </a:xfrm>
                  <a:custGeom>
                    <a:avLst/>
                    <a:gdLst>
                      <a:gd name="T0" fmla="*/ 3 w 3"/>
                      <a:gd name="T1" fmla="*/ 4 h 5"/>
                      <a:gd name="T2" fmla="*/ 3 w 3"/>
                      <a:gd name="T3" fmla="*/ 0 h 5"/>
                      <a:gd name="T4" fmla="*/ 3 w 3"/>
                      <a:gd name="T5" fmla="*/ 0 h 5"/>
                      <a:gd name="T6" fmla="*/ 3 w 3"/>
                      <a:gd name="T7" fmla="*/ 0 h 5"/>
                      <a:gd name="T8" fmla="*/ 1 w 3"/>
                      <a:gd name="T9" fmla="*/ 0 h 5"/>
                      <a:gd name="T10" fmla="*/ 1 w 3"/>
                      <a:gd name="T11" fmla="*/ 0 h 5"/>
                      <a:gd name="T12" fmla="*/ 0 w 3"/>
                      <a:gd name="T13" fmla="*/ 0 h 5"/>
                      <a:gd name="T14" fmla="*/ 0 w 3"/>
                      <a:gd name="T15" fmla="*/ 4 h 5"/>
                      <a:gd name="T16" fmla="*/ 1 w 3"/>
                      <a:gd name="T17" fmla="*/ 4 h 5"/>
                      <a:gd name="T18" fmla="*/ 1 w 3"/>
                      <a:gd name="T19" fmla="*/ 5 h 5"/>
                      <a:gd name="T20" fmla="*/ 3 w 3"/>
                      <a:gd name="T21" fmla="*/ 5 h 5"/>
                      <a:gd name="T22" fmla="*/ 3 w 3"/>
                      <a:gd name="T23" fmla="*/ 4 h 5"/>
                      <a:gd name="T24" fmla="*/ 3 w 3"/>
                      <a:gd name="T25" fmla="*/ 4 h 5"/>
                      <a:gd name="T26" fmla="*/ 3 w 3"/>
                      <a:gd name="T27" fmla="*/ 4 h 5"/>
                      <a:gd name="T28" fmla="*/ 3 w 3"/>
                      <a:gd name="T29" fmla="*/ 4 h 5"/>
                      <a:gd name="T30" fmla="*/ 1 w 3"/>
                      <a:gd name="T31" fmla="*/ 4 h 5"/>
                      <a:gd name="T32" fmla="*/ 1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1" y="0"/>
                        </a:lnTo>
                        <a:lnTo>
                          <a:pt x="1" y="0"/>
                        </a:lnTo>
                        <a:lnTo>
                          <a:pt x="0" y="0"/>
                        </a:lnTo>
                        <a:lnTo>
                          <a:pt x="0" y="4"/>
                        </a:lnTo>
                        <a:lnTo>
                          <a:pt x="1" y="4"/>
                        </a:lnTo>
                        <a:lnTo>
                          <a:pt x="1" y="5"/>
                        </a:lnTo>
                        <a:lnTo>
                          <a:pt x="3" y="5"/>
                        </a:lnTo>
                        <a:lnTo>
                          <a:pt x="3" y="4"/>
                        </a:lnTo>
                        <a:lnTo>
                          <a:pt x="3" y="4"/>
                        </a:lnTo>
                        <a:lnTo>
                          <a:pt x="3"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0" name="Freeform 808"/>
                  <p:cNvSpPr>
                    <a:spLocks/>
                  </p:cNvSpPr>
                  <p:nvPr/>
                </p:nvSpPr>
                <p:spPr bwMode="auto">
                  <a:xfrm>
                    <a:off x="4793704" y="3675595"/>
                    <a:ext cx="29890" cy="37363"/>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1 w 4"/>
                      <a:gd name="T13" fmla="*/ 2 h 5"/>
                      <a:gd name="T14" fmla="*/ 1 w 4"/>
                      <a:gd name="T15" fmla="*/ 2 h 5"/>
                      <a:gd name="T16" fmla="*/ 1 w 4"/>
                      <a:gd name="T17" fmla="*/ 2 h 5"/>
                      <a:gd name="T18" fmla="*/ 1 w 4"/>
                      <a:gd name="T19" fmla="*/ 0 h 5"/>
                      <a:gd name="T20" fmla="*/ 0 w 4"/>
                      <a:gd name="T21" fmla="*/ 0 h 5"/>
                      <a:gd name="T22" fmla="*/ 0 w 4"/>
                      <a:gd name="T23" fmla="*/ 5 h 5"/>
                      <a:gd name="T24" fmla="*/ 1 w 4"/>
                      <a:gd name="T25" fmla="*/ 5 h 5"/>
                      <a:gd name="T26" fmla="*/ 1 w 4"/>
                      <a:gd name="T27" fmla="*/ 2 h 5"/>
                      <a:gd name="T28" fmla="*/ 1 w 4"/>
                      <a:gd name="T29" fmla="*/ 2 h 5"/>
                      <a:gd name="T30" fmla="*/ 1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1" y="2"/>
                        </a:lnTo>
                        <a:lnTo>
                          <a:pt x="1" y="2"/>
                        </a:lnTo>
                        <a:lnTo>
                          <a:pt x="1" y="2"/>
                        </a:lnTo>
                        <a:lnTo>
                          <a:pt x="1" y="0"/>
                        </a:lnTo>
                        <a:lnTo>
                          <a:pt x="0" y="0"/>
                        </a:lnTo>
                        <a:lnTo>
                          <a:pt x="0" y="5"/>
                        </a:lnTo>
                        <a:lnTo>
                          <a:pt x="1" y="5"/>
                        </a:lnTo>
                        <a:lnTo>
                          <a:pt x="1" y="2"/>
                        </a:lnTo>
                        <a:lnTo>
                          <a:pt x="1" y="2"/>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1" name="Freeform 809"/>
                  <p:cNvSpPr>
                    <a:spLocks noEditPoints="1"/>
                  </p:cNvSpPr>
                  <p:nvPr/>
                </p:nvSpPr>
                <p:spPr bwMode="auto">
                  <a:xfrm>
                    <a:off x="4831067" y="3675595"/>
                    <a:ext cx="29890" cy="37363"/>
                  </a:xfrm>
                  <a:custGeom>
                    <a:avLst/>
                    <a:gdLst>
                      <a:gd name="T0" fmla="*/ 4 w 4"/>
                      <a:gd name="T1" fmla="*/ 4 h 5"/>
                      <a:gd name="T2" fmla="*/ 4 w 4"/>
                      <a:gd name="T3" fmla="*/ 2 h 5"/>
                      <a:gd name="T4" fmla="*/ 3 w 4"/>
                      <a:gd name="T5" fmla="*/ 2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4 h 5"/>
                      <a:gd name="T24" fmla="*/ 4 w 4"/>
                      <a:gd name="T25" fmla="*/ 4 h 5"/>
                      <a:gd name="T26" fmla="*/ 4 w 4"/>
                      <a:gd name="T27" fmla="*/ 4 h 5"/>
                      <a:gd name="T28" fmla="*/ 3 w 4"/>
                      <a:gd name="T29" fmla="*/ 4 h 5"/>
                      <a:gd name="T30" fmla="*/ 2 w 4"/>
                      <a:gd name="T31" fmla="*/ 4 h 5"/>
                      <a:gd name="T32" fmla="*/ 2 w 4"/>
                      <a:gd name="T33" fmla="*/ 4 h 5"/>
                      <a:gd name="T34" fmla="*/ 0 w 4"/>
                      <a:gd name="T35" fmla="*/ 4 h 5"/>
                      <a:gd name="T36" fmla="*/ 0 w 4"/>
                      <a:gd name="T37" fmla="*/ 0 h 5"/>
                      <a:gd name="T38" fmla="*/ 2 w 4"/>
                      <a:gd name="T39" fmla="*/ 0 h 5"/>
                      <a:gd name="T40" fmla="*/ 2 w 4"/>
                      <a:gd name="T41" fmla="*/ 2 h 5"/>
                      <a:gd name="T42" fmla="*/ 3 w 4"/>
                      <a:gd name="T43" fmla="*/ 2 h 5"/>
                      <a:gd name="T44" fmla="*/ 3 w 4"/>
                      <a:gd name="T45" fmla="*/ 4 h 5"/>
                      <a:gd name="T46" fmla="*/ 3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0"/>
                        </a:lnTo>
                        <a:lnTo>
                          <a:pt x="2" y="0"/>
                        </a:lnTo>
                        <a:lnTo>
                          <a:pt x="2" y="0"/>
                        </a:lnTo>
                        <a:lnTo>
                          <a:pt x="0" y="0"/>
                        </a:lnTo>
                        <a:lnTo>
                          <a:pt x="0" y="5"/>
                        </a:lnTo>
                        <a:lnTo>
                          <a:pt x="2" y="5"/>
                        </a:lnTo>
                        <a:lnTo>
                          <a:pt x="2" y="4"/>
                        </a:lnTo>
                        <a:lnTo>
                          <a:pt x="3" y="4"/>
                        </a:lnTo>
                        <a:lnTo>
                          <a:pt x="3" y="4"/>
                        </a:lnTo>
                        <a:lnTo>
                          <a:pt x="4" y="4"/>
                        </a:lnTo>
                        <a:lnTo>
                          <a:pt x="4" y="4"/>
                        </a:lnTo>
                        <a:close/>
                        <a:moveTo>
                          <a:pt x="3" y="4"/>
                        </a:moveTo>
                        <a:lnTo>
                          <a:pt x="2" y="4"/>
                        </a:lnTo>
                        <a:lnTo>
                          <a:pt x="2" y="4"/>
                        </a:lnTo>
                        <a:lnTo>
                          <a:pt x="0" y="4"/>
                        </a:lnTo>
                        <a:lnTo>
                          <a:pt x="0" y="0"/>
                        </a:lnTo>
                        <a:lnTo>
                          <a:pt x="2" y="0"/>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2" name="Freeform 810"/>
                  <p:cNvSpPr>
                    <a:spLocks noEditPoints="1"/>
                  </p:cNvSpPr>
                  <p:nvPr/>
                </p:nvSpPr>
                <p:spPr bwMode="auto">
                  <a:xfrm>
                    <a:off x="4890847" y="3675595"/>
                    <a:ext cx="37363" cy="37363"/>
                  </a:xfrm>
                  <a:custGeom>
                    <a:avLst/>
                    <a:gdLst>
                      <a:gd name="T0" fmla="*/ 5 w 5"/>
                      <a:gd name="T1" fmla="*/ 4 h 5"/>
                      <a:gd name="T2" fmla="*/ 5 w 5"/>
                      <a:gd name="T3" fmla="*/ 3 h 5"/>
                      <a:gd name="T4" fmla="*/ 3 w 5"/>
                      <a:gd name="T5" fmla="*/ 3 h 5"/>
                      <a:gd name="T6" fmla="*/ 3 w 5"/>
                      <a:gd name="T7" fmla="*/ 2 h 5"/>
                      <a:gd name="T8" fmla="*/ 5 w 5"/>
                      <a:gd name="T9" fmla="*/ 2 h 5"/>
                      <a:gd name="T10" fmla="*/ 5 w 5"/>
                      <a:gd name="T11" fmla="*/ 0 h 5"/>
                      <a:gd name="T12" fmla="*/ 3 w 5"/>
                      <a:gd name="T13" fmla="*/ 0 h 5"/>
                      <a:gd name="T14" fmla="*/ 3 w 5"/>
                      <a:gd name="T15" fmla="*/ 0 h 5"/>
                      <a:gd name="T16" fmla="*/ 0 w 5"/>
                      <a:gd name="T17" fmla="*/ 0 h 5"/>
                      <a:gd name="T18" fmla="*/ 0 w 5"/>
                      <a:gd name="T19" fmla="*/ 5 h 5"/>
                      <a:gd name="T20" fmla="*/ 3 w 5"/>
                      <a:gd name="T21" fmla="*/ 5 h 5"/>
                      <a:gd name="T22" fmla="*/ 3 w 5"/>
                      <a:gd name="T23" fmla="*/ 4 h 5"/>
                      <a:gd name="T24" fmla="*/ 5 w 5"/>
                      <a:gd name="T25" fmla="*/ 4 h 5"/>
                      <a:gd name="T26" fmla="*/ 5 w 5"/>
                      <a:gd name="T27" fmla="*/ 4 h 5"/>
                      <a:gd name="T28" fmla="*/ 3 w 5"/>
                      <a:gd name="T29" fmla="*/ 2 h 5"/>
                      <a:gd name="T30" fmla="*/ 1 w 5"/>
                      <a:gd name="T31" fmla="*/ 2 h 5"/>
                      <a:gd name="T32" fmla="*/ 1 w 5"/>
                      <a:gd name="T33" fmla="*/ 0 h 5"/>
                      <a:gd name="T34" fmla="*/ 3 w 5"/>
                      <a:gd name="T35" fmla="*/ 0 h 5"/>
                      <a:gd name="T36" fmla="*/ 3 w 5"/>
                      <a:gd name="T37" fmla="*/ 2 h 5"/>
                      <a:gd name="T38" fmla="*/ 3 w 5"/>
                      <a:gd name="T39" fmla="*/ 2 h 5"/>
                      <a:gd name="T40" fmla="*/ 3 w 5"/>
                      <a:gd name="T41" fmla="*/ 4 h 5"/>
                      <a:gd name="T42" fmla="*/ 1 w 5"/>
                      <a:gd name="T43" fmla="*/ 4 h 5"/>
                      <a:gd name="T44" fmla="*/ 1 w 5"/>
                      <a:gd name="T45" fmla="*/ 3 h 5"/>
                      <a:gd name="T46" fmla="*/ 3 w 5"/>
                      <a:gd name="T47" fmla="*/ 3 h 5"/>
                      <a:gd name="T48" fmla="*/ 3 w 5"/>
                      <a:gd name="T49" fmla="*/ 4 h 5"/>
                      <a:gd name="T50" fmla="*/ 3 w 5"/>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5">
                        <a:moveTo>
                          <a:pt x="5" y="4"/>
                        </a:moveTo>
                        <a:lnTo>
                          <a:pt x="5" y="3"/>
                        </a:lnTo>
                        <a:lnTo>
                          <a:pt x="3" y="3"/>
                        </a:lnTo>
                        <a:lnTo>
                          <a:pt x="3" y="2"/>
                        </a:lnTo>
                        <a:lnTo>
                          <a:pt x="5" y="2"/>
                        </a:lnTo>
                        <a:lnTo>
                          <a:pt x="5" y="0"/>
                        </a:lnTo>
                        <a:lnTo>
                          <a:pt x="3" y="0"/>
                        </a:lnTo>
                        <a:lnTo>
                          <a:pt x="3" y="0"/>
                        </a:lnTo>
                        <a:lnTo>
                          <a:pt x="0" y="0"/>
                        </a:lnTo>
                        <a:lnTo>
                          <a:pt x="0" y="5"/>
                        </a:lnTo>
                        <a:lnTo>
                          <a:pt x="3" y="5"/>
                        </a:lnTo>
                        <a:lnTo>
                          <a:pt x="3" y="4"/>
                        </a:lnTo>
                        <a:lnTo>
                          <a:pt x="5" y="4"/>
                        </a:lnTo>
                        <a:lnTo>
                          <a:pt x="5"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3" name="Freeform 811"/>
                  <p:cNvSpPr>
                    <a:spLocks noEditPoints="1"/>
                  </p:cNvSpPr>
                  <p:nvPr/>
                </p:nvSpPr>
                <p:spPr bwMode="auto">
                  <a:xfrm>
                    <a:off x="4935682" y="3675595"/>
                    <a:ext cx="22418" cy="37363"/>
                  </a:xfrm>
                  <a:custGeom>
                    <a:avLst/>
                    <a:gdLst>
                      <a:gd name="T0" fmla="*/ 3 w 3"/>
                      <a:gd name="T1" fmla="*/ 3 h 5"/>
                      <a:gd name="T2" fmla="*/ 3 w 3"/>
                      <a:gd name="T3" fmla="*/ 0 h 5"/>
                      <a:gd name="T4" fmla="*/ 3 w 3"/>
                      <a:gd name="T5" fmla="*/ 0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0 h 5"/>
                      <a:gd name="T30" fmla="*/ 3 w 3"/>
                      <a:gd name="T31" fmla="*/ 0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0"/>
                        </a:lnTo>
                        <a:lnTo>
                          <a:pt x="3" y="0"/>
                        </a:lnTo>
                        <a:lnTo>
                          <a:pt x="3" y="0"/>
                        </a:lnTo>
                        <a:lnTo>
                          <a:pt x="0" y="0"/>
                        </a:lnTo>
                        <a:lnTo>
                          <a:pt x="0" y="5"/>
                        </a:lnTo>
                        <a:lnTo>
                          <a:pt x="0" y="5"/>
                        </a:lnTo>
                        <a:lnTo>
                          <a:pt x="0" y="4"/>
                        </a:lnTo>
                        <a:lnTo>
                          <a:pt x="3" y="4"/>
                        </a:lnTo>
                        <a:lnTo>
                          <a:pt x="3" y="3"/>
                        </a:lnTo>
                        <a:lnTo>
                          <a:pt x="3" y="3"/>
                        </a:lnTo>
                        <a:lnTo>
                          <a:pt x="3" y="3"/>
                        </a:lnTo>
                        <a:close/>
                        <a:moveTo>
                          <a:pt x="3" y="3"/>
                        </a:moveTo>
                        <a:lnTo>
                          <a:pt x="0" y="3"/>
                        </a:lnTo>
                        <a:lnTo>
                          <a:pt x="0" y="0"/>
                        </a:lnTo>
                        <a:lnTo>
                          <a:pt x="3" y="0"/>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4" name="Freeform 812"/>
                  <p:cNvSpPr>
                    <a:spLocks/>
                  </p:cNvSpPr>
                  <p:nvPr/>
                </p:nvSpPr>
                <p:spPr bwMode="auto">
                  <a:xfrm>
                    <a:off x="5077660" y="3675595"/>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5" name="Freeform 813"/>
                  <p:cNvSpPr>
                    <a:spLocks/>
                  </p:cNvSpPr>
                  <p:nvPr/>
                </p:nvSpPr>
                <p:spPr bwMode="auto">
                  <a:xfrm>
                    <a:off x="5085133" y="3675595"/>
                    <a:ext cx="37363" cy="37363"/>
                  </a:xfrm>
                  <a:custGeom>
                    <a:avLst/>
                    <a:gdLst>
                      <a:gd name="T0" fmla="*/ 5 w 5"/>
                      <a:gd name="T1" fmla="*/ 5 h 5"/>
                      <a:gd name="T2" fmla="*/ 5 w 5"/>
                      <a:gd name="T3" fmla="*/ 0 h 5"/>
                      <a:gd name="T4" fmla="*/ 4 w 5"/>
                      <a:gd name="T5" fmla="*/ 0 h 5"/>
                      <a:gd name="T6" fmla="*/ 4 w 5"/>
                      <a:gd name="T7" fmla="*/ 3 h 5"/>
                      <a:gd name="T8" fmla="*/ 3 w 5"/>
                      <a:gd name="T9" fmla="*/ 3 h 5"/>
                      <a:gd name="T10" fmla="*/ 3 w 5"/>
                      <a:gd name="T11" fmla="*/ 2 h 5"/>
                      <a:gd name="T12" fmla="*/ 2 w 5"/>
                      <a:gd name="T13" fmla="*/ 2 h 5"/>
                      <a:gd name="T14" fmla="*/ 2 w 5"/>
                      <a:gd name="T15" fmla="*/ 2 h 5"/>
                      <a:gd name="T16" fmla="*/ 2 w 5"/>
                      <a:gd name="T17" fmla="*/ 2 h 5"/>
                      <a:gd name="T18" fmla="*/ 2 w 5"/>
                      <a:gd name="T19" fmla="*/ 0 h 5"/>
                      <a:gd name="T20" fmla="*/ 0 w 5"/>
                      <a:gd name="T21" fmla="*/ 0 h 5"/>
                      <a:gd name="T22" fmla="*/ 0 w 5"/>
                      <a:gd name="T23" fmla="*/ 5 h 5"/>
                      <a:gd name="T24" fmla="*/ 2 w 5"/>
                      <a:gd name="T25" fmla="*/ 5 h 5"/>
                      <a:gd name="T26" fmla="*/ 2 w 5"/>
                      <a:gd name="T27" fmla="*/ 2 h 5"/>
                      <a:gd name="T28" fmla="*/ 2 w 5"/>
                      <a:gd name="T29" fmla="*/ 2 h 5"/>
                      <a:gd name="T30" fmla="*/ 2 w 5"/>
                      <a:gd name="T31" fmla="*/ 3 h 5"/>
                      <a:gd name="T32" fmla="*/ 3 w 5"/>
                      <a:gd name="T33" fmla="*/ 3 h 5"/>
                      <a:gd name="T34" fmla="*/ 3 w 5"/>
                      <a:gd name="T35" fmla="*/ 4 h 5"/>
                      <a:gd name="T36" fmla="*/ 4 w 5"/>
                      <a:gd name="T37" fmla="*/ 4 h 5"/>
                      <a:gd name="T38" fmla="*/ 4 w 5"/>
                      <a:gd name="T39" fmla="*/ 5 h 5"/>
                      <a:gd name="T40" fmla="*/ 5 w 5"/>
                      <a:gd name="T41" fmla="*/ 5 h 5"/>
                      <a:gd name="T42" fmla="*/ 5 w 5"/>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5"/>
                        </a:moveTo>
                        <a:lnTo>
                          <a:pt x="5" y="0"/>
                        </a:lnTo>
                        <a:lnTo>
                          <a:pt x="4" y="0"/>
                        </a:lnTo>
                        <a:lnTo>
                          <a:pt x="4" y="3"/>
                        </a:lnTo>
                        <a:lnTo>
                          <a:pt x="3" y="3"/>
                        </a:lnTo>
                        <a:lnTo>
                          <a:pt x="3" y="2"/>
                        </a:lnTo>
                        <a:lnTo>
                          <a:pt x="2" y="2"/>
                        </a:lnTo>
                        <a:lnTo>
                          <a:pt x="2" y="2"/>
                        </a:lnTo>
                        <a:lnTo>
                          <a:pt x="2" y="2"/>
                        </a:lnTo>
                        <a:lnTo>
                          <a:pt x="2" y="0"/>
                        </a:lnTo>
                        <a:lnTo>
                          <a:pt x="0" y="0"/>
                        </a:lnTo>
                        <a:lnTo>
                          <a:pt x="0" y="5"/>
                        </a:lnTo>
                        <a:lnTo>
                          <a:pt x="2" y="5"/>
                        </a:lnTo>
                        <a:lnTo>
                          <a:pt x="2" y="2"/>
                        </a:lnTo>
                        <a:lnTo>
                          <a:pt x="2" y="2"/>
                        </a:lnTo>
                        <a:lnTo>
                          <a:pt x="2" y="3"/>
                        </a:lnTo>
                        <a:lnTo>
                          <a:pt x="3" y="3"/>
                        </a:lnTo>
                        <a:lnTo>
                          <a:pt x="3" y="4"/>
                        </a:lnTo>
                        <a:lnTo>
                          <a:pt x="4" y="4"/>
                        </a:lnTo>
                        <a:lnTo>
                          <a:pt x="4" y="5"/>
                        </a:lnTo>
                        <a:lnTo>
                          <a:pt x="5" y="5"/>
                        </a:lnTo>
                        <a:lnTo>
                          <a:pt x="5"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6" name="Freeform 814"/>
                  <p:cNvSpPr>
                    <a:spLocks/>
                  </p:cNvSpPr>
                  <p:nvPr/>
                </p:nvSpPr>
                <p:spPr bwMode="auto">
                  <a:xfrm>
                    <a:off x="5152385" y="3675595"/>
                    <a:ext cx="29890" cy="37363"/>
                  </a:xfrm>
                  <a:custGeom>
                    <a:avLst/>
                    <a:gdLst>
                      <a:gd name="T0" fmla="*/ 4 w 4"/>
                      <a:gd name="T1" fmla="*/ 5 h 5"/>
                      <a:gd name="T2" fmla="*/ 4 w 4"/>
                      <a:gd name="T3" fmla="*/ 0 h 5"/>
                      <a:gd name="T4" fmla="*/ 3 w 4"/>
                      <a:gd name="T5" fmla="*/ 0 h 5"/>
                      <a:gd name="T6" fmla="*/ 3 w 4"/>
                      <a:gd name="T7" fmla="*/ 2 h 5"/>
                      <a:gd name="T8" fmla="*/ 1 w 4"/>
                      <a:gd name="T9" fmla="*/ 2 h 5"/>
                      <a:gd name="T10" fmla="*/ 1 w 4"/>
                      <a:gd name="T11" fmla="*/ 0 h 5"/>
                      <a:gd name="T12" fmla="*/ 0 w 4"/>
                      <a:gd name="T13" fmla="*/ 0 h 5"/>
                      <a:gd name="T14" fmla="*/ 0 w 4"/>
                      <a:gd name="T15" fmla="*/ 5 h 5"/>
                      <a:gd name="T16" fmla="*/ 1 w 4"/>
                      <a:gd name="T17" fmla="*/ 5 h 5"/>
                      <a:gd name="T18" fmla="*/ 1 w 4"/>
                      <a:gd name="T19" fmla="*/ 3 h 5"/>
                      <a:gd name="T20" fmla="*/ 3 w 4"/>
                      <a:gd name="T21" fmla="*/ 3 h 5"/>
                      <a:gd name="T22" fmla="*/ 3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0"/>
                        </a:lnTo>
                        <a:lnTo>
                          <a:pt x="3" y="0"/>
                        </a:lnTo>
                        <a:lnTo>
                          <a:pt x="3" y="2"/>
                        </a:lnTo>
                        <a:lnTo>
                          <a:pt x="1" y="2"/>
                        </a:lnTo>
                        <a:lnTo>
                          <a:pt x="1" y="0"/>
                        </a:lnTo>
                        <a:lnTo>
                          <a:pt x="0" y="0"/>
                        </a:lnTo>
                        <a:lnTo>
                          <a:pt x="0" y="5"/>
                        </a:lnTo>
                        <a:lnTo>
                          <a:pt x="1" y="5"/>
                        </a:lnTo>
                        <a:lnTo>
                          <a:pt x="1" y="3"/>
                        </a:lnTo>
                        <a:lnTo>
                          <a:pt x="3" y="3"/>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7" name="Freeform 815"/>
                  <p:cNvSpPr>
                    <a:spLocks/>
                  </p:cNvSpPr>
                  <p:nvPr/>
                </p:nvSpPr>
                <p:spPr bwMode="auto">
                  <a:xfrm>
                    <a:off x="5189748" y="3675595"/>
                    <a:ext cx="29890" cy="37363"/>
                  </a:xfrm>
                  <a:custGeom>
                    <a:avLst/>
                    <a:gdLst>
                      <a:gd name="T0" fmla="*/ 4 w 4"/>
                      <a:gd name="T1" fmla="*/ 4 h 5"/>
                      <a:gd name="T2" fmla="*/ 4 w 4"/>
                      <a:gd name="T3" fmla="*/ 2 h 5"/>
                      <a:gd name="T4" fmla="*/ 3 w 4"/>
                      <a:gd name="T5" fmla="*/ 2 h 5"/>
                      <a:gd name="T6" fmla="*/ 3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2 h 5"/>
                      <a:gd name="T20" fmla="*/ 4 w 4"/>
                      <a:gd name="T21" fmla="*/ 2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3" y="3"/>
                        </a:lnTo>
                        <a:lnTo>
                          <a:pt x="3" y="4"/>
                        </a:lnTo>
                        <a:lnTo>
                          <a:pt x="1" y="4"/>
                        </a:lnTo>
                        <a:lnTo>
                          <a:pt x="1" y="0"/>
                        </a:lnTo>
                        <a:lnTo>
                          <a:pt x="3" y="0"/>
                        </a:lnTo>
                        <a:lnTo>
                          <a:pt x="3" y="2"/>
                        </a:lnTo>
                        <a:lnTo>
                          <a:pt x="4" y="2"/>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8" name="Freeform 816"/>
                  <p:cNvSpPr>
                    <a:spLocks/>
                  </p:cNvSpPr>
                  <p:nvPr/>
                </p:nvSpPr>
                <p:spPr bwMode="auto">
                  <a:xfrm>
                    <a:off x="4778759" y="3309441"/>
                    <a:ext cx="22418" cy="44835"/>
                  </a:xfrm>
                  <a:custGeom>
                    <a:avLst/>
                    <a:gdLst>
                      <a:gd name="T0" fmla="*/ 3 w 3"/>
                      <a:gd name="T1" fmla="*/ 6 h 6"/>
                      <a:gd name="T2" fmla="*/ 3 w 3"/>
                      <a:gd name="T3" fmla="*/ 0 h 6"/>
                      <a:gd name="T4" fmla="*/ 3 w 3"/>
                      <a:gd name="T5" fmla="*/ 0 h 6"/>
                      <a:gd name="T6" fmla="*/ 3 w 3"/>
                      <a:gd name="T7" fmla="*/ 3 h 6"/>
                      <a:gd name="T8" fmla="*/ 0 w 3"/>
                      <a:gd name="T9" fmla="*/ 3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3"/>
                        </a:lnTo>
                        <a:lnTo>
                          <a:pt x="0" y="3"/>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69" name="Freeform 817"/>
                  <p:cNvSpPr>
                    <a:spLocks noEditPoints="1"/>
                  </p:cNvSpPr>
                  <p:nvPr/>
                </p:nvSpPr>
                <p:spPr bwMode="auto">
                  <a:xfrm>
                    <a:off x="4808649" y="3309441"/>
                    <a:ext cx="37363" cy="44835"/>
                  </a:xfrm>
                  <a:custGeom>
                    <a:avLst/>
                    <a:gdLst>
                      <a:gd name="T0" fmla="*/ 5 w 5"/>
                      <a:gd name="T1" fmla="*/ 3 h 6"/>
                      <a:gd name="T2" fmla="*/ 5 w 5"/>
                      <a:gd name="T3" fmla="*/ 1 h 6"/>
                      <a:gd name="T4" fmla="*/ 4 w 5"/>
                      <a:gd name="T5" fmla="*/ 1 h 6"/>
                      <a:gd name="T6" fmla="*/ 4 w 5"/>
                      <a:gd name="T7" fmla="*/ 0 h 6"/>
                      <a:gd name="T8" fmla="*/ 0 w 5"/>
                      <a:gd name="T9" fmla="*/ 0 h 6"/>
                      <a:gd name="T10" fmla="*/ 0 w 5"/>
                      <a:gd name="T11" fmla="*/ 6 h 6"/>
                      <a:gd name="T12" fmla="*/ 2 w 5"/>
                      <a:gd name="T13" fmla="*/ 6 h 6"/>
                      <a:gd name="T14" fmla="*/ 2 w 5"/>
                      <a:gd name="T15" fmla="*/ 4 h 6"/>
                      <a:gd name="T16" fmla="*/ 4 w 5"/>
                      <a:gd name="T17" fmla="*/ 4 h 6"/>
                      <a:gd name="T18" fmla="*/ 4 w 5"/>
                      <a:gd name="T19" fmla="*/ 3 h 6"/>
                      <a:gd name="T20" fmla="*/ 5 w 5"/>
                      <a:gd name="T21" fmla="*/ 3 h 6"/>
                      <a:gd name="T22" fmla="*/ 5 w 5"/>
                      <a:gd name="T23" fmla="*/ 3 h 6"/>
                      <a:gd name="T24" fmla="*/ 4 w 5"/>
                      <a:gd name="T25" fmla="*/ 3 h 6"/>
                      <a:gd name="T26" fmla="*/ 2 w 5"/>
                      <a:gd name="T27" fmla="*/ 3 h 6"/>
                      <a:gd name="T28" fmla="*/ 2 w 5"/>
                      <a:gd name="T29" fmla="*/ 1 h 6"/>
                      <a:gd name="T30" fmla="*/ 4 w 5"/>
                      <a:gd name="T31" fmla="*/ 1 h 6"/>
                      <a:gd name="T32" fmla="*/ 4 w 5"/>
                      <a:gd name="T33" fmla="*/ 3 h 6"/>
                      <a:gd name="T34" fmla="*/ 4 w 5"/>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5" y="3"/>
                        </a:moveTo>
                        <a:lnTo>
                          <a:pt x="5" y="1"/>
                        </a:lnTo>
                        <a:lnTo>
                          <a:pt x="4" y="1"/>
                        </a:lnTo>
                        <a:lnTo>
                          <a:pt x="4" y="0"/>
                        </a:lnTo>
                        <a:lnTo>
                          <a:pt x="0" y="0"/>
                        </a:lnTo>
                        <a:lnTo>
                          <a:pt x="0" y="6"/>
                        </a:lnTo>
                        <a:lnTo>
                          <a:pt x="2" y="6"/>
                        </a:lnTo>
                        <a:lnTo>
                          <a:pt x="2" y="4"/>
                        </a:lnTo>
                        <a:lnTo>
                          <a:pt x="4" y="4"/>
                        </a:lnTo>
                        <a:lnTo>
                          <a:pt x="4" y="3"/>
                        </a:lnTo>
                        <a:lnTo>
                          <a:pt x="5" y="3"/>
                        </a:lnTo>
                        <a:lnTo>
                          <a:pt x="5" y="3"/>
                        </a:lnTo>
                        <a:close/>
                        <a:moveTo>
                          <a:pt x="4" y="3"/>
                        </a:moveTo>
                        <a:lnTo>
                          <a:pt x="2" y="3"/>
                        </a:lnTo>
                        <a:lnTo>
                          <a:pt x="2" y="1"/>
                        </a:lnTo>
                        <a:lnTo>
                          <a:pt x="4" y="1"/>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0" name="Freeform 818"/>
                  <p:cNvSpPr>
                    <a:spLocks/>
                  </p:cNvSpPr>
                  <p:nvPr/>
                </p:nvSpPr>
                <p:spPr bwMode="auto">
                  <a:xfrm>
                    <a:off x="4853485" y="3309441"/>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1" name="Freeform 819"/>
                  <p:cNvSpPr>
                    <a:spLocks/>
                  </p:cNvSpPr>
                  <p:nvPr/>
                </p:nvSpPr>
                <p:spPr bwMode="auto">
                  <a:xfrm>
                    <a:off x="4913265" y="3309441"/>
                    <a:ext cx="22418" cy="44835"/>
                  </a:xfrm>
                  <a:custGeom>
                    <a:avLst/>
                    <a:gdLst>
                      <a:gd name="T0" fmla="*/ 3 w 3"/>
                      <a:gd name="T1" fmla="*/ 6 h 6"/>
                      <a:gd name="T2" fmla="*/ 3 w 3"/>
                      <a:gd name="T3" fmla="*/ 5 h 6"/>
                      <a:gd name="T4" fmla="*/ 1 w 3"/>
                      <a:gd name="T5" fmla="*/ 5 h 6"/>
                      <a:gd name="T6" fmla="*/ 1 w 3"/>
                      <a:gd name="T7" fmla="*/ 3 h 6"/>
                      <a:gd name="T8" fmla="*/ 3 w 3"/>
                      <a:gd name="T9" fmla="*/ 3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3" y="3"/>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2" name="Freeform 820"/>
                  <p:cNvSpPr>
                    <a:spLocks/>
                  </p:cNvSpPr>
                  <p:nvPr/>
                </p:nvSpPr>
                <p:spPr bwMode="auto">
                  <a:xfrm>
                    <a:off x="4943155" y="3309441"/>
                    <a:ext cx="29890" cy="44835"/>
                  </a:xfrm>
                  <a:custGeom>
                    <a:avLst/>
                    <a:gdLst>
                      <a:gd name="T0" fmla="*/ 4 w 4"/>
                      <a:gd name="T1" fmla="*/ 1 h 6"/>
                      <a:gd name="T2" fmla="*/ 4 w 4"/>
                      <a:gd name="T3" fmla="*/ 0 h 6"/>
                      <a:gd name="T4" fmla="*/ 0 w 4"/>
                      <a:gd name="T5" fmla="*/ 0 h 6"/>
                      <a:gd name="T6" fmla="*/ 0 w 4"/>
                      <a:gd name="T7" fmla="*/ 6 h 6"/>
                      <a:gd name="T8" fmla="*/ 2 w 4"/>
                      <a:gd name="T9" fmla="*/ 6 h 6"/>
                      <a:gd name="T10" fmla="*/ 2 w 4"/>
                      <a:gd name="T11" fmla="*/ 3 h 6"/>
                      <a:gd name="T12" fmla="*/ 3 w 4"/>
                      <a:gd name="T13" fmla="*/ 3 h 6"/>
                      <a:gd name="T14" fmla="*/ 3 w 4"/>
                      <a:gd name="T15" fmla="*/ 3 h 6"/>
                      <a:gd name="T16" fmla="*/ 2 w 4"/>
                      <a:gd name="T17" fmla="*/ 3 h 6"/>
                      <a:gd name="T18" fmla="*/ 2 w 4"/>
                      <a:gd name="T19" fmla="*/ 1 h 6"/>
                      <a:gd name="T20" fmla="*/ 4 w 4"/>
                      <a:gd name="T21" fmla="*/ 1 h 6"/>
                      <a:gd name="T22" fmla="*/ 4 w 4"/>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1"/>
                        </a:moveTo>
                        <a:lnTo>
                          <a:pt x="4" y="0"/>
                        </a:lnTo>
                        <a:lnTo>
                          <a:pt x="0" y="0"/>
                        </a:lnTo>
                        <a:lnTo>
                          <a:pt x="0" y="6"/>
                        </a:lnTo>
                        <a:lnTo>
                          <a:pt x="2" y="6"/>
                        </a:lnTo>
                        <a:lnTo>
                          <a:pt x="2" y="3"/>
                        </a:lnTo>
                        <a:lnTo>
                          <a:pt x="3" y="3"/>
                        </a:lnTo>
                        <a:lnTo>
                          <a:pt x="3" y="3"/>
                        </a:lnTo>
                        <a:lnTo>
                          <a:pt x="2" y="3"/>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3" name="Freeform 821"/>
                  <p:cNvSpPr>
                    <a:spLocks/>
                  </p:cNvSpPr>
                  <p:nvPr/>
                </p:nvSpPr>
                <p:spPr bwMode="auto">
                  <a:xfrm>
                    <a:off x="4980517" y="3309441"/>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2 w 3"/>
                      <a:gd name="T13" fmla="*/ 3 h 6"/>
                      <a:gd name="T14" fmla="*/ 2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2" y="3"/>
                        </a:lnTo>
                        <a:lnTo>
                          <a:pt x="2"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4" name="Freeform 822"/>
                  <p:cNvSpPr>
                    <a:spLocks noEditPoints="1"/>
                  </p:cNvSpPr>
                  <p:nvPr/>
                </p:nvSpPr>
                <p:spPr bwMode="auto">
                  <a:xfrm>
                    <a:off x="5137440" y="3309441"/>
                    <a:ext cx="44835" cy="44835"/>
                  </a:xfrm>
                  <a:custGeom>
                    <a:avLst/>
                    <a:gdLst>
                      <a:gd name="T0" fmla="*/ 6 w 6"/>
                      <a:gd name="T1" fmla="*/ 3 h 6"/>
                      <a:gd name="T2" fmla="*/ 5 w 6"/>
                      <a:gd name="T3" fmla="*/ 3 h 6"/>
                      <a:gd name="T4" fmla="*/ 4 w 6"/>
                      <a:gd name="T5" fmla="*/ 2 h 6"/>
                      <a:gd name="T6" fmla="*/ 4 w 6"/>
                      <a:gd name="T7" fmla="*/ 1 h 6"/>
                      <a:gd name="T8" fmla="*/ 5 w 6"/>
                      <a:gd name="T9" fmla="*/ 0 h 6"/>
                      <a:gd name="T10" fmla="*/ 6 w 6"/>
                      <a:gd name="T11" fmla="*/ 0 h 6"/>
                      <a:gd name="T12" fmla="*/ 5 w 6"/>
                      <a:gd name="T13" fmla="*/ 0 h 6"/>
                      <a:gd name="T14" fmla="*/ 4 w 6"/>
                      <a:gd name="T15" fmla="*/ 1 h 6"/>
                      <a:gd name="T16" fmla="*/ 4 w 6"/>
                      <a:gd name="T17" fmla="*/ 2 h 6"/>
                      <a:gd name="T18" fmla="*/ 3 w 6"/>
                      <a:gd name="T19" fmla="*/ 0 h 6"/>
                      <a:gd name="T20" fmla="*/ 2 w 6"/>
                      <a:gd name="T21" fmla="*/ 0 h 6"/>
                      <a:gd name="T22" fmla="*/ 0 w 6"/>
                      <a:gd name="T23" fmla="*/ 0 h 6"/>
                      <a:gd name="T24" fmla="*/ 0 w 6"/>
                      <a:gd name="T25" fmla="*/ 2 h 6"/>
                      <a:gd name="T26" fmla="*/ 0 w 6"/>
                      <a:gd name="T27" fmla="*/ 3 h 6"/>
                      <a:gd name="T28" fmla="*/ 2 w 6"/>
                      <a:gd name="T29" fmla="*/ 3 h 6"/>
                      <a:gd name="T30" fmla="*/ 2 w 6"/>
                      <a:gd name="T31" fmla="*/ 4 h 6"/>
                      <a:gd name="T32" fmla="*/ 0 w 6"/>
                      <a:gd name="T33" fmla="*/ 5 h 6"/>
                      <a:gd name="T34" fmla="*/ 0 w 6"/>
                      <a:gd name="T35" fmla="*/ 6 h 6"/>
                      <a:gd name="T36" fmla="*/ 0 w 6"/>
                      <a:gd name="T37" fmla="*/ 5 h 6"/>
                      <a:gd name="T38" fmla="*/ 2 w 6"/>
                      <a:gd name="T39" fmla="*/ 4 h 6"/>
                      <a:gd name="T40" fmla="*/ 2 w 6"/>
                      <a:gd name="T41" fmla="*/ 3 h 6"/>
                      <a:gd name="T42" fmla="*/ 3 w 6"/>
                      <a:gd name="T43" fmla="*/ 5 h 6"/>
                      <a:gd name="T44" fmla="*/ 4 w 6"/>
                      <a:gd name="T45" fmla="*/ 6 h 6"/>
                      <a:gd name="T46" fmla="*/ 5 w 6"/>
                      <a:gd name="T47" fmla="*/ 5 h 6"/>
                      <a:gd name="T48" fmla="*/ 6 w 6"/>
                      <a:gd name="T49" fmla="*/ 5 h 6"/>
                      <a:gd name="T50" fmla="*/ 3 w 6"/>
                      <a:gd name="T51" fmla="*/ 3 h 6"/>
                      <a:gd name="T52" fmla="*/ 4 w 6"/>
                      <a:gd name="T53" fmla="*/ 3 h 6"/>
                      <a:gd name="T54" fmla="*/ 4 w 6"/>
                      <a:gd name="T55" fmla="*/ 3 h 6"/>
                      <a:gd name="T56" fmla="*/ 0 w 6"/>
                      <a:gd name="T57" fmla="*/ 2 h 6"/>
                      <a:gd name="T58" fmla="*/ 2 w 6"/>
                      <a:gd name="T59" fmla="*/ 0 h 6"/>
                      <a:gd name="T60" fmla="*/ 2 w 6"/>
                      <a:gd name="T61" fmla="*/ 2 h 6"/>
                      <a:gd name="T62" fmla="*/ 4 w 6"/>
                      <a:gd name="T63" fmla="*/ 5 h 6"/>
                      <a:gd name="T64" fmla="*/ 5 w 6"/>
                      <a:gd name="T65" fmla="*/ 3 h 6"/>
                      <a:gd name="T66" fmla="*/ 5 w 6"/>
                      <a:gd name="T67" fmla="*/ 5 h 6"/>
                      <a:gd name="T68" fmla="*/ 2 w 6"/>
                      <a:gd name="T69" fmla="*/ 3 h 6"/>
                      <a:gd name="T70" fmla="*/ 3 w 6"/>
                      <a:gd name="T71" fmla="*/ 2 h 6"/>
                      <a:gd name="T72" fmla="*/ 3 w 6"/>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6">
                        <a:moveTo>
                          <a:pt x="6" y="5"/>
                        </a:moveTo>
                        <a:lnTo>
                          <a:pt x="6" y="3"/>
                        </a:lnTo>
                        <a:lnTo>
                          <a:pt x="5" y="3"/>
                        </a:lnTo>
                        <a:lnTo>
                          <a:pt x="5" y="3"/>
                        </a:lnTo>
                        <a:lnTo>
                          <a:pt x="4" y="3"/>
                        </a:lnTo>
                        <a:lnTo>
                          <a:pt x="4" y="2"/>
                        </a:lnTo>
                        <a:lnTo>
                          <a:pt x="4" y="2"/>
                        </a:lnTo>
                        <a:lnTo>
                          <a:pt x="4" y="1"/>
                        </a:lnTo>
                        <a:lnTo>
                          <a:pt x="5" y="1"/>
                        </a:lnTo>
                        <a:lnTo>
                          <a:pt x="5" y="0"/>
                        </a:lnTo>
                        <a:lnTo>
                          <a:pt x="6" y="0"/>
                        </a:lnTo>
                        <a:lnTo>
                          <a:pt x="6" y="0"/>
                        </a:lnTo>
                        <a:lnTo>
                          <a:pt x="5" y="0"/>
                        </a:lnTo>
                        <a:lnTo>
                          <a:pt x="5" y="0"/>
                        </a:lnTo>
                        <a:lnTo>
                          <a:pt x="4" y="0"/>
                        </a:lnTo>
                        <a:lnTo>
                          <a:pt x="4" y="1"/>
                        </a:lnTo>
                        <a:lnTo>
                          <a:pt x="4" y="1"/>
                        </a:lnTo>
                        <a:lnTo>
                          <a:pt x="4" y="2"/>
                        </a:lnTo>
                        <a:lnTo>
                          <a:pt x="3" y="2"/>
                        </a:lnTo>
                        <a:lnTo>
                          <a:pt x="3" y="0"/>
                        </a:lnTo>
                        <a:lnTo>
                          <a:pt x="2" y="0"/>
                        </a:lnTo>
                        <a:lnTo>
                          <a:pt x="2" y="0"/>
                        </a:lnTo>
                        <a:lnTo>
                          <a:pt x="0" y="0"/>
                        </a:lnTo>
                        <a:lnTo>
                          <a:pt x="0" y="0"/>
                        </a:lnTo>
                        <a:lnTo>
                          <a:pt x="0" y="0"/>
                        </a:lnTo>
                        <a:lnTo>
                          <a:pt x="0" y="2"/>
                        </a:lnTo>
                        <a:lnTo>
                          <a:pt x="0" y="2"/>
                        </a:lnTo>
                        <a:lnTo>
                          <a:pt x="0" y="3"/>
                        </a:lnTo>
                        <a:lnTo>
                          <a:pt x="2" y="3"/>
                        </a:lnTo>
                        <a:lnTo>
                          <a:pt x="2" y="3"/>
                        </a:lnTo>
                        <a:lnTo>
                          <a:pt x="2" y="3"/>
                        </a:lnTo>
                        <a:lnTo>
                          <a:pt x="2" y="4"/>
                        </a:lnTo>
                        <a:lnTo>
                          <a:pt x="0" y="4"/>
                        </a:lnTo>
                        <a:lnTo>
                          <a:pt x="0" y="5"/>
                        </a:lnTo>
                        <a:lnTo>
                          <a:pt x="0" y="5"/>
                        </a:lnTo>
                        <a:lnTo>
                          <a:pt x="0" y="6"/>
                        </a:lnTo>
                        <a:lnTo>
                          <a:pt x="0" y="6"/>
                        </a:lnTo>
                        <a:lnTo>
                          <a:pt x="0" y="5"/>
                        </a:lnTo>
                        <a:lnTo>
                          <a:pt x="2" y="5"/>
                        </a:lnTo>
                        <a:lnTo>
                          <a:pt x="2" y="4"/>
                        </a:lnTo>
                        <a:lnTo>
                          <a:pt x="2" y="4"/>
                        </a:lnTo>
                        <a:lnTo>
                          <a:pt x="2" y="3"/>
                        </a:lnTo>
                        <a:lnTo>
                          <a:pt x="3" y="3"/>
                        </a:lnTo>
                        <a:lnTo>
                          <a:pt x="3" y="5"/>
                        </a:lnTo>
                        <a:lnTo>
                          <a:pt x="4" y="5"/>
                        </a:lnTo>
                        <a:lnTo>
                          <a:pt x="4" y="6"/>
                        </a:lnTo>
                        <a:lnTo>
                          <a:pt x="5" y="6"/>
                        </a:lnTo>
                        <a:lnTo>
                          <a:pt x="5" y="5"/>
                        </a:lnTo>
                        <a:lnTo>
                          <a:pt x="6" y="5"/>
                        </a:lnTo>
                        <a:lnTo>
                          <a:pt x="6" y="5"/>
                        </a:lnTo>
                        <a:close/>
                        <a:moveTo>
                          <a:pt x="4" y="3"/>
                        </a:moveTo>
                        <a:lnTo>
                          <a:pt x="3" y="3"/>
                        </a:lnTo>
                        <a:lnTo>
                          <a:pt x="3" y="3"/>
                        </a:lnTo>
                        <a:lnTo>
                          <a:pt x="4" y="3"/>
                        </a:lnTo>
                        <a:lnTo>
                          <a:pt x="4" y="3"/>
                        </a:lnTo>
                        <a:lnTo>
                          <a:pt x="4" y="3"/>
                        </a:lnTo>
                        <a:close/>
                        <a:moveTo>
                          <a:pt x="2" y="2"/>
                        </a:moveTo>
                        <a:lnTo>
                          <a:pt x="0" y="2"/>
                        </a:lnTo>
                        <a:lnTo>
                          <a:pt x="0" y="0"/>
                        </a:lnTo>
                        <a:lnTo>
                          <a:pt x="2" y="0"/>
                        </a:lnTo>
                        <a:lnTo>
                          <a:pt x="2" y="2"/>
                        </a:lnTo>
                        <a:lnTo>
                          <a:pt x="2" y="2"/>
                        </a:lnTo>
                        <a:close/>
                        <a:moveTo>
                          <a:pt x="5" y="5"/>
                        </a:moveTo>
                        <a:lnTo>
                          <a:pt x="4" y="5"/>
                        </a:lnTo>
                        <a:lnTo>
                          <a:pt x="4" y="3"/>
                        </a:lnTo>
                        <a:lnTo>
                          <a:pt x="5" y="3"/>
                        </a:lnTo>
                        <a:lnTo>
                          <a:pt x="5" y="5"/>
                        </a:lnTo>
                        <a:lnTo>
                          <a:pt x="5" y="5"/>
                        </a:lnTo>
                        <a:close/>
                        <a:moveTo>
                          <a:pt x="3" y="3"/>
                        </a:move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5" name="Freeform 823"/>
                  <p:cNvSpPr>
                    <a:spLocks/>
                  </p:cNvSpPr>
                  <p:nvPr/>
                </p:nvSpPr>
                <p:spPr bwMode="auto">
                  <a:xfrm>
                    <a:off x="4778759" y="3384167"/>
                    <a:ext cx="0" cy="44835"/>
                  </a:xfrm>
                  <a:custGeom>
                    <a:avLst/>
                    <a:gdLst>
                      <a:gd name="T0" fmla="*/ 6 h 6"/>
                      <a:gd name="T1" fmla="*/ 0 h 6"/>
                      <a:gd name="T2" fmla="*/ 0 h 6"/>
                      <a:gd name="T3" fmla="*/ 6 h 6"/>
                      <a:gd name="T4" fmla="*/ 6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0"/>
                        </a:lnTo>
                        <a:lnTo>
                          <a:pt x="0" y="0"/>
                        </a:lnTo>
                        <a:lnTo>
                          <a:pt x="0" y="6"/>
                        </a:lnTo>
                        <a:lnTo>
                          <a:pt x="0" y="6"/>
                        </a:lnTo>
                        <a:lnTo>
                          <a:pt x="0"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6" name="Freeform 824"/>
                  <p:cNvSpPr>
                    <a:spLocks noEditPoints="1"/>
                  </p:cNvSpPr>
                  <p:nvPr/>
                </p:nvSpPr>
                <p:spPr bwMode="auto">
                  <a:xfrm>
                    <a:off x="4793704" y="3384167"/>
                    <a:ext cx="29890" cy="44835"/>
                  </a:xfrm>
                  <a:custGeom>
                    <a:avLst/>
                    <a:gdLst>
                      <a:gd name="T0" fmla="*/ 4 w 4"/>
                      <a:gd name="T1" fmla="*/ 4 h 6"/>
                      <a:gd name="T2" fmla="*/ 4 w 4"/>
                      <a:gd name="T3" fmla="*/ 1 h 6"/>
                      <a:gd name="T4" fmla="*/ 2 w 4"/>
                      <a:gd name="T5" fmla="*/ 1 h 6"/>
                      <a:gd name="T6" fmla="*/ 2 w 4"/>
                      <a:gd name="T7" fmla="*/ 0 h 6"/>
                      <a:gd name="T8" fmla="*/ 0 w 4"/>
                      <a:gd name="T9" fmla="*/ 0 h 6"/>
                      <a:gd name="T10" fmla="*/ 0 w 4"/>
                      <a:gd name="T11" fmla="*/ 6 h 6"/>
                      <a:gd name="T12" fmla="*/ 0 w 4"/>
                      <a:gd name="T13" fmla="*/ 6 h 6"/>
                      <a:gd name="T14" fmla="*/ 0 w 4"/>
                      <a:gd name="T15" fmla="*/ 4 h 6"/>
                      <a:gd name="T16" fmla="*/ 2 w 4"/>
                      <a:gd name="T17" fmla="*/ 4 h 6"/>
                      <a:gd name="T18" fmla="*/ 2 w 4"/>
                      <a:gd name="T19" fmla="*/ 4 h 6"/>
                      <a:gd name="T20" fmla="*/ 4 w 4"/>
                      <a:gd name="T21" fmla="*/ 4 h 6"/>
                      <a:gd name="T22" fmla="*/ 4 w 4"/>
                      <a:gd name="T23" fmla="*/ 4 h 6"/>
                      <a:gd name="T24" fmla="*/ 2 w 4"/>
                      <a:gd name="T25" fmla="*/ 4 h 6"/>
                      <a:gd name="T26" fmla="*/ 0 w 4"/>
                      <a:gd name="T27" fmla="*/ 4 h 6"/>
                      <a:gd name="T28" fmla="*/ 0 w 4"/>
                      <a:gd name="T29" fmla="*/ 1 h 6"/>
                      <a:gd name="T30" fmla="*/ 2 w 4"/>
                      <a:gd name="T31" fmla="*/ 1 h 6"/>
                      <a:gd name="T32" fmla="*/ 2 w 4"/>
                      <a:gd name="T33" fmla="*/ 4 h 6"/>
                      <a:gd name="T34" fmla="*/ 2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2" y="1"/>
                        </a:lnTo>
                        <a:lnTo>
                          <a:pt x="2" y="0"/>
                        </a:lnTo>
                        <a:lnTo>
                          <a:pt x="0" y="0"/>
                        </a:lnTo>
                        <a:lnTo>
                          <a:pt x="0" y="6"/>
                        </a:lnTo>
                        <a:lnTo>
                          <a:pt x="0" y="6"/>
                        </a:lnTo>
                        <a:lnTo>
                          <a:pt x="0" y="4"/>
                        </a:lnTo>
                        <a:lnTo>
                          <a:pt x="2" y="4"/>
                        </a:lnTo>
                        <a:lnTo>
                          <a:pt x="2" y="4"/>
                        </a:lnTo>
                        <a:lnTo>
                          <a:pt x="4" y="4"/>
                        </a:lnTo>
                        <a:lnTo>
                          <a:pt x="4" y="4"/>
                        </a:lnTo>
                        <a:close/>
                        <a:moveTo>
                          <a:pt x="2" y="4"/>
                        </a:moveTo>
                        <a:lnTo>
                          <a:pt x="0" y="4"/>
                        </a:lnTo>
                        <a:lnTo>
                          <a:pt x="0" y="1"/>
                        </a:lnTo>
                        <a:lnTo>
                          <a:pt x="2" y="1"/>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7" name="Freeform 825"/>
                  <p:cNvSpPr>
                    <a:spLocks/>
                  </p:cNvSpPr>
                  <p:nvPr/>
                </p:nvSpPr>
                <p:spPr bwMode="auto">
                  <a:xfrm>
                    <a:off x="4831067" y="3384167"/>
                    <a:ext cx="29890" cy="44835"/>
                  </a:xfrm>
                  <a:custGeom>
                    <a:avLst/>
                    <a:gdLst>
                      <a:gd name="T0" fmla="*/ 4 w 4"/>
                      <a:gd name="T1" fmla="*/ 1 h 6"/>
                      <a:gd name="T2" fmla="*/ 4 w 4"/>
                      <a:gd name="T3" fmla="*/ 0 h 6"/>
                      <a:gd name="T4" fmla="*/ 0 w 4"/>
                      <a:gd name="T5" fmla="*/ 0 h 6"/>
                      <a:gd name="T6" fmla="*/ 0 w 4"/>
                      <a:gd name="T7" fmla="*/ 1 h 6"/>
                      <a:gd name="T8" fmla="*/ 1 w 4"/>
                      <a:gd name="T9" fmla="*/ 1 h 6"/>
                      <a:gd name="T10" fmla="*/ 1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1" y="1"/>
                        </a:lnTo>
                        <a:lnTo>
                          <a:pt x="1"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8" name="Freeform 826"/>
                  <p:cNvSpPr>
                    <a:spLocks/>
                  </p:cNvSpPr>
                  <p:nvPr/>
                </p:nvSpPr>
                <p:spPr bwMode="auto">
                  <a:xfrm>
                    <a:off x="4890847" y="3384167"/>
                    <a:ext cx="22418" cy="44835"/>
                  </a:xfrm>
                  <a:custGeom>
                    <a:avLst/>
                    <a:gdLst>
                      <a:gd name="T0" fmla="*/ 3 w 3"/>
                      <a:gd name="T1" fmla="*/ 6 h 6"/>
                      <a:gd name="T2" fmla="*/ 3 w 3"/>
                      <a:gd name="T3" fmla="*/ 5 h 6"/>
                      <a:gd name="T4" fmla="*/ 1 w 3"/>
                      <a:gd name="T5" fmla="*/ 5 h 6"/>
                      <a:gd name="T6" fmla="*/ 1 w 3"/>
                      <a:gd name="T7" fmla="*/ 4 h 6"/>
                      <a:gd name="T8" fmla="*/ 3 w 3"/>
                      <a:gd name="T9" fmla="*/ 4 h 6"/>
                      <a:gd name="T10" fmla="*/ 3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3" y="4"/>
                        </a:lnTo>
                        <a:lnTo>
                          <a:pt x="3"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79" name="Freeform 827"/>
                  <p:cNvSpPr>
                    <a:spLocks/>
                  </p:cNvSpPr>
                  <p:nvPr/>
                </p:nvSpPr>
                <p:spPr bwMode="auto">
                  <a:xfrm>
                    <a:off x="4928210" y="3384167"/>
                    <a:ext cx="14945" cy="44835"/>
                  </a:xfrm>
                  <a:custGeom>
                    <a:avLst/>
                    <a:gdLst>
                      <a:gd name="T0" fmla="*/ 2 w 2"/>
                      <a:gd name="T1" fmla="*/ 1 h 6"/>
                      <a:gd name="T2" fmla="*/ 2 w 2"/>
                      <a:gd name="T3" fmla="*/ 0 h 6"/>
                      <a:gd name="T4" fmla="*/ 0 w 2"/>
                      <a:gd name="T5" fmla="*/ 0 h 6"/>
                      <a:gd name="T6" fmla="*/ 0 w 2"/>
                      <a:gd name="T7" fmla="*/ 6 h 6"/>
                      <a:gd name="T8" fmla="*/ 0 w 2"/>
                      <a:gd name="T9" fmla="*/ 6 h 6"/>
                      <a:gd name="T10" fmla="*/ 0 w 2"/>
                      <a:gd name="T11" fmla="*/ 4 h 6"/>
                      <a:gd name="T12" fmla="*/ 2 w 2"/>
                      <a:gd name="T13" fmla="*/ 4 h 6"/>
                      <a:gd name="T14" fmla="*/ 2 w 2"/>
                      <a:gd name="T15" fmla="*/ 2 h 6"/>
                      <a:gd name="T16" fmla="*/ 0 w 2"/>
                      <a:gd name="T17" fmla="*/ 2 h 6"/>
                      <a:gd name="T18" fmla="*/ 0 w 2"/>
                      <a:gd name="T19" fmla="*/ 1 h 6"/>
                      <a:gd name="T20" fmla="*/ 2 w 2"/>
                      <a:gd name="T21" fmla="*/ 1 h 6"/>
                      <a:gd name="T22" fmla="*/ 2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2" y="1"/>
                        </a:moveTo>
                        <a:lnTo>
                          <a:pt x="2" y="0"/>
                        </a:lnTo>
                        <a:lnTo>
                          <a:pt x="0" y="0"/>
                        </a:lnTo>
                        <a:lnTo>
                          <a:pt x="0" y="6"/>
                        </a:lnTo>
                        <a:lnTo>
                          <a:pt x="0" y="6"/>
                        </a:lnTo>
                        <a:lnTo>
                          <a:pt x="0" y="4"/>
                        </a:lnTo>
                        <a:lnTo>
                          <a:pt x="2" y="4"/>
                        </a:lnTo>
                        <a:lnTo>
                          <a:pt x="2" y="2"/>
                        </a:lnTo>
                        <a:lnTo>
                          <a:pt x="0" y="2"/>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0" name="Freeform 828"/>
                  <p:cNvSpPr>
                    <a:spLocks/>
                  </p:cNvSpPr>
                  <p:nvPr/>
                </p:nvSpPr>
                <p:spPr bwMode="auto">
                  <a:xfrm>
                    <a:off x="4958100" y="3384167"/>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4 h 6"/>
                      <a:gd name="T12" fmla="*/ 2 w 3"/>
                      <a:gd name="T13" fmla="*/ 4 h 6"/>
                      <a:gd name="T14" fmla="*/ 2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4"/>
                        </a:lnTo>
                        <a:lnTo>
                          <a:pt x="2" y="4"/>
                        </a:lnTo>
                        <a:lnTo>
                          <a:pt x="2"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1" name="Freeform 829"/>
                  <p:cNvSpPr>
                    <a:spLocks noEditPoints="1"/>
                  </p:cNvSpPr>
                  <p:nvPr/>
                </p:nvSpPr>
                <p:spPr bwMode="auto">
                  <a:xfrm>
                    <a:off x="5137440" y="3376694"/>
                    <a:ext cx="44835" cy="52308"/>
                  </a:xfrm>
                  <a:custGeom>
                    <a:avLst/>
                    <a:gdLst>
                      <a:gd name="T0" fmla="*/ 6 w 6"/>
                      <a:gd name="T1" fmla="*/ 5 h 7"/>
                      <a:gd name="T2" fmla="*/ 5 w 6"/>
                      <a:gd name="T3" fmla="*/ 3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3 h 7"/>
                      <a:gd name="T28" fmla="*/ 2 w 6"/>
                      <a:gd name="T29" fmla="*/ 5 h 7"/>
                      <a:gd name="T30" fmla="*/ 2 w 6"/>
                      <a:gd name="T31" fmla="*/ 5 h 7"/>
                      <a:gd name="T32" fmla="*/ 0 w 6"/>
                      <a:gd name="T33" fmla="*/ 6 h 7"/>
                      <a:gd name="T34" fmla="*/ 0 w 6"/>
                      <a:gd name="T35" fmla="*/ 7 h 7"/>
                      <a:gd name="T36" fmla="*/ 0 w 6"/>
                      <a:gd name="T37" fmla="*/ 6 h 7"/>
                      <a:gd name="T38" fmla="*/ 2 w 6"/>
                      <a:gd name="T39" fmla="*/ 5 h 7"/>
                      <a:gd name="T40" fmla="*/ 2 w 6"/>
                      <a:gd name="T41" fmla="*/ 5 h 7"/>
                      <a:gd name="T42" fmla="*/ 3 w 6"/>
                      <a:gd name="T43" fmla="*/ 6 h 7"/>
                      <a:gd name="T44" fmla="*/ 4 w 6"/>
                      <a:gd name="T45" fmla="*/ 7 h 7"/>
                      <a:gd name="T46" fmla="*/ 5 w 6"/>
                      <a:gd name="T47" fmla="*/ 6 h 7"/>
                      <a:gd name="T48" fmla="*/ 6 w 6"/>
                      <a:gd name="T49" fmla="*/ 6 h 7"/>
                      <a:gd name="T50" fmla="*/ 3 w 6"/>
                      <a:gd name="T51" fmla="*/ 5 h 7"/>
                      <a:gd name="T52" fmla="*/ 4 w 6"/>
                      <a:gd name="T53" fmla="*/ 3 h 7"/>
                      <a:gd name="T54" fmla="*/ 4 w 6"/>
                      <a:gd name="T55" fmla="*/ 5 h 7"/>
                      <a:gd name="T56" fmla="*/ 0 w 6"/>
                      <a:gd name="T57" fmla="*/ 3 h 7"/>
                      <a:gd name="T58" fmla="*/ 2 w 6"/>
                      <a:gd name="T59" fmla="*/ 1 h 7"/>
                      <a:gd name="T60" fmla="*/ 2 w 6"/>
                      <a:gd name="T61" fmla="*/ 3 h 7"/>
                      <a:gd name="T62" fmla="*/ 4 w 6"/>
                      <a:gd name="T63" fmla="*/ 6 h 7"/>
                      <a:gd name="T64" fmla="*/ 5 w 6"/>
                      <a:gd name="T65" fmla="*/ 5 h 7"/>
                      <a:gd name="T66" fmla="*/ 5 w 6"/>
                      <a:gd name="T67" fmla="*/ 6 h 7"/>
                      <a:gd name="T68" fmla="*/ 2 w 6"/>
                      <a:gd name="T69" fmla="*/ 3 h 7"/>
                      <a:gd name="T70" fmla="*/ 3 w 6"/>
                      <a:gd name="T71" fmla="*/ 3 h 7"/>
                      <a:gd name="T72" fmla="*/ 3 w 6"/>
                      <a:gd name="T7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5"/>
                        </a:lnTo>
                        <a:lnTo>
                          <a:pt x="5" y="5"/>
                        </a:lnTo>
                        <a:lnTo>
                          <a:pt x="5" y="3"/>
                        </a:lnTo>
                        <a:lnTo>
                          <a:pt x="4" y="3"/>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3"/>
                        </a:lnTo>
                        <a:lnTo>
                          <a:pt x="2" y="3"/>
                        </a:lnTo>
                        <a:lnTo>
                          <a:pt x="2" y="5"/>
                        </a:lnTo>
                        <a:lnTo>
                          <a:pt x="2" y="5"/>
                        </a:lnTo>
                        <a:lnTo>
                          <a:pt x="2" y="5"/>
                        </a:lnTo>
                        <a:lnTo>
                          <a:pt x="0" y="5"/>
                        </a:lnTo>
                        <a:lnTo>
                          <a:pt x="0" y="6"/>
                        </a:lnTo>
                        <a:lnTo>
                          <a:pt x="0" y="6"/>
                        </a:lnTo>
                        <a:lnTo>
                          <a:pt x="0" y="7"/>
                        </a:lnTo>
                        <a:lnTo>
                          <a:pt x="0" y="7"/>
                        </a:lnTo>
                        <a:lnTo>
                          <a:pt x="0" y="6"/>
                        </a:lnTo>
                        <a:lnTo>
                          <a:pt x="2" y="6"/>
                        </a:lnTo>
                        <a:lnTo>
                          <a:pt x="2" y="5"/>
                        </a:lnTo>
                        <a:lnTo>
                          <a:pt x="2" y="5"/>
                        </a:lnTo>
                        <a:lnTo>
                          <a:pt x="2" y="5"/>
                        </a:lnTo>
                        <a:lnTo>
                          <a:pt x="3" y="5"/>
                        </a:lnTo>
                        <a:lnTo>
                          <a:pt x="3" y="6"/>
                        </a:lnTo>
                        <a:lnTo>
                          <a:pt x="4" y="6"/>
                        </a:lnTo>
                        <a:lnTo>
                          <a:pt x="4" y="7"/>
                        </a:lnTo>
                        <a:lnTo>
                          <a:pt x="5" y="7"/>
                        </a:lnTo>
                        <a:lnTo>
                          <a:pt x="5" y="6"/>
                        </a:lnTo>
                        <a:lnTo>
                          <a:pt x="6" y="6"/>
                        </a:lnTo>
                        <a:lnTo>
                          <a:pt x="6" y="6"/>
                        </a:lnTo>
                        <a:close/>
                        <a:moveTo>
                          <a:pt x="4" y="5"/>
                        </a:moveTo>
                        <a:lnTo>
                          <a:pt x="3" y="5"/>
                        </a:lnTo>
                        <a:lnTo>
                          <a:pt x="3" y="3"/>
                        </a:lnTo>
                        <a:lnTo>
                          <a:pt x="4" y="3"/>
                        </a:lnTo>
                        <a:lnTo>
                          <a:pt x="4" y="5"/>
                        </a:lnTo>
                        <a:lnTo>
                          <a:pt x="4" y="5"/>
                        </a:lnTo>
                        <a:close/>
                        <a:moveTo>
                          <a:pt x="2" y="3"/>
                        </a:moveTo>
                        <a:lnTo>
                          <a:pt x="0" y="3"/>
                        </a:lnTo>
                        <a:lnTo>
                          <a:pt x="0" y="1"/>
                        </a:lnTo>
                        <a:lnTo>
                          <a:pt x="2" y="1"/>
                        </a:lnTo>
                        <a:lnTo>
                          <a:pt x="2" y="3"/>
                        </a:lnTo>
                        <a:lnTo>
                          <a:pt x="2" y="3"/>
                        </a:lnTo>
                        <a:close/>
                        <a:moveTo>
                          <a:pt x="5" y="6"/>
                        </a:moveTo>
                        <a:lnTo>
                          <a:pt x="4" y="6"/>
                        </a:lnTo>
                        <a:lnTo>
                          <a:pt x="4" y="5"/>
                        </a:lnTo>
                        <a:lnTo>
                          <a:pt x="5" y="5"/>
                        </a:lnTo>
                        <a:lnTo>
                          <a:pt x="5" y="6"/>
                        </a:lnTo>
                        <a:lnTo>
                          <a:pt x="5" y="6"/>
                        </a:lnTo>
                        <a:close/>
                        <a:moveTo>
                          <a:pt x="3" y="3"/>
                        </a:moveTo>
                        <a:lnTo>
                          <a:pt x="2" y="3"/>
                        </a:lnTo>
                        <a:lnTo>
                          <a:pt x="2" y="3"/>
                        </a:lnTo>
                        <a:lnTo>
                          <a:pt x="3" y="3"/>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2" name="Freeform 830"/>
                  <p:cNvSpPr>
                    <a:spLocks/>
                  </p:cNvSpPr>
                  <p:nvPr/>
                </p:nvSpPr>
                <p:spPr bwMode="auto">
                  <a:xfrm>
                    <a:off x="4778759" y="3458892"/>
                    <a:ext cx="22418"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3" name="Freeform 831"/>
                  <p:cNvSpPr>
                    <a:spLocks noEditPoints="1"/>
                  </p:cNvSpPr>
                  <p:nvPr/>
                </p:nvSpPr>
                <p:spPr bwMode="auto">
                  <a:xfrm>
                    <a:off x="4808649" y="345889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3 w 4"/>
                      <a:gd name="T25" fmla="*/ 3 h 6"/>
                      <a:gd name="T26" fmla="*/ 0 w 4"/>
                      <a:gd name="T27" fmla="*/ 3 h 6"/>
                      <a:gd name="T28" fmla="*/ 0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4" name="Freeform 832"/>
                  <p:cNvSpPr>
                    <a:spLocks/>
                  </p:cNvSpPr>
                  <p:nvPr/>
                </p:nvSpPr>
                <p:spPr bwMode="auto">
                  <a:xfrm>
                    <a:off x="4846012" y="3458892"/>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5" name="Freeform 833"/>
                  <p:cNvSpPr>
                    <a:spLocks/>
                  </p:cNvSpPr>
                  <p:nvPr/>
                </p:nvSpPr>
                <p:spPr bwMode="auto">
                  <a:xfrm>
                    <a:off x="4905792" y="3458892"/>
                    <a:ext cx="29890" cy="44835"/>
                  </a:xfrm>
                  <a:custGeom>
                    <a:avLst/>
                    <a:gdLst>
                      <a:gd name="T0" fmla="*/ 4 w 4"/>
                      <a:gd name="T1" fmla="*/ 6 h 6"/>
                      <a:gd name="T2" fmla="*/ 4 w 4"/>
                      <a:gd name="T3" fmla="*/ 5 h 6"/>
                      <a:gd name="T4" fmla="*/ 1 w 4"/>
                      <a:gd name="T5" fmla="*/ 5 h 6"/>
                      <a:gd name="T6" fmla="*/ 1 w 4"/>
                      <a:gd name="T7" fmla="*/ 3 h 6"/>
                      <a:gd name="T8" fmla="*/ 3 w 4"/>
                      <a:gd name="T9" fmla="*/ 3 h 6"/>
                      <a:gd name="T10" fmla="*/ 3 w 4"/>
                      <a:gd name="T11" fmla="*/ 3 h 6"/>
                      <a:gd name="T12" fmla="*/ 1 w 4"/>
                      <a:gd name="T13" fmla="*/ 3 h 6"/>
                      <a:gd name="T14" fmla="*/ 1 w 4"/>
                      <a:gd name="T15" fmla="*/ 1 h 6"/>
                      <a:gd name="T16" fmla="*/ 4 w 4"/>
                      <a:gd name="T17" fmla="*/ 1 h 6"/>
                      <a:gd name="T18" fmla="*/ 4 w 4"/>
                      <a:gd name="T19" fmla="*/ 0 h 6"/>
                      <a:gd name="T20" fmla="*/ 0 w 4"/>
                      <a:gd name="T21" fmla="*/ 0 h 6"/>
                      <a:gd name="T22" fmla="*/ 0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5"/>
                        </a:lnTo>
                        <a:lnTo>
                          <a:pt x="1" y="5"/>
                        </a:lnTo>
                        <a:lnTo>
                          <a:pt x="1" y="3"/>
                        </a:lnTo>
                        <a:lnTo>
                          <a:pt x="3" y="3"/>
                        </a:lnTo>
                        <a:lnTo>
                          <a:pt x="3" y="3"/>
                        </a:lnTo>
                        <a:lnTo>
                          <a:pt x="1" y="3"/>
                        </a:lnTo>
                        <a:lnTo>
                          <a:pt x="1" y="1"/>
                        </a:lnTo>
                        <a:lnTo>
                          <a:pt x="4" y="1"/>
                        </a:lnTo>
                        <a:lnTo>
                          <a:pt x="4" y="0"/>
                        </a:lnTo>
                        <a:lnTo>
                          <a:pt x="0" y="0"/>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6" name="Freeform 834"/>
                  <p:cNvSpPr>
                    <a:spLocks/>
                  </p:cNvSpPr>
                  <p:nvPr/>
                </p:nvSpPr>
                <p:spPr bwMode="auto">
                  <a:xfrm>
                    <a:off x="4943155" y="3458892"/>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7" name="Freeform 835"/>
                  <p:cNvSpPr>
                    <a:spLocks/>
                  </p:cNvSpPr>
                  <p:nvPr/>
                </p:nvSpPr>
                <p:spPr bwMode="auto">
                  <a:xfrm>
                    <a:off x="4973045" y="345889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3 h 6"/>
                      <a:gd name="T16" fmla="*/ 1 w 3"/>
                      <a:gd name="T17" fmla="*/ 3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3"/>
                        </a:lnTo>
                        <a:lnTo>
                          <a:pt x="1" y="3"/>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8" name="Freeform 836"/>
                  <p:cNvSpPr>
                    <a:spLocks noEditPoints="1"/>
                  </p:cNvSpPr>
                  <p:nvPr/>
                </p:nvSpPr>
                <p:spPr bwMode="auto">
                  <a:xfrm>
                    <a:off x="5137440" y="3451419"/>
                    <a:ext cx="44835" cy="52308"/>
                  </a:xfrm>
                  <a:custGeom>
                    <a:avLst/>
                    <a:gdLst>
                      <a:gd name="T0" fmla="*/ 6 w 6"/>
                      <a:gd name="T1" fmla="*/ 4 h 7"/>
                      <a:gd name="T2" fmla="*/ 5 w 6"/>
                      <a:gd name="T3" fmla="*/ 4 h 7"/>
                      <a:gd name="T4" fmla="*/ 4 w 6"/>
                      <a:gd name="T5" fmla="*/ 3 h 7"/>
                      <a:gd name="T6" fmla="*/ 4 w 6"/>
                      <a:gd name="T7" fmla="*/ 2 h 7"/>
                      <a:gd name="T8" fmla="*/ 5 w 6"/>
                      <a:gd name="T9" fmla="*/ 1 h 7"/>
                      <a:gd name="T10" fmla="*/ 6 w 6"/>
                      <a:gd name="T11" fmla="*/ 0 h 7"/>
                      <a:gd name="T12" fmla="*/ 5 w 6"/>
                      <a:gd name="T13" fmla="*/ 1 h 7"/>
                      <a:gd name="T14" fmla="*/ 4 w 6"/>
                      <a:gd name="T15" fmla="*/ 2 h 7"/>
                      <a:gd name="T16" fmla="*/ 4 w 6"/>
                      <a:gd name="T17" fmla="*/ 3 h 7"/>
                      <a:gd name="T18" fmla="*/ 3 w 6"/>
                      <a:gd name="T19" fmla="*/ 1 h 7"/>
                      <a:gd name="T20" fmla="*/ 2 w 6"/>
                      <a:gd name="T21" fmla="*/ 0 h 7"/>
                      <a:gd name="T22" fmla="*/ 0 w 6"/>
                      <a:gd name="T23" fmla="*/ 1 h 7"/>
                      <a:gd name="T24" fmla="*/ 0 w 6"/>
                      <a:gd name="T25" fmla="*/ 3 h 7"/>
                      <a:gd name="T26" fmla="*/ 0 w 6"/>
                      <a:gd name="T27" fmla="*/ 4 h 7"/>
                      <a:gd name="T28" fmla="*/ 2 w 6"/>
                      <a:gd name="T29" fmla="*/ 4 h 7"/>
                      <a:gd name="T30" fmla="*/ 2 w 6"/>
                      <a:gd name="T31" fmla="*/ 5 h 7"/>
                      <a:gd name="T32" fmla="*/ 0 w 6"/>
                      <a:gd name="T33" fmla="*/ 6 h 7"/>
                      <a:gd name="T34" fmla="*/ 0 w 6"/>
                      <a:gd name="T35" fmla="*/ 7 h 7"/>
                      <a:gd name="T36" fmla="*/ 0 w 6"/>
                      <a:gd name="T37" fmla="*/ 6 h 7"/>
                      <a:gd name="T38" fmla="*/ 2 w 6"/>
                      <a:gd name="T39" fmla="*/ 5 h 7"/>
                      <a:gd name="T40" fmla="*/ 2 w 6"/>
                      <a:gd name="T41" fmla="*/ 4 h 7"/>
                      <a:gd name="T42" fmla="*/ 3 w 6"/>
                      <a:gd name="T43" fmla="*/ 6 h 7"/>
                      <a:gd name="T44" fmla="*/ 4 w 6"/>
                      <a:gd name="T45" fmla="*/ 7 h 7"/>
                      <a:gd name="T46" fmla="*/ 5 w 6"/>
                      <a:gd name="T47" fmla="*/ 6 h 7"/>
                      <a:gd name="T48" fmla="*/ 6 w 6"/>
                      <a:gd name="T49" fmla="*/ 6 h 7"/>
                      <a:gd name="T50" fmla="*/ 3 w 6"/>
                      <a:gd name="T51" fmla="*/ 4 h 7"/>
                      <a:gd name="T52" fmla="*/ 4 w 6"/>
                      <a:gd name="T53" fmla="*/ 4 h 7"/>
                      <a:gd name="T54" fmla="*/ 4 w 6"/>
                      <a:gd name="T55" fmla="*/ 4 h 7"/>
                      <a:gd name="T56" fmla="*/ 0 w 6"/>
                      <a:gd name="T57" fmla="*/ 3 h 7"/>
                      <a:gd name="T58" fmla="*/ 2 w 6"/>
                      <a:gd name="T59" fmla="*/ 1 h 7"/>
                      <a:gd name="T60" fmla="*/ 2 w 6"/>
                      <a:gd name="T61" fmla="*/ 3 h 7"/>
                      <a:gd name="T62" fmla="*/ 4 w 6"/>
                      <a:gd name="T63" fmla="*/ 6 h 7"/>
                      <a:gd name="T64" fmla="*/ 5 w 6"/>
                      <a:gd name="T65" fmla="*/ 4 h 7"/>
                      <a:gd name="T66" fmla="*/ 5 w 6"/>
                      <a:gd name="T67" fmla="*/ 6 h 7"/>
                      <a:gd name="T68" fmla="*/ 2 w 6"/>
                      <a:gd name="T69" fmla="*/ 4 h 7"/>
                      <a:gd name="T70" fmla="*/ 3 w 6"/>
                      <a:gd name="T71" fmla="*/ 3 h 7"/>
                      <a:gd name="T72" fmla="*/ 3 w 6"/>
                      <a:gd name="T7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6" y="6"/>
                        </a:moveTo>
                        <a:lnTo>
                          <a:pt x="6" y="4"/>
                        </a:lnTo>
                        <a:lnTo>
                          <a:pt x="5" y="4"/>
                        </a:lnTo>
                        <a:lnTo>
                          <a:pt x="5" y="4"/>
                        </a:lnTo>
                        <a:lnTo>
                          <a:pt x="4" y="4"/>
                        </a:lnTo>
                        <a:lnTo>
                          <a:pt x="4" y="3"/>
                        </a:lnTo>
                        <a:lnTo>
                          <a:pt x="4" y="3"/>
                        </a:lnTo>
                        <a:lnTo>
                          <a:pt x="4" y="2"/>
                        </a:lnTo>
                        <a:lnTo>
                          <a:pt x="5" y="2"/>
                        </a:lnTo>
                        <a:lnTo>
                          <a:pt x="5" y="1"/>
                        </a:lnTo>
                        <a:lnTo>
                          <a:pt x="6" y="1"/>
                        </a:lnTo>
                        <a:lnTo>
                          <a:pt x="6" y="0"/>
                        </a:lnTo>
                        <a:lnTo>
                          <a:pt x="5" y="0"/>
                        </a:lnTo>
                        <a:lnTo>
                          <a:pt x="5" y="1"/>
                        </a:lnTo>
                        <a:lnTo>
                          <a:pt x="4" y="1"/>
                        </a:lnTo>
                        <a:lnTo>
                          <a:pt x="4" y="2"/>
                        </a:lnTo>
                        <a:lnTo>
                          <a:pt x="4" y="2"/>
                        </a:lnTo>
                        <a:lnTo>
                          <a:pt x="4" y="3"/>
                        </a:lnTo>
                        <a:lnTo>
                          <a:pt x="3" y="3"/>
                        </a:lnTo>
                        <a:lnTo>
                          <a:pt x="3" y="1"/>
                        </a:lnTo>
                        <a:lnTo>
                          <a:pt x="2" y="1"/>
                        </a:lnTo>
                        <a:lnTo>
                          <a:pt x="2" y="0"/>
                        </a:lnTo>
                        <a:lnTo>
                          <a:pt x="0" y="0"/>
                        </a:lnTo>
                        <a:lnTo>
                          <a:pt x="0" y="1"/>
                        </a:lnTo>
                        <a:lnTo>
                          <a:pt x="0" y="1"/>
                        </a:lnTo>
                        <a:lnTo>
                          <a:pt x="0" y="3"/>
                        </a:lnTo>
                        <a:lnTo>
                          <a:pt x="0" y="3"/>
                        </a:lnTo>
                        <a:lnTo>
                          <a:pt x="0" y="4"/>
                        </a:lnTo>
                        <a:lnTo>
                          <a:pt x="2" y="4"/>
                        </a:lnTo>
                        <a:lnTo>
                          <a:pt x="2" y="4"/>
                        </a:lnTo>
                        <a:lnTo>
                          <a:pt x="2" y="4"/>
                        </a:lnTo>
                        <a:lnTo>
                          <a:pt x="2" y="5"/>
                        </a:lnTo>
                        <a:lnTo>
                          <a:pt x="0" y="5"/>
                        </a:lnTo>
                        <a:lnTo>
                          <a:pt x="0" y="6"/>
                        </a:lnTo>
                        <a:lnTo>
                          <a:pt x="0" y="6"/>
                        </a:lnTo>
                        <a:lnTo>
                          <a:pt x="0" y="7"/>
                        </a:lnTo>
                        <a:lnTo>
                          <a:pt x="0" y="7"/>
                        </a:lnTo>
                        <a:lnTo>
                          <a:pt x="0" y="6"/>
                        </a:lnTo>
                        <a:lnTo>
                          <a:pt x="2" y="6"/>
                        </a:lnTo>
                        <a:lnTo>
                          <a:pt x="2" y="5"/>
                        </a:lnTo>
                        <a:lnTo>
                          <a:pt x="2" y="5"/>
                        </a:lnTo>
                        <a:lnTo>
                          <a:pt x="2" y="4"/>
                        </a:lnTo>
                        <a:lnTo>
                          <a:pt x="3" y="4"/>
                        </a:lnTo>
                        <a:lnTo>
                          <a:pt x="3" y="6"/>
                        </a:lnTo>
                        <a:lnTo>
                          <a:pt x="4" y="6"/>
                        </a:lnTo>
                        <a:lnTo>
                          <a:pt x="4" y="7"/>
                        </a:lnTo>
                        <a:lnTo>
                          <a:pt x="5" y="7"/>
                        </a:lnTo>
                        <a:lnTo>
                          <a:pt x="5" y="6"/>
                        </a:lnTo>
                        <a:lnTo>
                          <a:pt x="6" y="6"/>
                        </a:lnTo>
                        <a:lnTo>
                          <a:pt x="6" y="6"/>
                        </a:lnTo>
                        <a:close/>
                        <a:moveTo>
                          <a:pt x="4" y="4"/>
                        </a:moveTo>
                        <a:lnTo>
                          <a:pt x="3" y="4"/>
                        </a:lnTo>
                        <a:lnTo>
                          <a:pt x="3" y="4"/>
                        </a:lnTo>
                        <a:lnTo>
                          <a:pt x="4" y="4"/>
                        </a:lnTo>
                        <a:lnTo>
                          <a:pt x="4" y="4"/>
                        </a:lnTo>
                        <a:lnTo>
                          <a:pt x="4" y="4"/>
                        </a:lnTo>
                        <a:close/>
                        <a:moveTo>
                          <a:pt x="2" y="3"/>
                        </a:moveTo>
                        <a:lnTo>
                          <a:pt x="0" y="3"/>
                        </a:lnTo>
                        <a:lnTo>
                          <a:pt x="0" y="1"/>
                        </a:lnTo>
                        <a:lnTo>
                          <a:pt x="2" y="1"/>
                        </a:lnTo>
                        <a:lnTo>
                          <a:pt x="2" y="3"/>
                        </a:lnTo>
                        <a:lnTo>
                          <a:pt x="2" y="3"/>
                        </a:lnTo>
                        <a:close/>
                        <a:moveTo>
                          <a:pt x="5" y="6"/>
                        </a:moveTo>
                        <a:lnTo>
                          <a:pt x="4" y="6"/>
                        </a:lnTo>
                        <a:lnTo>
                          <a:pt x="4" y="4"/>
                        </a:lnTo>
                        <a:lnTo>
                          <a:pt x="5" y="4"/>
                        </a:lnTo>
                        <a:lnTo>
                          <a:pt x="5" y="6"/>
                        </a:lnTo>
                        <a:lnTo>
                          <a:pt x="5" y="6"/>
                        </a:lnTo>
                        <a:close/>
                        <a:moveTo>
                          <a:pt x="3" y="4"/>
                        </a:moveTo>
                        <a:lnTo>
                          <a:pt x="2" y="4"/>
                        </a:lnTo>
                        <a:lnTo>
                          <a:pt x="2"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89" name="Freeform 837"/>
                  <p:cNvSpPr>
                    <a:spLocks noEditPoints="1"/>
                  </p:cNvSpPr>
                  <p:nvPr/>
                </p:nvSpPr>
                <p:spPr bwMode="auto">
                  <a:xfrm>
                    <a:off x="5324253" y="3309441"/>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0" name="Freeform 838"/>
                  <p:cNvSpPr>
                    <a:spLocks noEditPoints="1"/>
                  </p:cNvSpPr>
                  <p:nvPr/>
                </p:nvSpPr>
                <p:spPr bwMode="auto">
                  <a:xfrm>
                    <a:off x="5354144" y="3309441"/>
                    <a:ext cx="44835" cy="44835"/>
                  </a:xfrm>
                  <a:custGeom>
                    <a:avLst/>
                    <a:gdLst>
                      <a:gd name="T0" fmla="*/ 6 w 6"/>
                      <a:gd name="T1" fmla="*/ 4 h 6"/>
                      <a:gd name="T2" fmla="*/ 6 w 6"/>
                      <a:gd name="T3" fmla="*/ 3 h 6"/>
                      <a:gd name="T4" fmla="*/ 4 w 6"/>
                      <a:gd name="T5" fmla="*/ 3 h 6"/>
                      <a:gd name="T6" fmla="*/ 4 w 6"/>
                      <a:gd name="T7" fmla="*/ 0 h 6"/>
                      <a:gd name="T8" fmla="*/ 4 w 6"/>
                      <a:gd name="T9" fmla="*/ 0 h 6"/>
                      <a:gd name="T10" fmla="*/ 4 w 6"/>
                      <a:gd name="T11" fmla="*/ 1 h 6"/>
                      <a:gd name="T12" fmla="*/ 3 w 6"/>
                      <a:gd name="T13" fmla="*/ 1 h 6"/>
                      <a:gd name="T14" fmla="*/ 3 w 6"/>
                      <a:gd name="T15" fmla="*/ 2 h 6"/>
                      <a:gd name="T16" fmla="*/ 2 w 6"/>
                      <a:gd name="T17" fmla="*/ 2 h 6"/>
                      <a:gd name="T18" fmla="*/ 2 w 6"/>
                      <a:gd name="T19" fmla="*/ 3 h 6"/>
                      <a:gd name="T20" fmla="*/ 1 w 6"/>
                      <a:gd name="T21" fmla="*/ 3 h 6"/>
                      <a:gd name="T22" fmla="*/ 1 w 6"/>
                      <a:gd name="T23" fmla="*/ 3 h 6"/>
                      <a:gd name="T24" fmla="*/ 0 w 6"/>
                      <a:gd name="T25" fmla="*/ 3 h 6"/>
                      <a:gd name="T26" fmla="*/ 0 w 6"/>
                      <a:gd name="T27" fmla="*/ 4 h 6"/>
                      <a:gd name="T28" fmla="*/ 4 w 6"/>
                      <a:gd name="T29" fmla="*/ 4 h 6"/>
                      <a:gd name="T30" fmla="*/ 4 w 6"/>
                      <a:gd name="T31" fmla="*/ 6 h 6"/>
                      <a:gd name="T32" fmla="*/ 4 w 6"/>
                      <a:gd name="T33" fmla="*/ 6 h 6"/>
                      <a:gd name="T34" fmla="*/ 4 w 6"/>
                      <a:gd name="T35" fmla="*/ 4 h 6"/>
                      <a:gd name="T36" fmla="*/ 6 w 6"/>
                      <a:gd name="T37" fmla="*/ 4 h 6"/>
                      <a:gd name="T38" fmla="*/ 6 w 6"/>
                      <a:gd name="T39" fmla="*/ 4 h 6"/>
                      <a:gd name="T40" fmla="*/ 4 w 6"/>
                      <a:gd name="T41" fmla="*/ 3 h 6"/>
                      <a:gd name="T42" fmla="*/ 2 w 6"/>
                      <a:gd name="T43" fmla="*/ 3 h 6"/>
                      <a:gd name="T44" fmla="*/ 2 w 6"/>
                      <a:gd name="T45" fmla="*/ 3 h 6"/>
                      <a:gd name="T46" fmla="*/ 3 w 6"/>
                      <a:gd name="T47" fmla="*/ 3 h 6"/>
                      <a:gd name="T48" fmla="*/ 3 w 6"/>
                      <a:gd name="T49" fmla="*/ 2 h 6"/>
                      <a:gd name="T50" fmla="*/ 4 w 6"/>
                      <a:gd name="T51" fmla="*/ 2 h 6"/>
                      <a:gd name="T52" fmla="*/ 4 w 6"/>
                      <a:gd name="T53" fmla="*/ 3 h 6"/>
                      <a:gd name="T54" fmla="*/ 4 w 6"/>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6" y="4"/>
                        </a:moveTo>
                        <a:lnTo>
                          <a:pt x="6" y="3"/>
                        </a:lnTo>
                        <a:lnTo>
                          <a:pt x="4" y="3"/>
                        </a:lnTo>
                        <a:lnTo>
                          <a:pt x="4" y="0"/>
                        </a:lnTo>
                        <a:lnTo>
                          <a:pt x="4" y="0"/>
                        </a:lnTo>
                        <a:lnTo>
                          <a:pt x="4" y="1"/>
                        </a:lnTo>
                        <a:lnTo>
                          <a:pt x="3" y="1"/>
                        </a:lnTo>
                        <a:lnTo>
                          <a:pt x="3" y="2"/>
                        </a:lnTo>
                        <a:lnTo>
                          <a:pt x="2" y="2"/>
                        </a:lnTo>
                        <a:lnTo>
                          <a:pt x="2" y="3"/>
                        </a:lnTo>
                        <a:lnTo>
                          <a:pt x="1" y="3"/>
                        </a:lnTo>
                        <a:lnTo>
                          <a:pt x="1" y="3"/>
                        </a:lnTo>
                        <a:lnTo>
                          <a:pt x="0" y="3"/>
                        </a:lnTo>
                        <a:lnTo>
                          <a:pt x="0" y="4"/>
                        </a:lnTo>
                        <a:lnTo>
                          <a:pt x="4" y="4"/>
                        </a:lnTo>
                        <a:lnTo>
                          <a:pt x="4" y="6"/>
                        </a:lnTo>
                        <a:lnTo>
                          <a:pt x="4" y="6"/>
                        </a:lnTo>
                        <a:lnTo>
                          <a:pt x="4" y="4"/>
                        </a:lnTo>
                        <a:lnTo>
                          <a:pt x="6" y="4"/>
                        </a:lnTo>
                        <a:lnTo>
                          <a:pt x="6" y="4"/>
                        </a:lnTo>
                        <a:close/>
                        <a:moveTo>
                          <a:pt x="4" y="3"/>
                        </a:moveTo>
                        <a:lnTo>
                          <a:pt x="2" y="3"/>
                        </a:lnTo>
                        <a:lnTo>
                          <a:pt x="2" y="3"/>
                        </a:lnTo>
                        <a:lnTo>
                          <a:pt x="3" y="3"/>
                        </a:lnTo>
                        <a:lnTo>
                          <a:pt x="3" y="2"/>
                        </a:lnTo>
                        <a:lnTo>
                          <a:pt x="4" y="2"/>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1" name="Freeform 839"/>
                  <p:cNvSpPr>
                    <a:spLocks/>
                  </p:cNvSpPr>
                  <p:nvPr/>
                </p:nvSpPr>
                <p:spPr bwMode="auto">
                  <a:xfrm>
                    <a:off x="5406451" y="334680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2" name="Freeform 840"/>
                  <p:cNvSpPr>
                    <a:spLocks/>
                  </p:cNvSpPr>
                  <p:nvPr/>
                </p:nvSpPr>
                <p:spPr bwMode="auto">
                  <a:xfrm>
                    <a:off x="5413924" y="3309441"/>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3" name="Freeform 841"/>
                  <p:cNvSpPr>
                    <a:spLocks noEditPoints="1"/>
                  </p:cNvSpPr>
                  <p:nvPr/>
                </p:nvSpPr>
                <p:spPr bwMode="auto">
                  <a:xfrm>
                    <a:off x="5443814" y="3309441"/>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4" name="Freeform 842"/>
                  <p:cNvSpPr>
                    <a:spLocks/>
                  </p:cNvSpPr>
                  <p:nvPr/>
                </p:nvSpPr>
                <p:spPr bwMode="auto">
                  <a:xfrm>
                    <a:off x="5481176" y="3309441"/>
                    <a:ext cx="29890" cy="44835"/>
                  </a:xfrm>
                  <a:custGeom>
                    <a:avLst/>
                    <a:gdLst>
                      <a:gd name="T0" fmla="*/ 4 w 4"/>
                      <a:gd name="T1" fmla="*/ 5 h 6"/>
                      <a:gd name="T2" fmla="*/ 4 w 4"/>
                      <a:gd name="T3" fmla="*/ 3 h 6"/>
                      <a:gd name="T4" fmla="*/ 3 w 4"/>
                      <a:gd name="T5" fmla="*/ 3 h 6"/>
                      <a:gd name="T6" fmla="*/ 3 w 4"/>
                      <a:gd name="T7" fmla="*/ 3 h 6"/>
                      <a:gd name="T8" fmla="*/ 2 w 4"/>
                      <a:gd name="T9" fmla="*/ 3 h 6"/>
                      <a:gd name="T10" fmla="*/ 2 w 4"/>
                      <a:gd name="T11" fmla="*/ 2 h 6"/>
                      <a:gd name="T12" fmla="*/ 3 w 4"/>
                      <a:gd name="T13" fmla="*/ 2 h 6"/>
                      <a:gd name="T14" fmla="*/ 3 w 4"/>
                      <a:gd name="T15" fmla="*/ 1 h 6"/>
                      <a:gd name="T16" fmla="*/ 4 w 4"/>
                      <a:gd name="T17" fmla="*/ 1 h 6"/>
                      <a:gd name="T18" fmla="*/ 4 w 4"/>
                      <a:gd name="T19" fmla="*/ 0 h 6"/>
                      <a:gd name="T20" fmla="*/ 0 w 4"/>
                      <a:gd name="T21" fmla="*/ 0 h 6"/>
                      <a:gd name="T22" fmla="*/ 0 w 4"/>
                      <a:gd name="T23" fmla="*/ 1 h 6"/>
                      <a:gd name="T24" fmla="*/ 2 w 4"/>
                      <a:gd name="T25" fmla="*/ 1 h 6"/>
                      <a:gd name="T26" fmla="*/ 2 w 4"/>
                      <a:gd name="T27" fmla="*/ 2 h 6"/>
                      <a:gd name="T28" fmla="*/ 2 w 4"/>
                      <a:gd name="T29" fmla="*/ 2 h 6"/>
                      <a:gd name="T30" fmla="*/ 2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2" y="3"/>
                        </a:lnTo>
                        <a:lnTo>
                          <a:pt x="2" y="2"/>
                        </a:lnTo>
                        <a:lnTo>
                          <a:pt x="3" y="2"/>
                        </a:lnTo>
                        <a:lnTo>
                          <a:pt x="3" y="1"/>
                        </a:lnTo>
                        <a:lnTo>
                          <a:pt x="4" y="1"/>
                        </a:lnTo>
                        <a:lnTo>
                          <a:pt x="4" y="0"/>
                        </a:lnTo>
                        <a:lnTo>
                          <a:pt x="0" y="0"/>
                        </a:lnTo>
                        <a:lnTo>
                          <a:pt x="0" y="1"/>
                        </a:lnTo>
                        <a:lnTo>
                          <a:pt x="2" y="1"/>
                        </a:lnTo>
                        <a:lnTo>
                          <a:pt x="2" y="2"/>
                        </a:lnTo>
                        <a:lnTo>
                          <a:pt x="2" y="2"/>
                        </a:lnTo>
                        <a:lnTo>
                          <a:pt x="2"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5" name="Freeform 843"/>
                  <p:cNvSpPr>
                    <a:spLocks noEditPoints="1"/>
                  </p:cNvSpPr>
                  <p:nvPr/>
                </p:nvSpPr>
                <p:spPr bwMode="auto">
                  <a:xfrm>
                    <a:off x="5324253"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6" name="Freeform 844"/>
                  <p:cNvSpPr>
                    <a:spLocks noEditPoints="1"/>
                  </p:cNvSpPr>
                  <p:nvPr/>
                </p:nvSpPr>
                <p:spPr bwMode="auto">
                  <a:xfrm>
                    <a:off x="5354144" y="3384167"/>
                    <a:ext cx="29890" cy="44835"/>
                  </a:xfrm>
                  <a:custGeom>
                    <a:avLst/>
                    <a:gdLst>
                      <a:gd name="T0" fmla="*/ 4 w 4"/>
                      <a:gd name="T1" fmla="*/ 5 h 6"/>
                      <a:gd name="T2" fmla="*/ 4 w 4"/>
                      <a:gd name="T3" fmla="*/ 4 h 6"/>
                      <a:gd name="T4" fmla="*/ 4 w 4"/>
                      <a:gd name="T5" fmla="*/ 4 h 6"/>
                      <a:gd name="T6" fmla="*/ 4 w 4"/>
                      <a:gd name="T7" fmla="*/ 2 h 6"/>
                      <a:gd name="T8" fmla="*/ 1 w 4"/>
                      <a:gd name="T9" fmla="*/ 2 h 6"/>
                      <a:gd name="T10" fmla="*/ 1 w 4"/>
                      <a:gd name="T11" fmla="*/ 2 h 6"/>
                      <a:gd name="T12" fmla="*/ 2 w 4"/>
                      <a:gd name="T13" fmla="*/ 2 h 6"/>
                      <a:gd name="T14" fmla="*/ 2 w 4"/>
                      <a:gd name="T15" fmla="*/ 1 h 6"/>
                      <a:gd name="T16" fmla="*/ 4 w 4"/>
                      <a:gd name="T17" fmla="*/ 1 h 6"/>
                      <a:gd name="T18" fmla="*/ 4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 name="T44" fmla="*/ 4 w 4"/>
                      <a:gd name="T45" fmla="*/ 5 h 6"/>
                      <a:gd name="T46" fmla="*/ 1 w 4"/>
                      <a:gd name="T47" fmla="*/ 5 h 6"/>
                      <a:gd name="T48" fmla="*/ 1 w 4"/>
                      <a:gd name="T49" fmla="*/ 4 h 6"/>
                      <a:gd name="T50" fmla="*/ 4 w 4"/>
                      <a:gd name="T51" fmla="*/ 4 h 6"/>
                      <a:gd name="T52" fmla="*/ 4 w 4"/>
                      <a:gd name="T53" fmla="*/ 5 h 6"/>
                      <a:gd name="T54" fmla="*/ 4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4" y="4"/>
                        </a:lnTo>
                        <a:lnTo>
                          <a:pt x="4" y="2"/>
                        </a:lnTo>
                        <a:lnTo>
                          <a:pt x="1" y="2"/>
                        </a:lnTo>
                        <a:lnTo>
                          <a:pt x="1" y="2"/>
                        </a:lnTo>
                        <a:lnTo>
                          <a:pt x="2" y="2"/>
                        </a:lnTo>
                        <a:lnTo>
                          <a:pt x="2" y="1"/>
                        </a:lnTo>
                        <a:lnTo>
                          <a:pt x="4" y="1"/>
                        </a:lnTo>
                        <a:lnTo>
                          <a:pt x="4" y="0"/>
                        </a:lnTo>
                        <a:lnTo>
                          <a:pt x="2" y="0"/>
                        </a:lnTo>
                        <a:lnTo>
                          <a:pt x="2" y="1"/>
                        </a:lnTo>
                        <a:lnTo>
                          <a:pt x="1" y="1"/>
                        </a:lnTo>
                        <a:lnTo>
                          <a:pt x="1" y="2"/>
                        </a:lnTo>
                        <a:lnTo>
                          <a:pt x="0" y="2"/>
                        </a:lnTo>
                        <a:lnTo>
                          <a:pt x="0" y="5"/>
                        </a:lnTo>
                        <a:lnTo>
                          <a:pt x="1" y="5"/>
                        </a:lnTo>
                        <a:lnTo>
                          <a:pt x="1" y="6"/>
                        </a:lnTo>
                        <a:lnTo>
                          <a:pt x="4" y="6"/>
                        </a:lnTo>
                        <a:lnTo>
                          <a:pt x="4" y="5"/>
                        </a:lnTo>
                        <a:lnTo>
                          <a:pt x="4" y="5"/>
                        </a:lnTo>
                        <a:lnTo>
                          <a:pt x="4" y="5"/>
                        </a:lnTo>
                        <a:close/>
                        <a:moveTo>
                          <a:pt x="4" y="5"/>
                        </a:moveTo>
                        <a:lnTo>
                          <a:pt x="1" y="5"/>
                        </a:lnTo>
                        <a:lnTo>
                          <a:pt x="1" y="4"/>
                        </a:lnTo>
                        <a:lnTo>
                          <a:pt x="4" y="4"/>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7" name="Freeform 845"/>
                  <p:cNvSpPr>
                    <a:spLocks/>
                  </p:cNvSpPr>
                  <p:nvPr/>
                </p:nvSpPr>
                <p:spPr bwMode="auto">
                  <a:xfrm>
                    <a:off x="5398979" y="342152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8" name="Freeform 846"/>
                  <p:cNvSpPr>
                    <a:spLocks noEditPoints="1"/>
                  </p:cNvSpPr>
                  <p:nvPr/>
                </p:nvSpPr>
                <p:spPr bwMode="auto">
                  <a:xfrm>
                    <a:off x="5413924" y="3384167"/>
                    <a:ext cx="22418" cy="44835"/>
                  </a:xfrm>
                  <a:custGeom>
                    <a:avLst/>
                    <a:gdLst>
                      <a:gd name="T0" fmla="*/ 3 w 3"/>
                      <a:gd name="T1" fmla="*/ 5 h 6"/>
                      <a:gd name="T2" fmla="*/ 3 w 3"/>
                      <a:gd name="T3" fmla="*/ 4 h 6"/>
                      <a:gd name="T4" fmla="*/ 3 w 3"/>
                      <a:gd name="T5" fmla="*/ 4 h 6"/>
                      <a:gd name="T6" fmla="*/ 3 w 3"/>
                      <a:gd name="T7" fmla="*/ 2 h 6"/>
                      <a:gd name="T8" fmla="*/ 3 w 3"/>
                      <a:gd name="T9" fmla="*/ 2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2 h 6"/>
                      <a:gd name="T24" fmla="*/ 0 w 3"/>
                      <a:gd name="T25" fmla="*/ 2 h 6"/>
                      <a:gd name="T26" fmla="*/ 0 w 3"/>
                      <a:gd name="T27" fmla="*/ 4 h 6"/>
                      <a:gd name="T28" fmla="*/ 0 w 3"/>
                      <a:gd name="T29" fmla="*/ 4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 name="T56" fmla="*/ 3 w 3"/>
                      <a:gd name="T57" fmla="*/ 5 h 6"/>
                      <a:gd name="T58" fmla="*/ 0 w 3"/>
                      <a:gd name="T59" fmla="*/ 5 h 6"/>
                      <a:gd name="T60" fmla="*/ 0 w 3"/>
                      <a:gd name="T61" fmla="*/ 4 h 6"/>
                      <a:gd name="T62" fmla="*/ 3 w 3"/>
                      <a:gd name="T63" fmla="*/ 4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4"/>
                        </a:lnTo>
                        <a:lnTo>
                          <a:pt x="3" y="4"/>
                        </a:lnTo>
                        <a:lnTo>
                          <a:pt x="3" y="2"/>
                        </a:lnTo>
                        <a:lnTo>
                          <a:pt x="3" y="2"/>
                        </a:lnTo>
                        <a:lnTo>
                          <a:pt x="3" y="1"/>
                        </a:lnTo>
                        <a:lnTo>
                          <a:pt x="3" y="1"/>
                        </a:lnTo>
                        <a:lnTo>
                          <a:pt x="3" y="0"/>
                        </a:lnTo>
                        <a:lnTo>
                          <a:pt x="0" y="0"/>
                        </a:lnTo>
                        <a:lnTo>
                          <a:pt x="0" y="1"/>
                        </a:lnTo>
                        <a:lnTo>
                          <a:pt x="0" y="1"/>
                        </a:lnTo>
                        <a:lnTo>
                          <a:pt x="0" y="2"/>
                        </a:lnTo>
                        <a:lnTo>
                          <a:pt x="0" y="2"/>
                        </a:lnTo>
                        <a:lnTo>
                          <a:pt x="0" y="4"/>
                        </a:lnTo>
                        <a:lnTo>
                          <a:pt x="0" y="4"/>
                        </a:lnTo>
                        <a:lnTo>
                          <a:pt x="0" y="5"/>
                        </a:lnTo>
                        <a:lnTo>
                          <a:pt x="0" y="5"/>
                        </a:lnTo>
                        <a:lnTo>
                          <a:pt x="0" y="6"/>
                        </a:lnTo>
                        <a:lnTo>
                          <a:pt x="3" y="6"/>
                        </a:lnTo>
                        <a:lnTo>
                          <a:pt x="3" y="5"/>
                        </a:lnTo>
                        <a:lnTo>
                          <a:pt x="3" y="5"/>
                        </a:lnTo>
                        <a:lnTo>
                          <a:pt x="3" y="5"/>
                        </a:lnTo>
                        <a:close/>
                        <a:moveTo>
                          <a:pt x="3" y="2"/>
                        </a:moveTo>
                        <a:lnTo>
                          <a:pt x="0" y="2"/>
                        </a:lnTo>
                        <a:lnTo>
                          <a:pt x="0" y="1"/>
                        </a:lnTo>
                        <a:lnTo>
                          <a:pt x="3" y="1"/>
                        </a:lnTo>
                        <a:lnTo>
                          <a:pt x="3" y="2"/>
                        </a:lnTo>
                        <a:lnTo>
                          <a:pt x="3" y="2"/>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99" name="Freeform 847"/>
                  <p:cNvSpPr>
                    <a:spLocks/>
                  </p:cNvSpPr>
                  <p:nvPr/>
                </p:nvSpPr>
                <p:spPr bwMode="auto">
                  <a:xfrm>
                    <a:off x="5451286" y="3384167"/>
                    <a:ext cx="22418" cy="44835"/>
                  </a:xfrm>
                  <a:custGeom>
                    <a:avLst/>
                    <a:gdLst>
                      <a:gd name="T0" fmla="*/ 3 w 3"/>
                      <a:gd name="T1" fmla="*/ 2 h 6"/>
                      <a:gd name="T2" fmla="*/ 3 w 3"/>
                      <a:gd name="T3" fmla="*/ 0 h 6"/>
                      <a:gd name="T4" fmla="*/ 0 w 3"/>
                      <a:gd name="T5" fmla="*/ 0 h 6"/>
                      <a:gd name="T6" fmla="*/ 0 w 3"/>
                      <a:gd name="T7" fmla="*/ 1 h 6"/>
                      <a:gd name="T8" fmla="*/ 3 w 3"/>
                      <a:gd name="T9" fmla="*/ 1 h 6"/>
                      <a:gd name="T10" fmla="*/ 3 w 3"/>
                      <a:gd name="T11" fmla="*/ 2 h 6"/>
                      <a:gd name="T12" fmla="*/ 2 w 3"/>
                      <a:gd name="T13" fmla="*/ 2 h 6"/>
                      <a:gd name="T14" fmla="*/ 2 w 3"/>
                      <a:gd name="T15" fmla="*/ 4 h 6"/>
                      <a:gd name="T16" fmla="*/ 1 w 3"/>
                      <a:gd name="T17" fmla="*/ 4 h 6"/>
                      <a:gd name="T18" fmla="*/ 1 w 3"/>
                      <a:gd name="T19" fmla="*/ 6 h 6"/>
                      <a:gd name="T20" fmla="*/ 2 w 3"/>
                      <a:gd name="T21" fmla="*/ 6 h 6"/>
                      <a:gd name="T22" fmla="*/ 2 w 3"/>
                      <a:gd name="T23" fmla="*/ 4 h 6"/>
                      <a:gd name="T24" fmla="*/ 3 w 3"/>
                      <a:gd name="T25" fmla="*/ 4 h 6"/>
                      <a:gd name="T26" fmla="*/ 3 w 3"/>
                      <a:gd name="T27" fmla="*/ 2 h 6"/>
                      <a:gd name="T28" fmla="*/ 3 w 3"/>
                      <a:gd name="T29" fmla="*/ 2 h 6"/>
                      <a:gd name="T30" fmla="*/ 3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3" y="2"/>
                        </a:moveTo>
                        <a:lnTo>
                          <a:pt x="3" y="0"/>
                        </a:lnTo>
                        <a:lnTo>
                          <a:pt x="0" y="0"/>
                        </a:lnTo>
                        <a:lnTo>
                          <a:pt x="0" y="1"/>
                        </a:lnTo>
                        <a:lnTo>
                          <a:pt x="3" y="1"/>
                        </a:lnTo>
                        <a:lnTo>
                          <a:pt x="3" y="2"/>
                        </a:lnTo>
                        <a:lnTo>
                          <a:pt x="2" y="2"/>
                        </a:lnTo>
                        <a:lnTo>
                          <a:pt x="2" y="4"/>
                        </a:lnTo>
                        <a:lnTo>
                          <a:pt x="1" y="4"/>
                        </a:lnTo>
                        <a:lnTo>
                          <a:pt x="1" y="6"/>
                        </a:lnTo>
                        <a:lnTo>
                          <a:pt x="2" y="6"/>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0" name="Freeform 848"/>
                  <p:cNvSpPr>
                    <a:spLocks/>
                  </p:cNvSpPr>
                  <p:nvPr/>
                </p:nvSpPr>
                <p:spPr bwMode="auto">
                  <a:xfrm>
                    <a:off x="5488649" y="3384167"/>
                    <a:ext cx="14945" cy="44835"/>
                  </a:xfrm>
                  <a:custGeom>
                    <a:avLst/>
                    <a:gdLst>
                      <a:gd name="T0" fmla="*/ 2 w 2"/>
                      <a:gd name="T1" fmla="*/ 6 h 6"/>
                      <a:gd name="T2" fmla="*/ 2 w 2"/>
                      <a:gd name="T3" fmla="*/ 0 h 6"/>
                      <a:gd name="T4" fmla="*/ 1 w 2"/>
                      <a:gd name="T5" fmla="*/ 0 h 6"/>
                      <a:gd name="T6" fmla="*/ 1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1" y="1"/>
                        </a:lnTo>
                        <a:lnTo>
                          <a:pt x="1" y="2"/>
                        </a:lnTo>
                        <a:lnTo>
                          <a:pt x="0" y="2"/>
                        </a:lnTo>
                        <a:lnTo>
                          <a:pt x="0" y="2"/>
                        </a:lnTo>
                        <a:lnTo>
                          <a:pt x="1" y="2"/>
                        </a:lnTo>
                        <a:lnTo>
                          <a:pt x="1"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1" name="Freeform 849"/>
                  <p:cNvSpPr>
                    <a:spLocks noEditPoints="1"/>
                  </p:cNvSpPr>
                  <p:nvPr/>
                </p:nvSpPr>
                <p:spPr bwMode="auto">
                  <a:xfrm>
                    <a:off x="5324253" y="3458892"/>
                    <a:ext cx="22418" cy="44835"/>
                  </a:xfrm>
                  <a:custGeom>
                    <a:avLst/>
                    <a:gdLst>
                      <a:gd name="T0" fmla="*/ 3 w 3"/>
                      <a:gd name="T1" fmla="*/ 5 h 6"/>
                      <a:gd name="T2" fmla="*/ 3 w 3"/>
                      <a:gd name="T3" fmla="*/ 3 h 6"/>
                      <a:gd name="T4" fmla="*/ 3 w 3"/>
                      <a:gd name="T5" fmla="*/ 3 h 6"/>
                      <a:gd name="T6" fmla="*/ 3 w 3"/>
                      <a:gd name="T7" fmla="*/ 3 h 6"/>
                      <a:gd name="T8" fmla="*/ 3 w 3"/>
                      <a:gd name="T9" fmla="*/ 3 h 6"/>
                      <a:gd name="T10" fmla="*/ 3 w 3"/>
                      <a:gd name="T11" fmla="*/ 1 h 6"/>
                      <a:gd name="T12" fmla="*/ 3 w 3"/>
                      <a:gd name="T13" fmla="*/ 1 h 6"/>
                      <a:gd name="T14" fmla="*/ 3 w 3"/>
                      <a:gd name="T15" fmla="*/ 0 h 6"/>
                      <a:gd name="T16" fmla="*/ 0 w 3"/>
                      <a:gd name="T17" fmla="*/ 0 h 6"/>
                      <a:gd name="T18" fmla="*/ 0 w 3"/>
                      <a:gd name="T19" fmla="*/ 1 h 6"/>
                      <a:gd name="T20" fmla="*/ 0 w 3"/>
                      <a:gd name="T21" fmla="*/ 1 h 6"/>
                      <a:gd name="T22" fmla="*/ 0 w 3"/>
                      <a:gd name="T23" fmla="*/ 3 h 6"/>
                      <a:gd name="T24" fmla="*/ 0 w 3"/>
                      <a:gd name="T25" fmla="*/ 3 h 6"/>
                      <a:gd name="T26" fmla="*/ 0 w 3"/>
                      <a:gd name="T27" fmla="*/ 3 h 6"/>
                      <a:gd name="T28" fmla="*/ 0 w 3"/>
                      <a:gd name="T29" fmla="*/ 3 h 6"/>
                      <a:gd name="T30" fmla="*/ 0 w 3"/>
                      <a:gd name="T31" fmla="*/ 5 h 6"/>
                      <a:gd name="T32" fmla="*/ 0 w 3"/>
                      <a:gd name="T33" fmla="*/ 5 h 6"/>
                      <a:gd name="T34" fmla="*/ 0 w 3"/>
                      <a:gd name="T35" fmla="*/ 6 h 6"/>
                      <a:gd name="T36" fmla="*/ 3 w 3"/>
                      <a:gd name="T37" fmla="*/ 6 h 6"/>
                      <a:gd name="T38" fmla="*/ 3 w 3"/>
                      <a:gd name="T39" fmla="*/ 5 h 6"/>
                      <a:gd name="T40" fmla="*/ 3 w 3"/>
                      <a:gd name="T41" fmla="*/ 5 h 6"/>
                      <a:gd name="T42" fmla="*/ 3 w 3"/>
                      <a:gd name="T43" fmla="*/ 5 h 6"/>
                      <a:gd name="T44" fmla="*/ 3 w 3"/>
                      <a:gd name="T45" fmla="*/ 3 h 6"/>
                      <a:gd name="T46" fmla="*/ 0 w 3"/>
                      <a:gd name="T47" fmla="*/ 3 h 6"/>
                      <a:gd name="T48" fmla="*/ 0 w 3"/>
                      <a:gd name="T49" fmla="*/ 1 h 6"/>
                      <a:gd name="T50" fmla="*/ 3 w 3"/>
                      <a:gd name="T51" fmla="*/ 1 h 6"/>
                      <a:gd name="T52" fmla="*/ 3 w 3"/>
                      <a:gd name="T53" fmla="*/ 3 h 6"/>
                      <a:gd name="T54" fmla="*/ 3 w 3"/>
                      <a:gd name="T55" fmla="*/ 3 h 6"/>
                      <a:gd name="T56" fmla="*/ 3 w 3"/>
                      <a:gd name="T57" fmla="*/ 5 h 6"/>
                      <a:gd name="T58" fmla="*/ 0 w 3"/>
                      <a:gd name="T59" fmla="*/ 5 h 6"/>
                      <a:gd name="T60" fmla="*/ 0 w 3"/>
                      <a:gd name="T61" fmla="*/ 3 h 6"/>
                      <a:gd name="T62" fmla="*/ 3 w 3"/>
                      <a:gd name="T63" fmla="*/ 3 h 6"/>
                      <a:gd name="T64" fmla="*/ 3 w 3"/>
                      <a:gd name="T65" fmla="*/ 5 h 6"/>
                      <a:gd name="T66" fmla="*/ 3 w 3"/>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6">
                        <a:moveTo>
                          <a:pt x="3" y="5"/>
                        </a:moveTo>
                        <a:lnTo>
                          <a:pt x="3" y="3"/>
                        </a:lnTo>
                        <a:lnTo>
                          <a:pt x="3" y="3"/>
                        </a:lnTo>
                        <a:lnTo>
                          <a:pt x="3" y="3"/>
                        </a:lnTo>
                        <a:lnTo>
                          <a:pt x="3" y="3"/>
                        </a:lnTo>
                        <a:lnTo>
                          <a:pt x="3" y="1"/>
                        </a:lnTo>
                        <a:lnTo>
                          <a:pt x="3" y="1"/>
                        </a:lnTo>
                        <a:lnTo>
                          <a:pt x="3" y="0"/>
                        </a:lnTo>
                        <a:lnTo>
                          <a:pt x="0" y="0"/>
                        </a:lnTo>
                        <a:lnTo>
                          <a:pt x="0" y="1"/>
                        </a:lnTo>
                        <a:lnTo>
                          <a:pt x="0" y="1"/>
                        </a:lnTo>
                        <a:lnTo>
                          <a:pt x="0" y="3"/>
                        </a:lnTo>
                        <a:lnTo>
                          <a:pt x="0" y="3"/>
                        </a:lnTo>
                        <a:lnTo>
                          <a:pt x="0" y="3"/>
                        </a:lnTo>
                        <a:lnTo>
                          <a:pt x="0" y="3"/>
                        </a:lnTo>
                        <a:lnTo>
                          <a:pt x="0" y="5"/>
                        </a:lnTo>
                        <a:lnTo>
                          <a:pt x="0" y="5"/>
                        </a:lnTo>
                        <a:lnTo>
                          <a:pt x="0" y="6"/>
                        </a:lnTo>
                        <a:lnTo>
                          <a:pt x="3" y="6"/>
                        </a:lnTo>
                        <a:lnTo>
                          <a:pt x="3" y="5"/>
                        </a:lnTo>
                        <a:lnTo>
                          <a:pt x="3" y="5"/>
                        </a:lnTo>
                        <a:lnTo>
                          <a:pt x="3" y="5"/>
                        </a:lnTo>
                        <a:close/>
                        <a:moveTo>
                          <a:pt x="3" y="3"/>
                        </a:moveTo>
                        <a:lnTo>
                          <a:pt x="0" y="3"/>
                        </a:lnTo>
                        <a:lnTo>
                          <a:pt x="0" y="1"/>
                        </a:lnTo>
                        <a:lnTo>
                          <a:pt x="3" y="1"/>
                        </a:lnTo>
                        <a:lnTo>
                          <a:pt x="3" y="3"/>
                        </a:lnTo>
                        <a:lnTo>
                          <a:pt x="3" y="3"/>
                        </a:lnTo>
                        <a:close/>
                        <a:moveTo>
                          <a:pt x="3" y="5"/>
                        </a:moveTo>
                        <a:lnTo>
                          <a:pt x="0" y="5"/>
                        </a:lnTo>
                        <a:lnTo>
                          <a:pt x="0"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2" name="Freeform 850"/>
                  <p:cNvSpPr>
                    <a:spLocks/>
                  </p:cNvSpPr>
                  <p:nvPr/>
                </p:nvSpPr>
                <p:spPr bwMode="auto">
                  <a:xfrm>
                    <a:off x="5354144" y="3458892"/>
                    <a:ext cx="29890" cy="44835"/>
                  </a:xfrm>
                  <a:custGeom>
                    <a:avLst/>
                    <a:gdLst>
                      <a:gd name="T0" fmla="*/ 4 w 4"/>
                      <a:gd name="T1" fmla="*/ 3 h 6"/>
                      <a:gd name="T2" fmla="*/ 4 w 4"/>
                      <a:gd name="T3" fmla="*/ 0 h 6"/>
                      <a:gd name="T4" fmla="*/ 0 w 4"/>
                      <a:gd name="T5" fmla="*/ 0 h 6"/>
                      <a:gd name="T6" fmla="*/ 0 w 4"/>
                      <a:gd name="T7" fmla="*/ 1 h 6"/>
                      <a:gd name="T8" fmla="*/ 4 w 4"/>
                      <a:gd name="T9" fmla="*/ 1 h 6"/>
                      <a:gd name="T10" fmla="*/ 4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4 w 4"/>
                      <a:gd name="T25" fmla="*/ 4 h 6"/>
                      <a:gd name="T26" fmla="*/ 4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4" y="1"/>
                        </a:lnTo>
                        <a:lnTo>
                          <a:pt x="4" y="3"/>
                        </a:lnTo>
                        <a:lnTo>
                          <a:pt x="3" y="3"/>
                        </a:lnTo>
                        <a:lnTo>
                          <a:pt x="3" y="4"/>
                        </a:lnTo>
                        <a:lnTo>
                          <a:pt x="2" y="4"/>
                        </a:lnTo>
                        <a:lnTo>
                          <a:pt x="2" y="6"/>
                        </a:lnTo>
                        <a:lnTo>
                          <a:pt x="3" y="6"/>
                        </a:lnTo>
                        <a:lnTo>
                          <a:pt x="3" y="4"/>
                        </a:lnTo>
                        <a:lnTo>
                          <a:pt x="4" y="4"/>
                        </a:lnTo>
                        <a:lnTo>
                          <a:pt x="4"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3" name="Freeform 851"/>
                  <p:cNvSpPr>
                    <a:spLocks/>
                  </p:cNvSpPr>
                  <p:nvPr/>
                </p:nvSpPr>
                <p:spPr bwMode="auto">
                  <a:xfrm>
                    <a:off x="5398979" y="3496254"/>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4" name="Freeform 852"/>
                  <p:cNvSpPr>
                    <a:spLocks/>
                  </p:cNvSpPr>
                  <p:nvPr/>
                </p:nvSpPr>
                <p:spPr bwMode="auto">
                  <a:xfrm>
                    <a:off x="5406451" y="3458892"/>
                    <a:ext cx="29890" cy="44835"/>
                  </a:xfrm>
                  <a:custGeom>
                    <a:avLst/>
                    <a:gdLst>
                      <a:gd name="T0" fmla="*/ 4 w 4"/>
                      <a:gd name="T1" fmla="*/ 5 h 6"/>
                      <a:gd name="T2" fmla="*/ 4 w 4"/>
                      <a:gd name="T3" fmla="*/ 3 h 6"/>
                      <a:gd name="T4" fmla="*/ 4 w 4"/>
                      <a:gd name="T5" fmla="*/ 3 h 6"/>
                      <a:gd name="T6" fmla="*/ 4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4 w 4"/>
                      <a:gd name="T21" fmla="*/ 3 h 6"/>
                      <a:gd name="T22" fmla="*/ 4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4 w 4"/>
                      <a:gd name="T37" fmla="*/ 6 h 6"/>
                      <a:gd name="T38" fmla="*/ 4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4" y="3"/>
                        </a:lnTo>
                        <a:lnTo>
                          <a:pt x="4" y="2"/>
                        </a:lnTo>
                        <a:lnTo>
                          <a:pt x="1" y="2"/>
                        </a:lnTo>
                        <a:lnTo>
                          <a:pt x="1" y="1"/>
                        </a:lnTo>
                        <a:lnTo>
                          <a:pt x="4" y="1"/>
                        </a:lnTo>
                        <a:lnTo>
                          <a:pt x="4" y="0"/>
                        </a:lnTo>
                        <a:lnTo>
                          <a:pt x="0" y="0"/>
                        </a:lnTo>
                        <a:lnTo>
                          <a:pt x="0" y="3"/>
                        </a:lnTo>
                        <a:lnTo>
                          <a:pt x="4" y="3"/>
                        </a:lnTo>
                        <a:lnTo>
                          <a:pt x="4" y="5"/>
                        </a:lnTo>
                        <a:lnTo>
                          <a:pt x="1" y="5"/>
                        </a:lnTo>
                        <a:lnTo>
                          <a:pt x="1" y="4"/>
                        </a:lnTo>
                        <a:lnTo>
                          <a:pt x="0" y="4"/>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5" name="Freeform 853"/>
                  <p:cNvSpPr>
                    <a:spLocks/>
                  </p:cNvSpPr>
                  <p:nvPr/>
                </p:nvSpPr>
                <p:spPr bwMode="auto">
                  <a:xfrm>
                    <a:off x="5443814" y="3458892"/>
                    <a:ext cx="29890" cy="44835"/>
                  </a:xfrm>
                  <a:custGeom>
                    <a:avLst/>
                    <a:gdLst>
                      <a:gd name="T0" fmla="*/ 4 w 4"/>
                      <a:gd name="T1" fmla="*/ 3 h 6"/>
                      <a:gd name="T2" fmla="*/ 4 w 4"/>
                      <a:gd name="T3" fmla="*/ 0 h 6"/>
                      <a:gd name="T4" fmla="*/ 0 w 4"/>
                      <a:gd name="T5" fmla="*/ 0 h 6"/>
                      <a:gd name="T6" fmla="*/ 0 w 4"/>
                      <a:gd name="T7" fmla="*/ 1 h 6"/>
                      <a:gd name="T8" fmla="*/ 3 w 4"/>
                      <a:gd name="T9" fmla="*/ 1 h 6"/>
                      <a:gd name="T10" fmla="*/ 3 w 4"/>
                      <a:gd name="T11" fmla="*/ 3 h 6"/>
                      <a:gd name="T12" fmla="*/ 3 w 4"/>
                      <a:gd name="T13" fmla="*/ 3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3 h 6"/>
                      <a:gd name="T28" fmla="*/ 4 w 4"/>
                      <a:gd name="T29" fmla="*/ 3 h 6"/>
                      <a:gd name="T30" fmla="*/ 4 w 4"/>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3"/>
                        </a:moveTo>
                        <a:lnTo>
                          <a:pt x="4" y="0"/>
                        </a:lnTo>
                        <a:lnTo>
                          <a:pt x="0" y="0"/>
                        </a:lnTo>
                        <a:lnTo>
                          <a:pt x="0" y="1"/>
                        </a:lnTo>
                        <a:lnTo>
                          <a:pt x="3" y="1"/>
                        </a:lnTo>
                        <a:lnTo>
                          <a:pt x="3" y="3"/>
                        </a:lnTo>
                        <a:lnTo>
                          <a:pt x="3" y="3"/>
                        </a:lnTo>
                        <a:lnTo>
                          <a:pt x="3" y="4"/>
                        </a:lnTo>
                        <a:lnTo>
                          <a:pt x="2" y="4"/>
                        </a:lnTo>
                        <a:lnTo>
                          <a:pt x="2" y="6"/>
                        </a:lnTo>
                        <a:lnTo>
                          <a:pt x="3" y="6"/>
                        </a:lnTo>
                        <a:lnTo>
                          <a:pt x="3" y="4"/>
                        </a:lnTo>
                        <a:lnTo>
                          <a:pt x="3" y="4"/>
                        </a:lnTo>
                        <a:lnTo>
                          <a:pt x="3" y="3"/>
                        </a:lnTo>
                        <a:lnTo>
                          <a:pt x="4" y="3"/>
                        </a:lnTo>
                        <a:lnTo>
                          <a:pt x="4"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6" name="Freeform 854"/>
                  <p:cNvSpPr>
                    <a:spLocks noEditPoints="1"/>
                  </p:cNvSpPr>
                  <p:nvPr/>
                </p:nvSpPr>
                <p:spPr bwMode="auto">
                  <a:xfrm>
                    <a:off x="5488649" y="3458892"/>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3 h 6"/>
                      <a:gd name="T16" fmla="*/ 0 w 4"/>
                      <a:gd name="T17" fmla="*/ 3 h 6"/>
                      <a:gd name="T18" fmla="*/ 0 w 4"/>
                      <a:gd name="T19" fmla="*/ 3 h 6"/>
                      <a:gd name="T20" fmla="*/ 3 w 4"/>
                      <a:gd name="T21" fmla="*/ 3 h 6"/>
                      <a:gd name="T22" fmla="*/ 3 w 4"/>
                      <a:gd name="T23" fmla="*/ 4 h 6"/>
                      <a:gd name="T24" fmla="*/ 2 w 4"/>
                      <a:gd name="T25" fmla="*/ 4 h 6"/>
                      <a:gd name="T26" fmla="*/ 2 w 4"/>
                      <a:gd name="T27" fmla="*/ 5 h 6"/>
                      <a:gd name="T28" fmla="*/ 0 w 4"/>
                      <a:gd name="T29" fmla="*/ 5 h 6"/>
                      <a:gd name="T30" fmla="*/ 0 w 4"/>
                      <a:gd name="T31" fmla="*/ 6 h 6"/>
                      <a:gd name="T32" fmla="*/ 2 w 4"/>
                      <a:gd name="T33" fmla="*/ 6 h 6"/>
                      <a:gd name="T34" fmla="*/ 2 w 4"/>
                      <a:gd name="T35" fmla="*/ 5 h 6"/>
                      <a:gd name="T36" fmla="*/ 3 w 4"/>
                      <a:gd name="T37" fmla="*/ 5 h 6"/>
                      <a:gd name="T38" fmla="*/ 3 w 4"/>
                      <a:gd name="T39" fmla="*/ 4 h 6"/>
                      <a:gd name="T40" fmla="*/ 4 w 4"/>
                      <a:gd name="T41" fmla="*/ 4 h 6"/>
                      <a:gd name="T42" fmla="*/ 4 w 4"/>
                      <a:gd name="T43" fmla="*/ 4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6"/>
                        </a:lnTo>
                        <a:lnTo>
                          <a:pt x="2" y="6"/>
                        </a:lnTo>
                        <a:lnTo>
                          <a:pt x="2" y="5"/>
                        </a:lnTo>
                        <a:lnTo>
                          <a:pt x="3" y="5"/>
                        </a:lnTo>
                        <a:lnTo>
                          <a:pt x="3" y="4"/>
                        </a:lnTo>
                        <a:lnTo>
                          <a:pt x="4" y="4"/>
                        </a:lnTo>
                        <a:lnTo>
                          <a:pt x="4" y="4"/>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7" name="Freeform 855"/>
                  <p:cNvSpPr>
                    <a:spLocks/>
                  </p:cNvSpPr>
                  <p:nvPr/>
                </p:nvSpPr>
                <p:spPr bwMode="auto">
                  <a:xfrm>
                    <a:off x="5324253"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8" name="Freeform 856"/>
                  <p:cNvSpPr>
                    <a:spLocks noEditPoints="1"/>
                  </p:cNvSpPr>
                  <p:nvPr/>
                </p:nvSpPr>
                <p:spPr bwMode="auto">
                  <a:xfrm>
                    <a:off x="5354144" y="3600870"/>
                    <a:ext cx="29890" cy="37363"/>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1 h 5"/>
                      <a:gd name="T12" fmla="*/ 4 w 4"/>
                      <a:gd name="T13" fmla="*/ 1 h 5"/>
                      <a:gd name="T14" fmla="*/ 4 w 4"/>
                      <a:gd name="T15" fmla="*/ 0 h 5"/>
                      <a:gd name="T16" fmla="*/ 1 w 4"/>
                      <a:gd name="T17" fmla="*/ 0 h 5"/>
                      <a:gd name="T18" fmla="*/ 1 w 4"/>
                      <a:gd name="T19" fmla="*/ 1 h 5"/>
                      <a:gd name="T20" fmla="*/ 0 w 4"/>
                      <a:gd name="T21" fmla="*/ 1 h 5"/>
                      <a:gd name="T22" fmla="*/ 0 w 4"/>
                      <a:gd name="T23" fmla="*/ 2 h 5"/>
                      <a:gd name="T24" fmla="*/ 1 w 4"/>
                      <a:gd name="T25" fmla="*/ 2 h 5"/>
                      <a:gd name="T26" fmla="*/ 1 w 4"/>
                      <a:gd name="T27" fmla="*/ 3 h 5"/>
                      <a:gd name="T28" fmla="*/ 0 w 4"/>
                      <a:gd name="T29" fmla="*/ 3 h 5"/>
                      <a:gd name="T30" fmla="*/ 0 w 4"/>
                      <a:gd name="T31" fmla="*/ 5 h 5"/>
                      <a:gd name="T32" fmla="*/ 1 w 4"/>
                      <a:gd name="T33" fmla="*/ 5 h 5"/>
                      <a:gd name="T34" fmla="*/ 1 w 4"/>
                      <a:gd name="T35" fmla="*/ 5 h 5"/>
                      <a:gd name="T36" fmla="*/ 4 w 4"/>
                      <a:gd name="T37" fmla="*/ 5 h 5"/>
                      <a:gd name="T38" fmla="*/ 4 w 4"/>
                      <a:gd name="T39" fmla="*/ 5 h 5"/>
                      <a:gd name="T40" fmla="*/ 4 w 4"/>
                      <a:gd name="T41" fmla="*/ 5 h 5"/>
                      <a:gd name="T42" fmla="*/ 4 w 4"/>
                      <a:gd name="T43" fmla="*/ 5 h 5"/>
                      <a:gd name="T44" fmla="*/ 4 w 4"/>
                      <a:gd name="T45" fmla="*/ 2 h 5"/>
                      <a:gd name="T46" fmla="*/ 1 w 4"/>
                      <a:gd name="T47" fmla="*/ 2 h 5"/>
                      <a:gd name="T48" fmla="*/ 1 w 4"/>
                      <a:gd name="T49" fmla="*/ 1 h 5"/>
                      <a:gd name="T50" fmla="*/ 4 w 4"/>
                      <a:gd name="T51" fmla="*/ 1 h 5"/>
                      <a:gd name="T52" fmla="*/ 4 w 4"/>
                      <a:gd name="T53" fmla="*/ 2 h 5"/>
                      <a:gd name="T54" fmla="*/ 4 w 4"/>
                      <a:gd name="T55" fmla="*/ 2 h 5"/>
                      <a:gd name="T56" fmla="*/ 4 w 4"/>
                      <a:gd name="T57" fmla="*/ 5 h 5"/>
                      <a:gd name="T58" fmla="*/ 1 w 4"/>
                      <a:gd name="T59" fmla="*/ 5 h 5"/>
                      <a:gd name="T60" fmla="*/ 1 w 4"/>
                      <a:gd name="T61" fmla="*/ 3 h 5"/>
                      <a:gd name="T62" fmla="*/ 4 w 4"/>
                      <a:gd name="T63" fmla="*/ 3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4" y="3"/>
                        </a:lnTo>
                        <a:lnTo>
                          <a:pt x="4" y="2"/>
                        </a:lnTo>
                        <a:lnTo>
                          <a:pt x="4" y="2"/>
                        </a:lnTo>
                        <a:lnTo>
                          <a:pt x="4" y="1"/>
                        </a:lnTo>
                        <a:lnTo>
                          <a:pt x="4" y="1"/>
                        </a:lnTo>
                        <a:lnTo>
                          <a:pt x="4" y="0"/>
                        </a:lnTo>
                        <a:lnTo>
                          <a:pt x="1" y="0"/>
                        </a:lnTo>
                        <a:lnTo>
                          <a:pt x="1" y="1"/>
                        </a:lnTo>
                        <a:lnTo>
                          <a:pt x="0" y="1"/>
                        </a:lnTo>
                        <a:lnTo>
                          <a:pt x="0" y="2"/>
                        </a:lnTo>
                        <a:lnTo>
                          <a:pt x="1" y="2"/>
                        </a:lnTo>
                        <a:lnTo>
                          <a:pt x="1" y="3"/>
                        </a:lnTo>
                        <a:lnTo>
                          <a:pt x="0" y="3"/>
                        </a:lnTo>
                        <a:lnTo>
                          <a:pt x="0" y="5"/>
                        </a:lnTo>
                        <a:lnTo>
                          <a:pt x="1" y="5"/>
                        </a:lnTo>
                        <a:lnTo>
                          <a:pt x="1" y="5"/>
                        </a:lnTo>
                        <a:lnTo>
                          <a:pt x="4" y="5"/>
                        </a:lnTo>
                        <a:lnTo>
                          <a:pt x="4" y="5"/>
                        </a:lnTo>
                        <a:lnTo>
                          <a:pt x="4" y="5"/>
                        </a:lnTo>
                        <a:lnTo>
                          <a:pt x="4" y="5"/>
                        </a:lnTo>
                        <a:close/>
                        <a:moveTo>
                          <a:pt x="4" y="2"/>
                        </a:moveTo>
                        <a:lnTo>
                          <a:pt x="1" y="2"/>
                        </a:lnTo>
                        <a:lnTo>
                          <a:pt x="1" y="1"/>
                        </a:lnTo>
                        <a:lnTo>
                          <a:pt x="4" y="1"/>
                        </a:lnTo>
                        <a:lnTo>
                          <a:pt x="4" y="2"/>
                        </a:lnTo>
                        <a:lnTo>
                          <a:pt x="4" y="2"/>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09" name="Freeform 857"/>
                  <p:cNvSpPr>
                    <a:spLocks/>
                  </p:cNvSpPr>
                  <p:nvPr/>
                </p:nvSpPr>
                <p:spPr bwMode="auto">
                  <a:xfrm>
                    <a:off x="5398979" y="3638232"/>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0" name="Freeform 858"/>
                  <p:cNvSpPr>
                    <a:spLocks noEditPoints="1"/>
                  </p:cNvSpPr>
                  <p:nvPr/>
                </p:nvSpPr>
                <p:spPr bwMode="auto">
                  <a:xfrm>
                    <a:off x="5413924" y="3600870"/>
                    <a:ext cx="22418" cy="37363"/>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2 h 5"/>
                      <a:gd name="T16" fmla="*/ 0 w 3"/>
                      <a:gd name="T17" fmla="*/ 2 h 5"/>
                      <a:gd name="T18" fmla="*/ 0 w 3"/>
                      <a:gd name="T19" fmla="*/ 3 h 5"/>
                      <a:gd name="T20" fmla="*/ 3 w 3"/>
                      <a:gd name="T21" fmla="*/ 3 h 5"/>
                      <a:gd name="T22" fmla="*/ 3 w 3"/>
                      <a:gd name="T23" fmla="*/ 3 h 5"/>
                      <a:gd name="T24" fmla="*/ 2 w 3"/>
                      <a:gd name="T25" fmla="*/ 3 h 5"/>
                      <a:gd name="T26" fmla="*/ 2 w 3"/>
                      <a:gd name="T27" fmla="*/ 5 h 5"/>
                      <a:gd name="T28" fmla="*/ 0 w 3"/>
                      <a:gd name="T29" fmla="*/ 5 h 5"/>
                      <a:gd name="T30" fmla="*/ 0 w 3"/>
                      <a:gd name="T31" fmla="*/ 5 h 5"/>
                      <a:gd name="T32" fmla="*/ 2 w 3"/>
                      <a:gd name="T33" fmla="*/ 5 h 5"/>
                      <a:gd name="T34" fmla="*/ 2 w 3"/>
                      <a:gd name="T35" fmla="*/ 5 h 5"/>
                      <a:gd name="T36" fmla="*/ 3 w 3"/>
                      <a:gd name="T37" fmla="*/ 5 h 5"/>
                      <a:gd name="T38" fmla="*/ 3 w 3"/>
                      <a:gd name="T39" fmla="*/ 3 h 5"/>
                      <a:gd name="T40" fmla="*/ 3 w 3"/>
                      <a:gd name="T41" fmla="*/ 3 h 5"/>
                      <a:gd name="T42" fmla="*/ 3 w 3"/>
                      <a:gd name="T43" fmla="*/ 3 h 5"/>
                      <a:gd name="T44" fmla="*/ 3 w 3"/>
                      <a:gd name="T45" fmla="*/ 2 h 5"/>
                      <a:gd name="T46" fmla="*/ 0 w 3"/>
                      <a:gd name="T47" fmla="*/ 2 h 5"/>
                      <a:gd name="T48" fmla="*/ 0 w 3"/>
                      <a:gd name="T49" fmla="*/ 1 h 5"/>
                      <a:gd name="T50" fmla="*/ 3 w 3"/>
                      <a:gd name="T51" fmla="*/ 1 h 5"/>
                      <a:gd name="T52" fmla="*/ 3 w 3"/>
                      <a:gd name="T53" fmla="*/ 2 h 5"/>
                      <a:gd name="T54" fmla="*/ 3 w 3"/>
                      <a:gd name="T5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5">
                        <a:moveTo>
                          <a:pt x="3" y="3"/>
                        </a:moveTo>
                        <a:lnTo>
                          <a:pt x="3" y="1"/>
                        </a:lnTo>
                        <a:lnTo>
                          <a:pt x="3" y="1"/>
                        </a:lnTo>
                        <a:lnTo>
                          <a:pt x="3" y="0"/>
                        </a:lnTo>
                        <a:lnTo>
                          <a:pt x="0" y="0"/>
                        </a:lnTo>
                        <a:lnTo>
                          <a:pt x="0" y="1"/>
                        </a:lnTo>
                        <a:lnTo>
                          <a:pt x="0" y="1"/>
                        </a:lnTo>
                        <a:lnTo>
                          <a:pt x="0" y="2"/>
                        </a:lnTo>
                        <a:lnTo>
                          <a:pt x="0" y="2"/>
                        </a:lnTo>
                        <a:lnTo>
                          <a:pt x="0" y="3"/>
                        </a:lnTo>
                        <a:lnTo>
                          <a:pt x="3" y="3"/>
                        </a:lnTo>
                        <a:lnTo>
                          <a:pt x="3" y="3"/>
                        </a:lnTo>
                        <a:lnTo>
                          <a:pt x="2" y="3"/>
                        </a:lnTo>
                        <a:lnTo>
                          <a:pt x="2" y="5"/>
                        </a:lnTo>
                        <a:lnTo>
                          <a:pt x="0" y="5"/>
                        </a:lnTo>
                        <a:lnTo>
                          <a:pt x="0" y="5"/>
                        </a:lnTo>
                        <a:lnTo>
                          <a:pt x="2" y="5"/>
                        </a:lnTo>
                        <a:lnTo>
                          <a:pt x="2" y="5"/>
                        </a:lnTo>
                        <a:lnTo>
                          <a:pt x="3" y="5"/>
                        </a:lnTo>
                        <a:lnTo>
                          <a:pt x="3" y="3"/>
                        </a:lnTo>
                        <a:lnTo>
                          <a:pt x="3" y="3"/>
                        </a:lnTo>
                        <a:lnTo>
                          <a:pt x="3" y="3"/>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1" name="Freeform 859"/>
                  <p:cNvSpPr>
                    <a:spLocks/>
                  </p:cNvSpPr>
                  <p:nvPr/>
                </p:nvSpPr>
                <p:spPr bwMode="auto">
                  <a:xfrm>
                    <a:off x="5451286" y="3600870"/>
                    <a:ext cx="22418" cy="37363"/>
                  </a:xfrm>
                  <a:custGeom>
                    <a:avLst/>
                    <a:gdLst>
                      <a:gd name="T0" fmla="*/ 3 w 3"/>
                      <a:gd name="T1" fmla="*/ 2 h 5"/>
                      <a:gd name="T2" fmla="*/ 3 w 3"/>
                      <a:gd name="T3" fmla="*/ 0 h 5"/>
                      <a:gd name="T4" fmla="*/ 0 w 3"/>
                      <a:gd name="T5" fmla="*/ 0 h 5"/>
                      <a:gd name="T6" fmla="*/ 0 w 3"/>
                      <a:gd name="T7" fmla="*/ 1 h 5"/>
                      <a:gd name="T8" fmla="*/ 3 w 3"/>
                      <a:gd name="T9" fmla="*/ 1 h 5"/>
                      <a:gd name="T10" fmla="*/ 3 w 3"/>
                      <a:gd name="T11" fmla="*/ 2 h 5"/>
                      <a:gd name="T12" fmla="*/ 2 w 3"/>
                      <a:gd name="T13" fmla="*/ 2 h 5"/>
                      <a:gd name="T14" fmla="*/ 2 w 3"/>
                      <a:gd name="T15" fmla="*/ 3 h 5"/>
                      <a:gd name="T16" fmla="*/ 1 w 3"/>
                      <a:gd name="T17" fmla="*/ 3 h 5"/>
                      <a:gd name="T18" fmla="*/ 1 w 3"/>
                      <a:gd name="T19" fmla="*/ 5 h 5"/>
                      <a:gd name="T20" fmla="*/ 2 w 3"/>
                      <a:gd name="T21" fmla="*/ 5 h 5"/>
                      <a:gd name="T22" fmla="*/ 2 w 3"/>
                      <a:gd name="T23" fmla="*/ 3 h 5"/>
                      <a:gd name="T24" fmla="*/ 3 w 3"/>
                      <a:gd name="T25" fmla="*/ 3 h 5"/>
                      <a:gd name="T26" fmla="*/ 3 w 3"/>
                      <a:gd name="T27" fmla="*/ 2 h 5"/>
                      <a:gd name="T28" fmla="*/ 3 w 3"/>
                      <a:gd name="T29" fmla="*/ 2 h 5"/>
                      <a:gd name="T30" fmla="*/ 3 w 3"/>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2"/>
                        </a:moveTo>
                        <a:lnTo>
                          <a:pt x="3" y="0"/>
                        </a:lnTo>
                        <a:lnTo>
                          <a:pt x="0" y="0"/>
                        </a:lnTo>
                        <a:lnTo>
                          <a:pt x="0" y="1"/>
                        </a:lnTo>
                        <a:lnTo>
                          <a:pt x="3" y="1"/>
                        </a:lnTo>
                        <a:lnTo>
                          <a:pt x="3" y="2"/>
                        </a:lnTo>
                        <a:lnTo>
                          <a:pt x="2" y="2"/>
                        </a:lnTo>
                        <a:lnTo>
                          <a:pt x="2" y="3"/>
                        </a:lnTo>
                        <a:lnTo>
                          <a:pt x="1" y="3"/>
                        </a:lnTo>
                        <a:lnTo>
                          <a:pt x="1" y="5"/>
                        </a:lnTo>
                        <a:lnTo>
                          <a:pt x="2" y="5"/>
                        </a:lnTo>
                        <a:lnTo>
                          <a:pt x="2" y="3"/>
                        </a:lnTo>
                        <a:lnTo>
                          <a:pt x="3" y="3"/>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2" name="Freeform 860"/>
                  <p:cNvSpPr>
                    <a:spLocks noEditPoints="1"/>
                  </p:cNvSpPr>
                  <p:nvPr/>
                </p:nvSpPr>
                <p:spPr bwMode="auto">
                  <a:xfrm>
                    <a:off x="5488649" y="3600870"/>
                    <a:ext cx="29890" cy="37363"/>
                  </a:xfrm>
                  <a:custGeom>
                    <a:avLst/>
                    <a:gdLst>
                      <a:gd name="T0" fmla="*/ 4 w 4"/>
                      <a:gd name="T1" fmla="*/ 5 h 5"/>
                      <a:gd name="T2" fmla="*/ 4 w 4"/>
                      <a:gd name="T3" fmla="*/ 3 h 5"/>
                      <a:gd name="T4" fmla="*/ 3 w 4"/>
                      <a:gd name="T5" fmla="*/ 3 h 5"/>
                      <a:gd name="T6" fmla="*/ 3 w 4"/>
                      <a:gd name="T7" fmla="*/ 2 h 5"/>
                      <a:gd name="T8" fmla="*/ 1 w 4"/>
                      <a:gd name="T9" fmla="*/ 2 h 5"/>
                      <a:gd name="T10" fmla="*/ 1 w 4"/>
                      <a:gd name="T11" fmla="*/ 1 h 5"/>
                      <a:gd name="T12" fmla="*/ 1 w 4"/>
                      <a:gd name="T13" fmla="*/ 1 h 5"/>
                      <a:gd name="T14" fmla="*/ 1 w 4"/>
                      <a:gd name="T15" fmla="*/ 1 h 5"/>
                      <a:gd name="T16" fmla="*/ 3 w 4"/>
                      <a:gd name="T17" fmla="*/ 1 h 5"/>
                      <a:gd name="T18" fmla="*/ 3 w 4"/>
                      <a:gd name="T19" fmla="*/ 0 h 5"/>
                      <a:gd name="T20" fmla="*/ 1 w 4"/>
                      <a:gd name="T21" fmla="*/ 0 h 5"/>
                      <a:gd name="T22" fmla="*/ 1 w 4"/>
                      <a:gd name="T23" fmla="*/ 1 h 5"/>
                      <a:gd name="T24" fmla="*/ 1 w 4"/>
                      <a:gd name="T25" fmla="*/ 1 h 5"/>
                      <a:gd name="T26" fmla="*/ 1 w 4"/>
                      <a:gd name="T27" fmla="*/ 1 h 5"/>
                      <a:gd name="T28" fmla="*/ 0 w 4"/>
                      <a:gd name="T29" fmla="*/ 1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5 h 5"/>
                      <a:gd name="T46" fmla="*/ 1 w 4"/>
                      <a:gd name="T47" fmla="*/ 5 h 5"/>
                      <a:gd name="T48" fmla="*/ 1 w 4"/>
                      <a:gd name="T49" fmla="*/ 3 h 5"/>
                      <a:gd name="T50" fmla="*/ 3 w 4"/>
                      <a:gd name="T51" fmla="*/ 3 h 5"/>
                      <a:gd name="T52" fmla="*/ 3 w 4"/>
                      <a:gd name="T53" fmla="*/ 5 h 5"/>
                      <a:gd name="T54" fmla="*/ 3 w 4"/>
                      <a:gd name="T5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5"/>
                        </a:moveTo>
                        <a:lnTo>
                          <a:pt x="4" y="3"/>
                        </a:lnTo>
                        <a:lnTo>
                          <a:pt x="3" y="3"/>
                        </a:lnTo>
                        <a:lnTo>
                          <a:pt x="3" y="2"/>
                        </a:lnTo>
                        <a:lnTo>
                          <a:pt x="1" y="2"/>
                        </a:lnTo>
                        <a:lnTo>
                          <a:pt x="1" y="1"/>
                        </a:lnTo>
                        <a:lnTo>
                          <a:pt x="1" y="1"/>
                        </a:lnTo>
                        <a:lnTo>
                          <a:pt x="1" y="1"/>
                        </a:lnTo>
                        <a:lnTo>
                          <a:pt x="3" y="1"/>
                        </a:lnTo>
                        <a:lnTo>
                          <a:pt x="3" y="0"/>
                        </a:lnTo>
                        <a:lnTo>
                          <a:pt x="1" y="0"/>
                        </a:lnTo>
                        <a:lnTo>
                          <a:pt x="1" y="1"/>
                        </a:lnTo>
                        <a:lnTo>
                          <a:pt x="1" y="1"/>
                        </a:lnTo>
                        <a:lnTo>
                          <a:pt x="1" y="1"/>
                        </a:lnTo>
                        <a:lnTo>
                          <a:pt x="0" y="1"/>
                        </a:lnTo>
                        <a:lnTo>
                          <a:pt x="0" y="5"/>
                        </a:lnTo>
                        <a:lnTo>
                          <a:pt x="1" y="5"/>
                        </a:lnTo>
                        <a:lnTo>
                          <a:pt x="1" y="5"/>
                        </a:lnTo>
                        <a:lnTo>
                          <a:pt x="3" y="5"/>
                        </a:lnTo>
                        <a:lnTo>
                          <a:pt x="3" y="5"/>
                        </a:lnTo>
                        <a:lnTo>
                          <a:pt x="4" y="5"/>
                        </a:lnTo>
                        <a:lnTo>
                          <a:pt x="4" y="5"/>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3" name="Freeform 861"/>
                  <p:cNvSpPr>
                    <a:spLocks/>
                  </p:cNvSpPr>
                  <p:nvPr/>
                </p:nvSpPr>
                <p:spPr bwMode="auto">
                  <a:xfrm>
                    <a:off x="5324253" y="3675595"/>
                    <a:ext cx="14945" cy="37363"/>
                  </a:xfrm>
                  <a:custGeom>
                    <a:avLst/>
                    <a:gdLst>
                      <a:gd name="T0" fmla="*/ 2 w 2"/>
                      <a:gd name="T1" fmla="*/ 5 h 5"/>
                      <a:gd name="T2" fmla="*/ 2 w 2"/>
                      <a:gd name="T3" fmla="*/ 0 h 5"/>
                      <a:gd name="T4" fmla="*/ 1 w 2"/>
                      <a:gd name="T5" fmla="*/ 0 h 5"/>
                      <a:gd name="T6" fmla="*/ 1 w 2"/>
                      <a:gd name="T7" fmla="*/ 0 h 5"/>
                      <a:gd name="T8" fmla="*/ 0 w 2"/>
                      <a:gd name="T9" fmla="*/ 0 h 5"/>
                      <a:gd name="T10" fmla="*/ 0 w 2"/>
                      <a:gd name="T11" fmla="*/ 2 h 5"/>
                      <a:gd name="T12" fmla="*/ 0 w 2"/>
                      <a:gd name="T13" fmla="*/ 2 h 5"/>
                      <a:gd name="T14" fmla="*/ 0 w 2"/>
                      <a:gd name="T15" fmla="*/ 2 h 5"/>
                      <a:gd name="T16" fmla="*/ 0 w 2"/>
                      <a:gd name="T17" fmla="*/ 2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0"/>
                        </a:lnTo>
                        <a:lnTo>
                          <a:pt x="0" y="0"/>
                        </a:lnTo>
                        <a:lnTo>
                          <a:pt x="0" y="2"/>
                        </a:lnTo>
                        <a:lnTo>
                          <a:pt x="0" y="2"/>
                        </a:lnTo>
                        <a:lnTo>
                          <a:pt x="0" y="2"/>
                        </a:lnTo>
                        <a:lnTo>
                          <a:pt x="0" y="2"/>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4" name="Freeform 862"/>
                  <p:cNvSpPr>
                    <a:spLocks/>
                  </p:cNvSpPr>
                  <p:nvPr/>
                </p:nvSpPr>
                <p:spPr bwMode="auto">
                  <a:xfrm>
                    <a:off x="5346671" y="370548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15" name="Freeform 863"/>
                  <p:cNvSpPr>
                    <a:spLocks noEditPoints="1"/>
                  </p:cNvSpPr>
                  <p:nvPr/>
                </p:nvSpPr>
                <p:spPr bwMode="auto">
                  <a:xfrm>
                    <a:off x="5361616" y="3675595"/>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6" name="Freeform 864"/>
                  <p:cNvSpPr>
                    <a:spLocks noEditPoints="1"/>
                  </p:cNvSpPr>
                  <p:nvPr/>
                </p:nvSpPr>
                <p:spPr bwMode="auto">
                  <a:xfrm>
                    <a:off x="5398979"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7" name="Freeform 865"/>
                  <p:cNvSpPr>
                    <a:spLocks noEditPoints="1"/>
                  </p:cNvSpPr>
                  <p:nvPr/>
                </p:nvSpPr>
                <p:spPr bwMode="auto">
                  <a:xfrm>
                    <a:off x="5436341" y="3675595"/>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8" name="Freeform 866"/>
                  <p:cNvSpPr>
                    <a:spLocks/>
                  </p:cNvSpPr>
                  <p:nvPr/>
                </p:nvSpPr>
                <p:spPr bwMode="auto">
                  <a:xfrm>
                    <a:off x="5324253" y="4004386"/>
                    <a:ext cx="14945" cy="44835"/>
                  </a:xfrm>
                  <a:custGeom>
                    <a:avLst/>
                    <a:gdLst>
                      <a:gd name="T0" fmla="*/ 2 w 2"/>
                      <a:gd name="T1" fmla="*/ 6 h 6"/>
                      <a:gd name="T2" fmla="*/ 2 w 2"/>
                      <a:gd name="T3" fmla="*/ 0 h 6"/>
                      <a:gd name="T4" fmla="*/ 1 w 2"/>
                      <a:gd name="T5" fmla="*/ 0 h 6"/>
                      <a:gd name="T6" fmla="*/ 1 w 2"/>
                      <a:gd name="T7" fmla="*/ 1 h 6"/>
                      <a:gd name="T8" fmla="*/ 0 w 2"/>
                      <a:gd name="T9" fmla="*/ 1 h 6"/>
                      <a:gd name="T10" fmla="*/ 0 w 2"/>
                      <a:gd name="T11" fmla="*/ 2 h 6"/>
                      <a:gd name="T12" fmla="*/ 0 w 2"/>
                      <a:gd name="T13" fmla="*/ 2 h 6"/>
                      <a:gd name="T14" fmla="*/ 0 w 2"/>
                      <a:gd name="T15" fmla="*/ 3 h 6"/>
                      <a:gd name="T16" fmla="*/ 0 w 2"/>
                      <a:gd name="T17" fmla="*/ 3 h 6"/>
                      <a:gd name="T18" fmla="*/ 0 w 2"/>
                      <a:gd name="T19" fmla="*/ 2 h 6"/>
                      <a:gd name="T20" fmla="*/ 1 w 2"/>
                      <a:gd name="T21" fmla="*/ 2 h 6"/>
                      <a:gd name="T22" fmla="*/ 1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1" y="0"/>
                        </a:lnTo>
                        <a:lnTo>
                          <a:pt x="1" y="1"/>
                        </a:lnTo>
                        <a:lnTo>
                          <a:pt x="0" y="1"/>
                        </a:lnTo>
                        <a:lnTo>
                          <a:pt x="0" y="2"/>
                        </a:lnTo>
                        <a:lnTo>
                          <a:pt x="0" y="2"/>
                        </a:lnTo>
                        <a:lnTo>
                          <a:pt x="0" y="3"/>
                        </a:lnTo>
                        <a:lnTo>
                          <a:pt x="0" y="3"/>
                        </a:lnTo>
                        <a:lnTo>
                          <a:pt x="0" y="2"/>
                        </a:lnTo>
                        <a:lnTo>
                          <a:pt x="1" y="2"/>
                        </a:lnTo>
                        <a:lnTo>
                          <a:pt x="1"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19" name="Freeform 867"/>
                  <p:cNvSpPr>
                    <a:spLocks/>
                  </p:cNvSpPr>
                  <p:nvPr/>
                </p:nvSpPr>
                <p:spPr bwMode="auto">
                  <a:xfrm>
                    <a:off x="5346671" y="404174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0" name="Freeform 868"/>
                  <p:cNvSpPr>
                    <a:spLocks noEditPoints="1"/>
                  </p:cNvSpPr>
                  <p:nvPr/>
                </p:nvSpPr>
                <p:spPr bwMode="auto">
                  <a:xfrm>
                    <a:off x="5361616" y="4004386"/>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1" name="Freeform 869"/>
                  <p:cNvSpPr>
                    <a:spLocks noEditPoints="1"/>
                  </p:cNvSpPr>
                  <p:nvPr/>
                </p:nvSpPr>
                <p:spPr bwMode="auto">
                  <a:xfrm>
                    <a:off x="5398979"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2" name="Freeform 870"/>
                  <p:cNvSpPr>
                    <a:spLocks noEditPoints="1"/>
                  </p:cNvSpPr>
                  <p:nvPr/>
                </p:nvSpPr>
                <p:spPr bwMode="auto">
                  <a:xfrm>
                    <a:off x="5436341" y="4004386"/>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3" name="Freeform 871"/>
                  <p:cNvSpPr>
                    <a:spLocks/>
                  </p:cNvSpPr>
                  <p:nvPr/>
                </p:nvSpPr>
                <p:spPr bwMode="auto">
                  <a:xfrm>
                    <a:off x="5324253" y="4079111"/>
                    <a:ext cx="14945" cy="37363"/>
                  </a:xfrm>
                  <a:custGeom>
                    <a:avLst/>
                    <a:gdLst>
                      <a:gd name="T0" fmla="*/ 2 w 2"/>
                      <a:gd name="T1" fmla="*/ 5 h 5"/>
                      <a:gd name="T2" fmla="*/ 2 w 2"/>
                      <a:gd name="T3" fmla="*/ 0 h 5"/>
                      <a:gd name="T4" fmla="*/ 1 w 2"/>
                      <a:gd name="T5" fmla="*/ 0 h 5"/>
                      <a:gd name="T6" fmla="*/ 1 w 2"/>
                      <a:gd name="T7" fmla="*/ 1 h 5"/>
                      <a:gd name="T8" fmla="*/ 0 w 2"/>
                      <a:gd name="T9" fmla="*/ 1 h 5"/>
                      <a:gd name="T10" fmla="*/ 0 w 2"/>
                      <a:gd name="T11" fmla="*/ 2 h 5"/>
                      <a:gd name="T12" fmla="*/ 0 w 2"/>
                      <a:gd name="T13" fmla="*/ 2 h 5"/>
                      <a:gd name="T14" fmla="*/ 0 w 2"/>
                      <a:gd name="T15" fmla="*/ 3 h 5"/>
                      <a:gd name="T16" fmla="*/ 0 w 2"/>
                      <a:gd name="T17" fmla="*/ 3 h 5"/>
                      <a:gd name="T18" fmla="*/ 0 w 2"/>
                      <a:gd name="T19" fmla="*/ 2 h 5"/>
                      <a:gd name="T20" fmla="*/ 1 w 2"/>
                      <a:gd name="T21" fmla="*/ 2 h 5"/>
                      <a:gd name="T22" fmla="*/ 1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1" y="0"/>
                        </a:lnTo>
                        <a:lnTo>
                          <a:pt x="1" y="1"/>
                        </a:lnTo>
                        <a:lnTo>
                          <a:pt x="0" y="1"/>
                        </a:lnTo>
                        <a:lnTo>
                          <a:pt x="0" y="2"/>
                        </a:lnTo>
                        <a:lnTo>
                          <a:pt x="0" y="2"/>
                        </a:lnTo>
                        <a:lnTo>
                          <a:pt x="0" y="3"/>
                        </a:lnTo>
                        <a:lnTo>
                          <a:pt x="0" y="3"/>
                        </a:lnTo>
                        <a:lnTo>
                          <a:pt x="0" y="2"/>
                        </a:lnTo>
                        <a:lnTo>
                          <a:pt x="1" y="2"/>
                        </a:lnTo>
                        <a:lnTo>
                          <a:pt x="1"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4" name="Freeform 872"/>
                  <p:cNvSpPr>
                    <a:spLocks/>
                  </p:cNvSpPr>
                  <p:nvPr/>
                </p:nvSpPr>
                <p:spPr bwMode="auto">
                  <a:xfrm>
                    <a:off x="5346671" y="4116474"/>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25" name="Freeform 873"/>
                  <p:cNvSpPr>
                    <a:spLocks noEditPoints="1"/>
                  </p:cNvSpPr>
                  <p:nvPr/>
                </p:nvSpPr>
                <p:spPr bwMode="auto">
                  <a:xfrm>
                    <a:off x="5361616" y="4079111"/>
                    <a:ext cx="29890" cy="37363"/>
                  </a:xfrm>
                  <a:custGeom>
                    <a:avLst/>
                    <a:gdLst>
                      <a:gd name="T0" fmla="*/ 4 w 4"/>
                      <a:gd name="T1" fmla="*/ 5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5 h 5"/>
                      <a:gd name="T16" fmla="*/ 0 w 4"/>
                      <a:gd name="T17" fmla="*/ 5 h 5"/>
                      <a:gd name="T18" fmla="*/ 0 w 4"/>
                      <a:gd name="T19" fmla="*/ 5 h 5"/>
                      <a:gd name="T20" fmla="*/ 3 w 4"/>
                      <a:gd name="T21" fmla="*/ 5 h 5"/>
                      <a:gd name="T22" fmla="*/ 3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3" y="1"/>
                        </a:lnTo>
                        <a:lnTo>
                          <a:pt x="3" y="0"/>
                        </a:lnTo>
                        <a:lnTo>
                          <a:pt x="0" y="0"/>
                        </a:lnTo>
                        <a:lnTo>
                          <a:pt x="0" y="1"/>
                        </a:lnTo>
                        <a:lnTo>
                          <a:pt x="0" y="1"/>
                        </a:lnTo>
                        <a:lnTo>
                          <a:pt x="0" y="5"/>
                        </a:lnTo>
                        <a:lnTo>
                          <a:pt x="0" y="5"/>
                        </a:lnTo>
                        <a:lnTo>
                          <a:pt x="0" y="5"/>
                        </a:lnTo>
                        <a:lnTo>
                          <a:pt x="3" y="5"/>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6" name="Freeform 874"/>
                  <p:cNvSpPr>
                    <a:spLocks noEditPoints="1"/>
                  </p:cNvSpPr>
                  <p:nvPr/>
                </p:nvSpPr>
                <p:spPr bwMode="auto">
                  <a:xfrm>
                    <a:off x="5398979"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4 w 4"/>
                      <a:gd name="T29" fmla="*/ 5 h 5"/>
                      <a:gd name="T30" fmla="*/ 1 w 4"/>
                      <a:gd name="T31" fmla="*/ 5 h 5"/>
                      <a:gd name="T32" fmla="*/ 1 w 4"/>
                      <a:gd name="T33" fmla="*/ 1 h 5"/>
                      <a:gd name="T34" fmla="*/ 4 w 4"/>
                      <a:gd name="T35" fmla="*/ 1 h 5"/>
                      <a:gd name="T36" fmla="*/ 4 w 4"/>
                      <a:gd name="T37" fmla="*/ 5 h 5"/>
                      <a:gd name="T38" fmla="*/ 4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7" name="Freeform 875"/>
                  <p:cNvSpPr>
                    <a:spLocks noEditPoints="1"/>
                  </p:cNvSpPr>
                  <p:nvPr/>
                </p:nvSpPr>
                <p:spPr bwMode="auto">
                  <a:xfrm>
                    <a:off x="5436341" y="4079111"/>
                    <a:ext cx="29890" cy="37363"/>
                  </a:xfrm>
                  <a:custGeom>
                    <a:avLst/>
                    <a:gdLst>
                      <a:gd name="T0" fmla="*/ 4 w 4"/>
                      <a:gd name="T1" fmla="*/ 5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5 h 5"/>
                      <a:gd name="T16" fmla="*/ 1 w 4"/>
                      <a:gd name="T17" fmla="*/ 5 h 5"/>
                      <a:gd name="T18" fmla="*/ 1 w 4"/>
                      <a:gd name="T19" fmla="*/ 5 h 5"/>
                      <a:gd name="T20" fmla="*/ 4 w 4"/>
                      <a:gd name="T21" fmla="*/ 5 h 5"/>
                      <a:gd name="T22" fmla="*/ 4 w 4"/>
                      <a:gd name="T23" fmla="*/ 5 h 5"/>
                      <a:gd name="T24" fmla="*/ 4 w 4"/>
                      <a:gd name="T25" fmla="*/ 5 h 5"/>
                      <a:gd name="T26" fmla="*/ 4 w 4"/>
                      <a:gd name="T27" fmla="*/ 5 h 5"/>
                      <a:gd name="T28" fmla="*/ 3 w 4"/>
                      <a:gd name="T29" fmla="*/ 5 h 5"/>
                      <a:gd name="T30" fmla="*/ 1 w 4"/>
                      <a:gd name="T31" fmla="*/ 5 h 5"/>
                      <a:gd name="T32" fmla="*/ 1 w 4"/>
                      <a:gd name="T33" fmla="*/ 1 h 5"/>
                      <a:gd name="T34" fmla="*/ 3 w 4"/>
                      <a:gd name="T35" fmla="*/ 1 h 5"/>
                      <a:gd name="T36" fmla="*/ 3 w 4"/>
                      <a:gd name="T37" fmla="*/ 5 h 5"/>
                      <a:gd name="T38" fmla="*/ 3 w 4"/>
                      <a:gd name="T3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5"/>
                        </a:moveTo>
                        <a:lnTo>
                          <a:pt x="4" y="1"/>
                        </a:lnTo>
                        <a:lnTo>
                          <a:pt x="4" y="1"/>
                        </a:lnTo>
                        <a:lnTo>
                          <a:pt x="4" y="0"/>
                        </a:lnTo>
                        <a:lnTo>
                          <a:pt x="1" y="0"/>
                        </a:lnTo>
                        <a:lnTo>
                          <a:pt x="1" y="1"/>
                        </a:lnTo>
                        <a:lnTo>
                          <a:pt x="0" y="1"/>
                        </a:lnTo>
                        <a:lnTo>
                          <a:pt x="0" y="5"/>
                        </a:lnTo>
                        <a:lnTo>
                          <a:pt x="1" y="5"/>
                        </a:lnTo>
                        <a:lnTo>
                          <a:pt x="1" y="5"/>
                        </a:lnTo>
                        <a:lnTo>
                          <a:pt x="4" y="5"/>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8" name="Freeform 876"/>
                  <p:cNvSpPr>
                    <a:spLocks noEditPoints="1"/>
                  </p:cNvSpPr>
                  <p:nvPr/>
                </p:nvSpPr>
                <p:spPr bwMode="auto">
                  <a:xfrm>
                    <a:off x="5324253"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29" name="Freeform 877"/>
                  <p:cNvSpPr>
                    <a:spLocks/>
                  </p:cNvSpPr>
                  <p:nvPr/>
                </p:nvSpPr>
                <p:spPr bwMode="auto">
                  <a:xfrm>
                    <a:off x="5354144" y="4191199"/>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0" name="Freeform 878"/>
                  <p:cNvSpPr>
                    <a:spLocks noEditPoints="1"/>
                  </p:cNvSpPr>
                  <p:nvPr/>
                </p:nvSpPr>
                <p:spPr bwMode="auto">
                  <a:xfrm>
                    <a:off x="5376561" y="4153837"/>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1" name="Freeform 879"/>
                  <p:cNvSpPr>
                    <a:spLocks noEditPoints="1"/>
                  </p:cNvSpPr>
                  <p:nvPr/>
                </p:nvSpPr>
                <p:spPr bwMode="auto">
                  <a:xfrm>
                    <a:off x="5406451"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2" name="Freeform 880"/>
                  <p:cNvSpPr>
                    <a:spLocks noEditPoints="1"/>
                  </p:cNvSpPr>
                  <p:nvPr/>
                </p:nvSpPr>
                <p:spPr bwMode="auto">
                  <a:xfrm>
                    <a:off x="5443814" y="4153837"/>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3" name="Freeform 881"/>
                  <p:cNvSpPr>
                    <a:spLocks/>
                  </p:cNvSpPr>
                  <p:nvPr/>
                </p:nvSpPr>
                <p:spPr bwMode="auto">
                  <a:xfrm>
                    <a:off x="3814804" y="3854936"/>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4" name="Freeform 882"/>
                  <p:cNvSpPr>
                    <a:spLocks/>
                  </p:cNvSpPr>
                  <p:nvPr/>
                </p:nvSpPr>
                <p:spPr bwMode="auto">
                  <a:xfrm>
                    <a:off x="3837221" y="388482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5" name="Freeform 883"/>
                  <p:cNvSpPr>
                    <a:spLocks noEditPoints="1"/>
                  </p:cNvSpPr>
                  <p:nvPr/>
                </p:nvSpPr>
                <p:spPr bwMode="auto">
                  <a:xfrm>
                    <a:off x="3859639" y="3854936"/>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6" name="Freeform 884"/>
                  <p:cNvSpPr>
                    <a:spLocks noEditPoints="1"/>
                  </p:cNvSpPr>
                  <p:nvPr/>
                </p:nvSpPr>
                <p:spPr bwMode="auto">
                  <a:xfrm>
                    <a:off x="3889529" y="3854936"/>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7" name="Freeform 885"/>
                  <p:cNvSpPr>
                    <a:spLocks noEditPoints="1"/>
                  </p:cNvSpPr>
                  <p:nvPr/>
                </p:nvSpPr>
                <p:spPr bwMode="auto">
                  <a:xfrm>
                    <a:off x="3934364" y="3854936"/>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8" name="Freeform 886"/>
                  <p:cNvSpPr>
                    <a:spLocks/>
                  </p:cNvSpPr>
                  <p:nvPr/>
                </p:nvSpPr>
                <p:spPr bwMode="auto">
                  <a:xfrm>
                    <a:off x="3814804" y="3922188"/>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39" name="Freeform 887"/>
                  <p:cNvSpPr>
                    <a:spLocks/>
                  </p:cNvSpPr>
                  <p:nvPr/>
                </p:nvSpPr>
                <p:spPr bwMode="auto">
                  <a:xfrm>
                    <a:off x="3837221" y="3959551"/>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0" name="Freeform 888"/>
                  <p:cNvSpPr>
                    <a:spLocks noEditPoints="1"/>
                  </p:cNvSpPr>
                  <p:nvPr/>
                </p:nvSpPr>
                <p:spPr bwMode="auto">
                  <a:xfrm>
                    <a:off x="3852166"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1" name="Freeform 889"/>
                  <p:cNvSpPr>
                    <a:spLocks noEditPoints="1"/>
                  </p:cNvSpPr>
                  <p:nvPr/>
                </p:nvSpPr>
                <p:spPr bwMode="auto">
                  <a:xfrm>
                    <a:off x="3889529" y="3922188"/>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2" name="Freeform 890"/>
                  <p:cNvSpPr>
                    <a:spLocks noEditPoints="1"/>
                  </p:cNvSpPr>
                  <p:nvPr/>
                </p:nvSpPr>
                <p:spPr bwMode="auto">
                  <a:xfrm>
                    <a:off x="3934364" y="3922188"/>
                    <a:ext cx="22418" cy="44835"/>
                  </a:xfrm>
                  <a:custGeom>
                    <a:avLst/>
                    <a:gdLst>
                      <a:gd name="T0" fmla="*/ 3 w 3"/>
                      <a:gd name="T1" fmla="*/ 5 h 6"/>
                      <a:gd name="T2" fmla="*/ 3 w 3"/>
                      <a:gd name="T3" fmla="*/ 1 h 6"/>
                      <a:gd name="T4" fmla="*/ 2 w 3"/>
                      <a:gd name="T5" fmla="*/ 1 h 6"/>
                      <a:gd name="T6" fmla="*/ 2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2 w 3"/>
                      <a:gd name="T21" fmla="*/ 6 h 6"/>
                      <a:gd name="T22" fmla="*/ 2 w 3"/>
                      <a:gd name="T23" fmla="*/ 5 h 6"/>
                      <a:gd name="T24" fmla="*/ 3 w 3"/>
                      <a:gd name="T25" fmla="*/ 5 h 6"/>
                      <a:gd name="T26" fmla="*/ 3 w 3"/>
                      <a:gd name="T27" fmla="*/ 5 h 6"/>
                      <a:gd name="T28" fmla="*/ 2 w 3"/>
                      <a:gd name="T29" fmla="*/ 5 h 6"/>
                      <a:gd name="T30" fmla="*/ 0 w 3"/>
                      <a:gd name="T31" fmla="*/ 5 h 6"/>
                      <a:gd name="T32" fmla="*/ 0 w 3"/>
                      <a:gd name="T33" fmla="*/ 1 h 6"/>
                      <a:gd name="T34" fmla="*/ 2 w 3"/>
                      <a:gd name="T35" fmla="*/ 1 h 6"/>
                      <a:gd name="T36" fmla="*/ 2 w 3"/>
                      <a:gd name="T37" fmla="*/ 5 h 6"/>
                      <a:gd name="T38" fmla="*/ 2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2" y="1"/>
                        </a:lnTo>
                        <a:lnTo>
                          <a:pt x="2" y="0"/>
                        </a:lnTo>
                        <a:lnTo>
                          <a:pt x="0" y="0"/>
                        </a:lnTo>
                        <a:lnTo>
                          <a:pt x="0" y="1"/>
                        </a:lnTo>
                        <a:lnTo>
                          <a:pt x="0" y="1"/>
                        </a:lnTo>
                        <a:lnTo>
                          <a:pt x="0" y="5"/>
                        </a:lnTo>
                        <a:lnTo>
                          <a:pt x="0" y="5"/>
                        </a:lnTo>
                        <a:lnTo>
                          <a:pt x="0" y="6"/>
                        </a:lnTo>
                        <a:lnTo>
                          <a:pt x="2" y="6"/>
                        </a:lnTo>
                        <a:lnTo>
                          <a:pt x="2" y="5"/>
                        </a:lnTo>
                        <a:lnTo>
                          <a:pt x="3" y="5"/>
                        </a:lnTo>
                        <a:lnTo>
                          <a:pt x="3" y="5"/>
                        </a:lnTo>
                        <a:close/>
                        <a:moveTo>
                          <a:pt x="2" y="5"/>
                        </a:moveTo>
                        <a:lnTo>
                          <a:pt x="0" y="5"/>
                        </a:lnTo>
                        <a:lnTo>
                          <a:pt x="0" y="1"/>
                        </a:lnTo>
                        <a:lnTo>
                          <a:pt x="2" y="1"/>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3" name="Freeform 891"/>
                  <p:cNvSpPr>
                    <a:spLocks/>
                  </p:cNvSpPr>
                  <p:nvPr/>
                </p:nvSpPr>
                <p:spPr bwMode="auto">
                  <a:xfrm>
                    <a:off x="3814804" y="3996914"/>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3 h 6"/>
                      <a:gd name="T16" fmla="*/ 1 w 2"/>
                      <a:gd name="T17" fmla="*/ 3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3"/>
                        </a:lnTo>
                        <a:lnTo>
                          <a:pt x="1" y="3"/>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4" name="Freeform 892"/>
                  <p:cNvSpPr>
                    <a:spLocks/>
                  </p:cNvSpPr>
                  <p:nvPr/>
                </p:nvSpPr>
                <p:spPr bwMode="auto">
                  <a:xfrm>
                    <a:off x="3837221" y="4034276"/>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5" name="Freeform 893"/>
                  <p:cNvSpPr>
                    <a:spLocks noEditPoints="1"/>
                  </p:cNvSpPr>
                  <p:nvPr/>
                </p:nvSpPr>
                <p:spPr bwMode="auto">
                  <a:xfrm>
                    <a:off x="3859639" y="3996914"/>
                    <a:ext cx="22418" cy="44835"/>
                  </a:xfrm>
                  <a:custGeom>
                    <a:avLst/>
                    <a:gdLst>
                      <a:gd name="T0" fmla="*/ 3 w 3"/>
                      <a:gd name="T1" fmla="*/ 5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 name="T28" fmla="*/ 3 w 3"/>
                      <a:gd name="T29" fmla="*/ 5 h 6"/>
                      <a:gd name="T30" fmla="*/ 0 w 3"/>
                      <a:gd name="T31" fmla="*/ 5 h 6"/>
                      <a:gd name="T32" fmla="*/ 0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0" y="0"/>
                        </a:lnTo>
                        <a:lnTo>
                          <a:pt x="0" y="1"/>
                        </a:lnTo>
                        <a:lnTo>
                          <a:pt x="0" y="1"/>
                        </a:lnTo>
                        <a:lnTo>
                          <a:pt x="0" y="5"/>
                        </a:lnTo>
                        <a:lnTo>
                          <a:pt x="0" y="5"/>
                        </a:lnTo>
                        <a:lnTo>
                          <a:pt x="0" y="6"/>
                        </a:lnTo>
                        <a:lnTo>
                          <a:pt x="3" y="6"/>
                        </a:lnTo>
                        <a:lnTo>
                          <a:pt x="3" y="5"/>
                        </a:lnTo>
                        <a:lnTo>
                          <a:pt x="3" y="5"/>
                        </a:lnTo>
                        <a:lnTo>
                          <a:pt x="3"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6" name="Freeform 894"/>
                  <p:cNvSpPr>
                    <a:spLocks noEditPoints="1"/>
                  </p:cNvSpPr>
                  <p:nvPr/>
                </p:nvSpPr>
                <p:spPr bwMode="auto">
                  <a:xfrm>
                    <a:off x="3889529" y="3996914"/>
                    <a:ext cx="29890" cy="44835"/>
                  </a:xfrm>
                  <a:custGeom>
                    <a:avLst/>
                    <a:gdLst>
                      <a:gd name="T0" fmla="*/ 4 w 4"/>
                      <a:gd name="T1" fmla="*/ 5 h 6"/>
                      <a:gd name="T2" fmla="*/ 4 w 4"/>
                      <a:gd name="T3" fmla="*/ 1 h 6"/>
                      <a:gd name="T4" fmla="*/ 4 w 4"/>
                      <a:gd name="T5" fmla="*/ 1 h 6"/>
                      <a:gd name="T6" fmla="*/ 4 w 4"/>
                      <a:gd name="T7" fmla="*/ 0 h 6"/>
                      <a:gd name="T8" fmla="*/ 2 w 4"/>
                      <a:gd name="T9" fmla="*/ 0 h 6"/>
                      <a:gd name="T10" fmla="*/ 2 w 4"/>
                      <a:gd name="T11" fmla="*/ 1 h 6"/>
                      <a:gd name="T12" fmla="*/ 0 w 4"/>
                      <a:gd name="T13" fmla="*/ 1 h 6"/>
                      <a:gd name="T14" fmla="*/ 0 w 4"/>
                      <a:gd name="T15" fmla="*/ 5 h 6"/>
                      <a:gd name="T16" fmla="*/ 2 w 4"/>
                      <a:gd name="T17" fmla="*/ 5 h 6"/>
                      <a:gd name="T18" fmla="*/ 2 w 4"/>
                      <a:gd name="T19" fmla="*/ 6 h 6"/>
                      <a:gd name="T20" fmla="*/ 4 w 4"/>
                      <a:gd name="T21" fmla="*/ 6 h 6"/>
                      <a:gd name="T22" fmla="*/ 4 w 4"/>
                      <a:gd name="T23" fmla="*/ 5 h 6"/>
                      <a:gd name="T24" fmla="*/ 4 w 4"/>
                      <a:gd name="T25" fmla="*/ 5 h 6"/>
                      <a:gd name="T26" fmla="*/ 4 w 4"/>
                      <a:gd name="T27" fmla="*/ 5 h 6"/>
                      <a:gd name="T28" fmla="*/ 4 w 4"/>
                      <a:gd name="T29" fmla="*/ 5 h 6"/>
                      <a:gd name="T30" fmla="*/ 2 w 4"/>
                      <a:gd name="T31" fmla="*/ 5 h 6"/>
                      <a:gd name="T32" fmla="*/ 2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2" y="0"/>
                        </a:lnTo>
                        <a:lnTo>
                          <a:pt x="2" y="1"/>
                        </a:lnTo>
                        <a:lnTo>
                          <a:pt x="0" y="1"/>
                        </a:lnTo>
                        <a:lnTo>
                          <a:pt x="0" y="5"/>
                        </a:lnTo>
                        <a:lnTo>
                          <a:pt x="2" y="5"/>
                        </a:lnTo>
                        <a:lnTo>
                          <a:pt x="2" y="6"/>
                        </a:lnTo>
                        <a:lnTo>
                          <a:pt x="4" y="6"/>
                        </a:lnTo>
                        <a:lnTo>
                          <a:pt x="4" y="5"/>
                        </a:lnTo>
                        <a:lnTo>
                          <a:pt x="4" y="5"/>
                        </a:lnTo>
                        <a:lnTo>
                          <a:pt x="4" y="5"/>
                        </a:lnTo>
                        <a:close/>
                        <a:moveTo>
                          <a:pt x="4" y="5"/>
                        </a:moveTo>
                        <a:lnTo>
                          <a:pt x="2" y="5"/>
                        </a:lnTo>
                        <a:lnTo>
                          <a:pt x="2"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7" name="Freeform 895"/>
                  <p:cNvSpPr>
                    <a:spLocks noEditPoints="1"/>
                  </p:cNvSpPr>
                  <p:nvPr/>
                </p:nvSpPr>
                <p:spPr bwMode="auto">
                  <a:xfrm>
                    <a:off x="3934364" y="3996914"/>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8" name="Freeform 896"/>
                  <p:cNvSpPr>
                    <a:spLocks/>
                  </p:cNvSpPr>
                  <p:nvPr/>
                </p:nvSpPr>
                <p:spPr bwMode="auto">
                  <a:xfrm>
                    <a:off x="3814804" y="4079111"/>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49" name="Freeform 897"/>
                  <p:cNvSpPr>
                    <a:spLocks/>
                  </p:cNvSpPr>
                  <p:nvPr/>
                </p:nvSpPr>
                <p:spPr bwMode="auto">
                  <a:xfrm>
                    <a:off x="3837221" y="4109001"/>
                    <a:ext cx="14945" cy="7473"/>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0" name="Freeform 898"/>
                  <p:cNvSpPr>
                    <a:spLocks noEditPoints="1"/>
                  </p:cNvSpPr>
                  <p:nvPr/>
                </p:nvSpPr>
                <p:spPr bwMode="auto">
                  <a:xfrm>
                    <a:off x="3859639" y="4079111"/>
                    <a:ext cx="22418" cy="37363"/>
                  </a:xfrm>
                  <a:custGeom>
                    <a:avLst/>
                    <a:gdLst>
                      <a:gd name="T0" fmla="*/ 3 w 3"/>
                      <a:gd name="T1" fmla="*/ 4 h 5"/>
                      <a:gd name="T2" fmla="*/ 3 w 3"/>
                      <a:gd name="T3" fmla="*/ 0 h 5"/>
                      <a:gd name="T4" fmla="*/ 3 w 3"/>
                      <a:gd name="T5" fmla="*/ 0 h 5"/>
                      <a:gd name="T6" fmla="*/ 3 w 3"/>
                      <a:gd name="T7" fmla="*/ 0 h 5"/>
                      <a:gd name="T8" fmla="*/ 0 w 3"/>
                      <a:gd name="T9" fmla="*/ 0 h 5"/>
                      <a:gd name="T10" fmla="*/ 0 w 3"/>
                      <a:gd name="T11" fmla="*/ 0 h 5"/>
                      <a:gd name="T12" fmla="*/ 0 w 3"/>
                      <a:gd name="T13" fmla="*/ 0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0 h 5"/>
                      <a:gd name="T34" fmla="*/ 3 w 3"/>
                      <a:gd name="T35" fmla="*/ 0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0"/>
                        </a:lnTo>
                        <a:lnTo>
                          <a:pt x="3" y="0"/>
                        </a:lnTo>
                        <a:lnTo>
                          <a:pt x="3" y="0"/>
                        </a:lnTo>
                        <a:lnTo>
                          <a:pt x="0" y="0"/>
                        </a:lnTo>
                        <a:lnTo>
                          <a:pt x="0" y="0"/>
                        </a:lnTo>
                        <a:lnTo>
                          <a:pt x="0" y="0"/>
                        </a:lnTo>
                        <a:lnTo>
                          <a:pt x="0" y="4"/>
                        </a:lnTo>
                        <a:lnTo>
                          <a:pt x="0" y="4"/>
                        </a:lnTo>
                        <a:lnTo>
                          <a:pt x="0" y="5"/>
                        </a:lnTo>
                        <a:lnTo>
                          <a:pt x="3" y="5"/>
                        </a:lnTo>
                        <a:lnTo>
                          <a:pt x="3" y="4"/>
                        </a:lnTo>
                        <a:lnTo>
                          <a:pt x="3" y="4"/>
                        </a:lnTo>
                        <a:lnTo>
                          <a:pt x="3"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1" name="Freeform 899"/>
                  <p:cNvSpPr>
                    <a:spLocks noEditPoints="1"/>
                  </p:cNvSpPr>
                  <p:nvPr/>
                </p:nvSpPr>
                <p:spPr bwMode="auto">
                  <a:xfrm>
                    <a:off x="3889529" y="4079111"/>
                    <a:ext cx="29890" cy="37363"/>
                  </a:xfrm>
                  <a:custGeom>
                    <a:avLst/>
                    <a:gdLst>
                      <a:gd name="T0" fmla="*/ 4 w 4"/>
                      <a:gd name="T1" fmla="*/ 4 h 5"/>
                      <a:gd name="T2" fmla="*/ 4 w 4"/>
                      <a:gd name="T3" fmla="*/ 0 h 5"/>
                      <a:gd name="T4" fmla="*/ 4 w 4"/>
                      <a:gd name="T5" fmla="*/ 0 h 5"/>
                      <a:gd name="T6" fmla="*/ 4 w 4"/>
                      <a:gd name="T7" fmla="*/ 0 h 5"/>
                      <a:gd name="T8" fmla="*/ 2 w 4"/>
                      <a:gd name="T9" fmla="*/ 0 h 5"/>
                      <a:gd name="T10" fmla="*/ 2 w 4"/>
                      <a:gd name="T11" fmla="*/ 0 h 5"/>
                      <a:gd name="T12" fmla="*/ 0 w 4"/>
                      <a:gd name="T13" fmla="*/ 0 h 5"/>
                      <a:gd name="T14" fmla="*/ 0 w 4"/>
                      <a:gd name="T15" fmla="*/ 4 h 5"/>
                      <a:gd name="T16" fmla="*/ 2 w 4"/>
                      <a:gd name="T17" fmla="*/ 4 h 5"/>
                      <a:gd name="T18" fmla="*/ 2 w 4"/>
                      <a:gd name="T19" fmla="*/ 5 h 5"/>
                      <a:gd name="T20" fmla="*/ 4 w 4"/>
                      <a:gd name="T21" fmla="*/ 5 h 5"/>
                      <a:gd name="T22" fmla="*/ 4 w 4"/>
                      <a:gd name="T23" fmla="*/ 4 h 5"/>
                      <a:gd name="T24" fmla="*/ 4 w 4"/>
                      <a:gd name="T25" fmla="*/ 4 h 5"/>
                      <a:gd name="T26" fmla="*/ 4 w 4"/>
                      <a:gd name="T27" fmla="*/ 4 h 5"/>
                      <a:gd name="T28" fmla="*/ 4 w 4"/>
                      <a:gd name="T29" fmla="*/ 4 h 5"/>
                      <a:gd name="T30" fmla="*/ 2 w 4"/>
                      <a:gd name="T31" fmla="*/ 4 h 5"/>
                      <a:gd name="T32" fmla="*/ 2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2" y="0"/>
                        </a:lnTo>
                        <a:lnTo>
                          <a:pt x="2" y="0"/>
                        </a:lnTo>
                        <a:lnTo>
                          <a:pt x="0" y="0"/>
                        </a:lnTo>
                        <a:lnTo>
                          <a:pt x="0" y="4"/>
                        </a:lnTo>
                        <a:lnTo>
                          <a:pt x="2" y="4"/>
                        </a:lnTo>
                        <a:lnTo>
                          <a:pt x="2" y="5"/>
                        </a:lnTo>
                        <a:lnTo>
                          <a:pt x="4" y="5"/>
                        </a:lnTo>
                        <a:lnTo>
                          <a:pt x="4" y="4"/>
                        </a:lnTo>
                        <a:lnTo>
                          <a:pt x="4" y="4"/>
                        </a:lnTo>
                        <a:lnTo>
                          <a:pt x="4" y="4"/>
                        </a:lnTo>
                        <a:close/>
                        <a:moveTo>
                          <a:pt x="4" y="4"/>
                        </a:moveTo>
                        <a:lnTo>
                          <a:pt x="2" y="4"/>
                        </a:lnTo>
                        <a:lnTo>
                          <a:pt x="2"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2" name="Freeform 900"/>
                  <p:cNvSpPr>
                    <a:spLocks noEditPoints="1"/>
                  </p:cNvSpPr>
                  <p:nvPr/>
                </p:nvSpPr>
                <p:spPr bwMode="auto">
                  <a:xfrm>
                    <a:off x="3934364" y="4079111"/>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3" name="Freeform 901"/>
                  <p:cNvSpPr>
                    <a:spLocks noEditPoints="1"/>
                  </p:cNvSpPr>
                  <p:nvPr/>
                </p:nvSpPr>
                <p:spPr bwMode="auto">
                  <a:xfrm>
                    <a:off x="3747551" y="2958233"/>
                    <a:ext cx="29890" cy="44835"/>
                  </a:xfrm>
                  <a:custGeom>
                    <a:avLst/>
                    <a:gdLst>
                      <a:gd name="T0" fmla="*/ 4 w 4"/>
                      <a:gd name="T1" fmla="*/ 4 h 6"/>
                      <a:gd name="T2" fmla="*/ 4 w 4"/>
                      <a:gd name="T3" fmla="*/ 2 h 6"/>
                      <a:gd name="T4" fmla="*/ 3 w 4"/>
                      <a:gd name="T5" fmla="*/ 2 h 6"/>
                      <a:gd name="T6" fmla="*/ 3 w 4"/>
                      <a:gd name="T7" fmla="*/ 1 h 6"/>
                      <a:gd name="T8" fmla="*/ 3 w 4"/>
                      <a:gd name="T9" fmla="*/ 1 h 6"/>
                      <a:gd name="T10" fmla="*/ 3 w 4"/>
                      <a:gd name="T11" fmla="*/ 0 h 6"/>
                      <a:gd name="T12" fmla="*/ 0 w 4"/>
                      <a:gd name="T13" fmla="*/ 0 h 6"/>
                      <a:gd name="T14" fmla="*/ 0 w 4"/>
                      <a:gd name="T15" fmla="*/ 6 h 6"/>
                      <a:gd name="T16" fmla="*/ 3 w 4"/>
                      <a:gd name="T17" fmla="*/ 6 h 6"/>
                      <a:gd name="T18" fmla="*/ 3 w 4"/>
                      <a:gd name="T19" fmla="*/ 6 h 6"/>
                      <a:gd name="T20" fmla="*/ 3 w 4"/>
                      <a:gd name="T21" fmla="*/ 6 h 6"/>
                      <a:gd name="T22" fmla="*/ 3 w 4"/>
                      <a:gd name="T23" fmla="*/ 4 h 6"/>
                      <a:gd name="T24" fmla="*/ 4 w 4"/>
                      <a:gd name="T25" fmla="*/ 4 h 6"/>
                      <a:gd name="T26" fmla="*/ 4 w 4"/>
                      <a:gd name="T27" fmla="*/ 4 h 6"/>
                      <a:gd name="T28" fmla="*/ 3 w 4"/>
                      <a:gd name="T29" fmla="*/ 4 h 6"/>
                      <a:gd name="T30" fmla="*/ 3 w 4"/>
                      <a:gd name="T31" fmla="*/ 4 h 6"/>
                      <a:gd name="T32" fmla="*/ 3 w 4"/>
                      <a:gd name="T33" fmla="*/ 6 h 6"/>
                      <a:gd name="T34" fmla="*/ 1 w 4"/>
                      <a:gd name="T35" fmla="*/ 6 h 6"/>
                      <a:gd name="T36" fmla="*/ 1 w 4"/>
                      <a:gd name="T37" fmla="*/ 1 h 6"/>
                      <a:gd name="T38" fmla="*/ 3 w 4"/>
                      <a:gd name="T39" fmla="*/ 1 h 6"/>
                      <a:gd name="T40" fmla="*/ 3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3" y="1"/>
                        </a:lnTo>
                        <a:lnTo>
                          <a:pt x="3" y="0"/>
                        </a:lnTo>
                        <a:lnTo>
                          <a:pt x="0" y="0"/>
                        </a:lnTo>
                        <a:lnTo>
                          <a:pt x="0" y="6"/>
                        </a:lnTo>
                        <a:lnTo>
                          <a:pt x="3" y="6"/>
                        </a:lnTo>
                        <a:lnTo>
                          <a:pt x="3" y="6"/>
                        </a:lnTo>
                        <a:lnTo>
                          <a:pt x="3" y="6"/>
                        </a:lnTo>
                        <a:lnTo>
                          <a:pt x="3" y="4"/>
                        </a:lnTo>
                        <a:lnTo>
                          <a:pt x="4" y="4"/>
                        </a:lnTo>
                        <a:lnTo>
                          <a:pt x="4" y="4"/>
                        </a:lnTo>
                        <a:close/>
                        <a:moveTo>
                          <a:pt x="3" y="4"/>
                        </a:moveTo>
                        <a:lnTo>
                          <a:pt x="3" y="4"/>
                        </a:lnTo>
                        <a:lnTo>
                          <a:pt x="3" y="6"/>
                        </a:lnTo>
                        <a:lnTo>
                          <a:pt x="1" y="6"/>
                        </a:lnTo>
                        <a:lnTo>
                          <a:pt x="1" y="1"/>
                        </a:lnTo>
                        <a:lnTo>
                          <a:pt x="3" y="1"/>
                        </a:lnTo>
                        <a:lnTo>
                          <a:pt x="3"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4" name="Freeform 902"/>
                  <p:cNvSpPr>
                    <a:spLocks/>
                  </p:cNvSpPr>
                  <p:nvPr/>
                </p:nvSpPr>
                <p:spPr bwMode="auto">
                  <a:xfrm>
                    <a:off x="3784914" y="2958233"/>
                    <a:ext cx="22418" cy="44835"/>
                  </a:xfrm>
                  <a:custGeom>
                    <a:avLst/>
                    <a:gdLst>
                      <a:gd name="T0" fmla="*/ 3 w 3"/>
                      <a:gd name="T1" fmla="*/ 6 h 6"/>
                      <a:gd name="T2" fmla="*/ 3 w 3"/>
                      <a:gd name="T3" fmla="*/ 6 h 6"/>
                      <a:gd name="T4" fmla="*/ 1 w 3"/>
                      <a:gd name="T5" fmla="*/ 6 h 6"/>
                      <a:gd name="T6" fmla="*/ 1 w 3"/>
                      <a:gd name="T7" fmla="*/ 4 h 6"/>
                      <a:gd name="T8" fmla="*/ 3 w 3"/>
                      <a:gd name="T9" fmla="*/ 4 h 6"/>
                      <a:gd name="T10" fmla="*/ 3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6"/>
                        </a:lnTo>
                        <a:lnTo>
                          <a:pt x="1" y="6"/>
                        </a:lnTo>
                        <a:lnTo>
                          <a:pt x="1" y="4"/>
                        </a:lnTo>
                        <a:lnTo>
                          <a:pt x="3" y="4"/>
                        </a:lnTo>
                        <a:lnTo>
                          <a:pt x="3"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5" name="Freeform 903"/>
                  <p:cNvSpPr>
                    <a:spLocks/>
                  </p:cNvSpPr>
                  <p:nvPr/>
                </p:nvSpPr>
                <p:spPr bwMode="auto">
                  <a:xfrm>
                    <a:off x="3822276" y="2958233"/>
                    <a:ext cx="29890" cy="44835"/>
                  </a:xfrm>
                  <a:custGeom>
                    <a:avLst/>
                    <a:gdLst>
                      <a:gd name="T0" fmla="*/ 4 w 4"/>
                      <a:gd name="T1" fmla="*/ 6 h 6"/>
                      <a:gd name="T2" fmla="*/ 4 w 4"/>
                      <a:gd name="T3" fmla="*/ 3 h 6"/>
                      <a:gd name="T4" fmla="*/ 2 w 4"/>
                      <a:gd name="T5" fmla="*/ 3 h 6"/>
                      <a:gd name="T6" fmla="*/ 2 w 4"/>
                      <a:gd name="T7" fmla="*/ 4 h 6"/>
                      <a:gd name="T8" fmla="*/ 3 w 4"/>
                      <a:gd name="T9" fmla="*/ 4 h 6"/>
                      <a:gd name="T10" fmla="*/ 3 w 4"/>
                      <a:gd name="T11" fmla="*/ 6 h 6"/>
                      <a:gd name="T12" fmla="*/ 1 w 4"/>
                      <a:gd name="T13" fmla="*/ 6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6 h 6"/>
                      <a:gd name="T36" fmla="*/ 1 w 4"/>
                      <a:gd name="T37" fmla="*/ 6 h 6"/>
                      <a:gd name="T38" fmla="*/ 1 w 4"/>
                      <a:gd name="T39" fmla="*/ 6 h 6"/>
                      <a:gd name="T40" fmla="*/ 3 w 4"/>
                      <a:gd name="T41" fmla="*/ 6 h 6"/>
                      <a:gd name="T42" fmla="*/ 3 w 4"/>
                      <a:gd name="T43" fmla="*/ 6 h 6"/>
                      <a:gd name="T44" fmla="*/ 4 w 4"/>
                      <a:gd name="T45" fmla="*/ 6 h 6"/>
                      <a:gd name="T46" fmla="*/ 4 w 4"/>
                      <a:gd name="T4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2" y="3"/>
                        </a:lnTo>
                        <a:lnTo>
                          <a:pt x="2" y="4"/>
                        </a:lnTo>
                        <a:lnTo>
                          <a:pt x="3" y="4"/>
                        </a:lnTo>
                        <a:lnTo>
                          <a:pt x="3" y="6"/>
                        </a:lnTo>
                        <a:lnTo>
                          <a:pt x="1" y="6"/>
                        </a:lnTo>
                        <a:lnTo>
                          <a:pt x="1" y="1"/>
                        </a:lnTo>
                        <a:lnTo>
                          <a:pt x="3" y="1"/>
                        </a:lnTo>
                        <a:lnTo>
                          <a:pt x="3" y="2"/>
                        </a:lnTo>
                        <a:lnTo>
                          <a:pt x="4" y="2"/>
                        </a:lnTo>
                        <a:lnTo>
                          <a:pt x="4" y="1"/>
                        </a:lnTo>
                        <a:lnTo>
                          <a:pt x="3" y="1"/>
                        </a:lnTo>
                        <a:lnTo>
                          <a:pt x="3" y="0"/>
                        </a:lnTo>
                        <a:lnTo>
                          <a:pt x="1" y="0"/>
                        </a:lnTo>
                        <a:lnTo>
                          <a:pt x="1" y="1"/>
                        </a:lnTo>
                        <a:lnTo>
                          <a:pt x="0" y="1"/>
                        </a:lnTo>
                        <a:lnTo>
                          <a:pt x="0" y="6"/>
                        </a:lnTo>
                        <a:lnTo>
                          <a:pt x="1" y="6"/>
                        </a:lnTo>
                        <a:lnTo>
                          <a:pt x="1" y="6"/>
                        </a:lnTo>
                        <a:lnTo>
                          <a:pt x="3" y="6"/>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6" name="Freeform 904"/>
                  <p:cNvSpPr>
                    <a:spLocks/>
                  </p:cNvSpPr>
                  <p:nvPr/>
                </p:nvSpPr>
                <p:spPr bwMode="auto">
                  <a:xfrm>
                    <a:off x="3882057" y="2965705"/>
                    <a:ext cx="29890" cy="37363"/>
                  </a:xfrm>
                  <a:custGeom>
                    <a:avLst/>
                    <a:gdLst>
                      <a:gd name="T0" fmla="*/ 4 w 4"/>
                      <a:gd name="T1" fmla="*/ 0 h 5"/>
                      <a:gd name="T2" fmla="*/ 4 w 4"/>
                      <a:gd name="T3" fmla="*/ 0 h 5"/>
                      <a:gd name="T4" fmla="*/ 0 w 4"/>
                      <a:gd name="T5" fmla="*/ 0 h 5"/>
                      <a:gd name="T6" fmla="*/ 0 w 4"/>
                      <a:gd name="T7" fmla="*/ 5 h 5"/>
                      <a:gd name="T8" fmla="*/ 1 w 4"/>
                      <a:gd name="T9" fmla="*/ 5 h 5"/>
                      <a:gd name="T10" fmla="*/ 1 w 4"/>
                      <a:gd name="T11" fmla="*/ 3 h 5"/>
                      <a:gd name="T12" fmla="*/ 3 w 4"/>
                      <a:gd name="T13" fmla="*/ 3 h 5"/>
                      <a:gd name="T14" fmla="*/ 3 w 4"/>
                      <a:gd name="T15" fmla="*/ 2 h 5"/>
                      <a:gd name="T16" fmla="*/ 1 w 4"/>
                      <a:gd name="T17" fmla="*/ 2 h 5"/>
                      <a:gd name="T18" fmla="*/ 1 w 4"/>
                      <a:gd name="T19" fmla="*/ 0 h 5"/>
                      <a:gd name="T20" fmla="*/ 4 w 4"/>
                      <a:gd name="T21" fmla="*/ 0 h 5"/>
                      <a:gd name="T22" fmla="*/ 4 w 4"/>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0"/>
                        </a:moveTo>
                        <a:lnTo>
                          <a:pt x="4" y="0"/>
                        </a:lnTo>
                        <a:lnTo>
                          <a:pt x="0" y="0"/>
                        </a:lnTo>
                        <a:lnTo>
                          <a:pt x="0" y="5"/>
                        </a:lnTo>
                        <a:lnTo>
                          <a:pt x="1" y="5"/>
                        </a:lnTo>
                        <a:lnTo>
                          <a:pt x="1" y="3"/>
                        </a:lnTo>
                        <a:lnTo>
                          <a:pt x="3" y="3"/>
                        </a:lnTo>
                        <a:lnTo>
                          <a:pt x="3" y="2"/>
                        </a:lnTo>
                        <a:lnTo>
                          <a:pt x="1" y="2"/>
                        </a:lnTo>
                        <a:lnTo>
                          <a:pt x="1"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7" name="Freeform 905"/>
                  <p:cNvSpPr>
                    <a:spLocks noEditPoints="1"/>
                  </p:cNvSpPr>
                  <p:nvPr/>
                </p:nvSpPr>
                <p:spPr bwMode="auto">
                  <a:xfrm>
                    <a:off x="3971727" y="2958233"/>
                    <a:ext cx="29890" cy="44835"/>
                  </a:xfrm>
                  <a:custGeom>
                    <a:avLst/>
                    <a:gdLst>
                      <a:gd name="T0" fmla="*/ 4 w 4"/>
                      <a:gd name="T1" fmla="*/ 6 h 6"/>
                      <a:gd name="T2" fmla="*/ 4 w 4"/>
                      <a:gd name="T3" fmla="*/ 4 h 6"/>
                      <a:gd name="T4" fmla="*/ 3 w 4"/>
                      <a:gd name="T5" fmla="*/ 4 h 6"/>
                      <a:gd name="T6" fmla="*/ 3 w 4"/>
                      <a:gd name="T7" fmla="*/ 3 h 6"/>
                      <a:gd name="T8" fmla="*/ 0 w 4"/>
                      <a:gd name="T9" fmla="*/ 3 h 6"/>
                      <a:gd name="T10" fmla="*/ 0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0 w 4"/>
                      <a:gd name="T25" fmla="*/ 1 h 6"/>
                      <a:gd name="T26" fmla="*/ 0 w 4"/>
                      <a:gd name="T27" fmla="*/ 2 h 6"/>
                      <a:gd name="T28" fmla="*/ 0 w 4"/>
                      <a:gd name="T29" fmla="*/ 2 h 6"/>
                      <a:gd name="T30" fmla="*/ 0 w 4"/>
                      <a:gd name="T31" fmla="*/ 6 h 6"/>
                      <a:gd name="T32" fmla="*/ 0 w 4"/>
                      <a:gd name="T33" fmla="*/ 6 h 6"/>
                      <a:gd name="T34" fmla="*/ 0 w 4"/>
                      <a:gd name="T35" fmla="*/ 6 h 6"/>
                      <a:gd name="T36" fmla="*/ 3 w 4"/>
                      <a:gd name="T37" fmla="*/ 6 h 6"/>
                      <a:gd name="T38" fmla="*/ 3 w 4"/>
                      <a:gd name="T39" fmla="*/ 6 h 6"/>
                      <a:gd name="T40" fmla="*/ 4 w 4"/>
                      <a:gd name="T41" fmla="*/ 6 h 6"/>
                      <a:gd name="T42" fmla="*/ 4 w 4"/>
                      <a:gd name="T43" fmla="*/ 6 h 6"/>
                      <a:gd name="T44" fmla="*/ 3 w 4"/>
                      <a:gd name="T45" fmla="*/ 6 h 6"/>
                      <a:gd name="T46" fmla="*/ 0 w 4"/>
                      <a:gd name="T47" fmla="*/ 6 h 6"/>
                      <a:gd name="T48" fmla="*/ 0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0" y="3"/>
                        </a:lnTo>
                        <a:lnTo>
                          <a:pt x="0" y="2"/>
                        </a:lnTo>
                        <a:lnTo>
                          <a:pt x="2" y="2"/>
                        </a:lnTo>
                        <a:lnTo>
                          <a:pt x="2" y="1"/>
                        </a:lnTo>
                        <a:lnTo>
                          <a:pt x="3" y="1"/>
                        </a:lnTo>
                        <a:lnTo>
                          <a:pt x="3" y="0"/>
                        </a:lnTo>
                        <a:lnTo>
                          <a:pt x="2" y="0"/>
                        </a:lnTo>
                        <a:lnTo>
                          <a:pt x="2" y="1"/>
                        </a:lnTo>
                        <a:lnTo>
                          <a:pt x="0" y="1"/>
                        </a:lnTo>
                        <a:lnTo>
                          <a:pt x="0" y="2"/>
                        </a:lnTo>
                        <a:lnTo>
                          <a:pt x="0" y="2"/>
                        </a:lnTo>
                        <a:lnTo>
                          <a:pt x="0" y="6"/>
                        </a:lnTo>
                        <a:lnTo>
                          <a:pt x="0" y="6"/>
                        </a:lnTo>
                        <a:lnTo>
                          <a:pt x="0" y="6"/>
                        </a:lnTo>
                        <a:lnTo>
                          <a:pt x="3" y="6"/>
                        </a:lnTo>
                        <a:lnTo>
                          <a:pt x="3" y="6"/>
                        </a:lnTo>
                        <a:lnTo>
                          <a:pt x="4" y="6"/>
                        </a:lnTo>
                        <a:lnTo>
                          <a:pt x="4" y="6"/>
                        </a:lnTo>
                        <a:close/>
                        <a:moveTo>
                          <a:pt x="3" y="6"/>
                        </a:moveTo>
                        <a:lnTo>
                          <a:pt x="0" y="6"/>
                        </a:lnTo>
                        <a:lnTo>
                          <a:pt x="0"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8" name="Freeform 906"/>
                  <p:cNvSpPr>
                    <a:spLocks/>
                  </p:cNvSpPr>
                  <p:nvPr/>
                </p:nvSpPr>
                <p:spPr bwMode="auto">
                  <a:xfrm>
                    <a:off x="4009089" y="2965705"/>
                    <a:ext cx="29890" cy="37363"/>
                  </a:xfrm>
                  <a:custGeom>
                    <a:avLst/>
                    <a:gdLst>
                      <a:gd name="T0" fmla="*/ 4 w 4"/>
                      <a:gd name="T1" fmla="*/ 5 h 5"/>
                      <a:gd name="T2" fmla="*/ 4 w 4"/>
                      <a:gd name="T3" fmla="*/ 2 h 5"/>
                      <a:gd name="T4" fmla="*/ 3 w 4"/>
                      <a:gd name="T5" fmla="*/ 2 h 5"/>
                      <a:gd name="T6" fmla="*/ 3 w 4"/>
                      <a:gd name="T7" fmla="*/ 1 h 5"/>
                      <a:gd name="T8" fmla="*/ 1 w 4"/>
                      <a:gd name="T9" fmla="*/ 1 h 5"/>
                      <a:gd name="T10" fmla="*/ 1 w 4"/>
                      <a:gd name="T11" fmla="*/ 0 h 5"/>
                      <a:gd name="T12" fmla="*/ 4 w 4"/>
                      <a:gd name="T13" fmla="*/ 0 h 5"/>
                      <a:gd name="T14" fmla="*/ 4 w 4"/>
                      <a:gd name="T15" fmla="*/ 0 h 5"/>
                      <a:gd name="T16" fmla="*/ 0 w 4"/>
                      <a:gd name="T17" fmla="*/ 0 h 5"/>
                      <a:gd name="T18" fmla="*/ 0 w 4"/>
                      <a:gd name="T19" fmla="*/ 2 h 5"/>
                      <a:gd name="T20" fmla="*/ 3 w 4"/>
                      <a:gd name="T21" fmla="*/ 2 h 5"/>
                      <a:gd name="T22" fmla="*/ 3 w 4"/>
                      <a:gd name="T23" fmla="*/ 5 h 5"/>
                      <a:gd name="T24" fmla="*/ 1 w 4"/>
                      <a:gd name="T25" fmla="*/ 5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2"/>
                        </a:lnTo>
                        <a:lnTo>
                          <a:pt x="3" y="2"/>
                        </a:lnTo>
                        <a:lnTo>
                          <a:pt x="3" y="1"/>
                        </a:lnTo>
                        <a:lnTo>
                          <a:pt x="1" y="1"/>
                        </a:lnTo>
                        <a:lnTo>
                          <a:pt x="1" y="0"/>
                        </a:lnTo>
                        <a:lnTo>
                          <a:pt x="4" y="0"/>
                        </a:lnTo>
                        <a:lnTo>
                          <a:pt x="4" y="0"/>
                        </a:lnTo>
                        <a:lnTo>
                          <a:pt x="0" y="0"/>
                        </a:lnTo>
                        <a:lnTo>
                          <a:pt x="0" y="2"/>
                        </a:lnTo>
                        <a:lnTo>
                          <a:pt x="3" y="2"/>
                        </a:lnTo>
                        <a:lnTo>
                          <a:pt x="3" y="5"/>
                        </a:lnTo>
                        <a:lnTo>
                          <a:pt x="1" y="5"/>
                        </a:lnTo>
                        <a:lnTo>
                          <a:pt x="1" y="3"/>
                        </a:lnTo>
                        <a:lnTo>
                          <a:pt x="0" y="3"/>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59" name="Freeform 907"/>
                  <p:cNvSpPr>
                    <a:spLocks noEditPoints="1"/>
                  </p:cNvSpPr>
                  <p:nvPr/>
                </p:nvSpPr>
                <p:spPr bwMode="auto">
                  <a:xfrm>
                    <a:off x="4046452" y="2958233"/>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3 h 6"/>
                      <a:gd name="T24" fmla="*/ 1 w 4"/>
                      <a:gd name="T25" fmla="*/ 3 h 6"/>
                      <a:gd name="T26" fmla="*/ 1 w 4"/>
                      <a:gd name="T27" fmla="*/ 4 h 6"/>
                      <a:gd name="T28" fmla="*/ 0 w 4"/>
                      <a:gd name="T29" fmla="*/ 4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 name="T56" fmla="*/ 3 w 4"/>
                      <a:gd name="T57" fmla="*/ 6 h 6"/>
                      <a:gd name="T58" fmla="*/ 1 w 4"/>
                      <a:gd name="T59" fmla="*/ 6 h 6"/>
                      <a:gd name="T60" fmla="*/ 1 w 4"/>
                      <a:gd name="T61" fmla="*/ 4 h 6"/>
                      <a:gd name="T62" fmla="*/ 3 w 4"/>
                      <a:gd name="T63" fmla="*/ 4 h 6"/>
                      <a:gd name="T64" fmla="*/ 3 w 4"/>
                      <a:gd name="T65" fmla="*/ 6 h 6"/>
                      <a:gd name="T66" fmla="*/ 3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4"/>
                        </a:lnTo>
                        <a:lnTo>
                          <a:pt x="3" y="4"/>
                        </a:lnTo>
                        <a:lnTo>
                          <a:pt x="3" y="3"/>
                        </a:lnTo>
                        <a:lnTo>
                          <a:pt x="4" y="3"/>
                        </a:lnTo>
                        <a:lnTo>
                          <a:pt x="4" y="1"/>
                        </a:lnTo>
                        <a:lnTo>
                          <a:pt x="3" y="1"/>
                        </a:lnTo>
                        <a:lnTo>
                          <a:pt x="3" y="0"/>
                        </a:lnTo>
                        <a:lnTo>
                          <a:pt x="1" y="0"/>
                        </a:lnTo>
                        <a:lnTo>
                          <a:pt x="1" y="1"/>
                        </a:lnTo>
                        <a:lnTo>
                          <a:pt x="0" y="1"/>
                        </a:lnTo>
                        <a:lnTo>
                          <a:pt x="0" y="3"/>
                        </a:lnTo>
                        <a:lnTo>
                          <a:pt x="1" y="3"/>
                        </a:lnTo>
                        <a:lnTo>
                          <a:pt x="1" y="4"/>
                        </a:lnTo>
                        <a:lnTo>
                          <a:pt x="0" y="4"/>
                        </a:lnTo>
                        <a:lnTo>
                          <a:pt x="0" y="6"/>
                        </a:lnTo>
                        <a:lnTo>
                          <a:pt x="1" y="6"/>
                        </a:lnTo>
                        <a:lnTo>
                          <a:pt x="1" y="6"/>
                        </a:lnTo>
                        <a:lnTo>
                          <a:pt x="3" y="6"/>
                        </a:lnTo>
                        <a:lnTo>
                          <a:pt x="3" y="6"/>
                        </a:lnTo>
                        <a:lnTo>
                          <a:pt x="4" y="6"/>
                        </a:lnTo>
                        <a:lnTo>
                          <a:pt x="4" y="6"/>
                        </a:lnTo>
                        <a:close/>
                        <a:moveTo>
                          <a:pt x="3" y="3"/>
                        </a:moveTo>
                        <a:lnTo>
                          <a:pt x="1" y="3"/>
                        </a:lnTo>
                        <a:lnTo>
                          <a:pt x="1" y="1"/>
                        </a:lnTo>
                        <a:lnTo>
                          <a:pt x="3" y="1"/>
                        </a:lnTo>
                        <a:lnTo>
                          <a:pt x="3" y="3"/>
                        </a:lnTo>
                        <a:lnTo>
                          <a:pt x="3" y="3"/>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0" name="Freeform 908"/>
                  <p:cNvSpPr>
                    <a:spLocks/>
                  </p:cNvSpPr>
                  <p:nvPr/>
                </p:nvSpPr>
                <p:spPr bwMode="auto">
                  <a:xfrm>
                    <a:off x="4083815" y="3003068"/>
                    <a:ext cx="7473"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1" name="Freeform 909"/>
                  <p:cNvSpPr>
                    <a:spLocks noEditPoints="1"/>
                  </p:cNvSpPr>
                  <p:nvPr/>
                </p:nvSpPr>
                <p:spPr bwMode="auto">
                  <a:xfrm>
                    <a:off x="4098760" y="2958233"/>
                    <a:ext cx="29890" cy="44835"/>
                  </a:xfrm>
                  <a:custGeom>
                    <a:avLst/>
                    <a:gdLst>
                      <a:gd name="T0" fmla="*/ 4 w 4"/>
                      <a:gd name="T1" fmla="*/ 4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3 w 4"/>
                      <a:gd name="T21" fmla="*/ 4 h 6"/>
                      <a:gd name="T22" fmla="*/ 3 w 4"/>
                      <a:gd name="T23" fmla="*/ 4 h 6"/>
                      <a:gd name="T24" fmla="*/ 2 w 4"/>
                      <a:gd name="T25" fmla="*/ 4 h 6"/>
                      <a:gd name="T26" fmla="*/ 2 w 4"/>
                      <a:gd name="T27" fmla="*/ 6 h 6"/>
                      <a:gd name="T28" fmla="*/ 1 w 4"/>
                      <a:gd name="T29" fmla="*/ 6 h 6"/>
                      <a:gd name="T30" fmla="*/ 1 w 4"/>
                      <a:gd name="T31" fmla="*/ 6 h 6"/>
                      <a:gd name="T32" fmla="*/ 2 w 4"/>
                      <a:gd name="T33" fmla="*/ 6 h 6"/>
                      <a:gd name="T34" fmla="*/ 2 w 4"/>
                      <a:gd name="T35" fmla="*/ 6 h 6"/>
                      <a:gd name="T36" fmla="*/ 3 w 4"/>
                      <a:gd name="T37" fmla="*/ 6 h 6"/>
                      <a:gd name="T38" fmla="*/ 3 w 4"/>
                      <a:gd name="T39" fmla="*/ 4 h 6"/>
                      <a:gd name="T40" fmla="*/ 4 w 4"/>
                      <a:gd name="T41" fmla="*/ 4 h 6"/>
                      <a:gd name="T42" fmla="*/ 4 w 4"/>
                      <a:gd name="T43" fmla="*/ 4 h 6"/>
                      <a:gd name="T44" fmla="*/ 3 w 4"/>
                      <a:gd name="T45" fmla="*/ 3 h 6"/>
                      <a:gd name="T46" fmla="*/ 1 w 4"/>
                      <a:gd name="T47" fmla="*/ 3 h 6"/>
                      <a:gd name="T48" fmla="*/ 1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3" y="1"/>
                        </a:lnTo>
                        <a:lnTo>
                          <a:pt x="3" y="0"/>
                        </a:lnTo>
                        <a:lnTo>
                          <a:pt x="1" y="0"/>
                        </a:lnTo>
                        <a:lnTo>
                          <a:pt x="1" y="1"/>
                        </a:lnTo>
                        <a:lnTo>
                          <a:pt x="0" y="1"/>
                        </a:lnTo>
                        <a:lnTo>
                          <a:pt x="0" y="3"/>
                        </a:lnTo>
                        <a:lnTo>
                          <a:pt x="1" y="3"/>
                        </a:lnTo>
                        <a:lnTo>
                          <a:pt x="1" y="4"/>
                        </a:lnTo>
                        <a:lnTo>
                          <a:pt x="3" y="4"/>
                        </a:lnTo>
                        <a:lnTo>
                          <a:pt x="3" y="4"/>
                        </a:lnTo>
                        <a:lnTo>
                          <a:pt x="2" y="4"/>
                        </a:lnTo>
                        <a:lnTo>
                          <a:pt x="2" y="6"/>
                        </a:lnTo>
                        <a:lnTo>
                          <a:pt x="1" y="6"/>
                        </a:lnTo>
                        <a:lnTo>
                          <a:pt x="1" y="6"/>
                        </a:lnTo>
                        <a:lnTo>
                          <a:pt x="2" y="6"/>
                        </a:lnTo>
                        <a:lnTo>
                          <a:pt x="2" y="6"/>
                        </a:lnTo>
                        <a:lnTo>
                          <a:pt x="3" y="6"/>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2" name="Freeform 910"/>
                  <p:cNvSpPr>
                    <a:spLocks noEditPoints="1"/>
                  </p:cNvSpPr>
                  <p:nvPr/>
                </p:nvSpPr>
                <p:spPr bwMode="auto">
                  <a:xfrm>
                    <a:off x="4136122" y="2965705"/>
                    <a:ext cx="37363" cy="37363"/>
                  </a:xfrm>
                  <a:custGeom>
                    <a:avLst/>
                    <a:gdLst>
                      <a:gd name="T0" fmla="*/ 5 w 5"/>
                      <a:gd name="T1" fmla="*/ 3 h 5"/>
                      <a:gd name="T2" fmla="*/ 5 w 5"/>
                      <a:gd name="T3" fmla="*/ 3 h 5"/>
                      <a:gd name="T4" fmla="*/ 4 w 5"/>
                      <a:gd name="T5" fmla="*/ 3 h 5"/>
                      <a:gd name="T6" fmla="*/ 4 w 5"/>
                      <a:gd name="T7" fmla="*/ 0 h 5"/>
                      <a:gd name="T8" fmla="*/ 3 w 5"/>
                      <a:gd name="T9" fmla="*/ 0 h 5"/>
                      <a:gd name="T10" fmla="*/ 3 w 5"/>
                      <a:gd name="T11" fmla="*/ 0 h 5"/>
                      <a:gd name="T12" fmla="*/ 3 w 5"/>
                      <a:gd name="T13" fmla="*/ 0 h 5"/>
                      <a:gd name="T14" fmla="*/ 3 w 5"/>
                      <a:gd name="T15" fmla="*/ 1 h 5"/>
                      <a:gd name="T16" fmla="*/ 1 w 5"/>
                      <a:gd name="T17" fmla="*/ 1 h 5"/>
                      <a:gd name="T18" fmla="*/ 1 w 5"/>
                      <a:gd name="T19" fmla="*/ 2 h 5"/>
                      <a:gd name="T20" fmla="*/ 1 w 5"/>
                      <a:gd name="T21" fmla="*/ 2 h 5"/>
                      <a:gd name="T22" fmla="*/ 1 w 5"/>
                      <a:gd name="T23" fmla="*/ 3 h 5"/>
                      <a:gd name="T24" fmla="*/ 0 w 5"/>
                      <a:gd name="T25" fmla="*/ 3 h 5"/>
                      <a:gd name="T26" fmla="*/ 0 w 5"/>
                      <a:gd name="T27" fmla="*/ 3 h 5"/>
                      <a:gd name="T28" fmla="*/ 3 w 5"/>
                      <a:gd name="T29" fmla="*/ 3 h 5"/>
                      <a:gd name="T30" fmla="*/ 3 w 5"/>
                      <a:gd name="T31" fmla="*/ 5 h 5"/>
                      <a:gd name="T32" fmla="*/ 4 w 5"/>
                      <a:gd name="T33" fmla="*/ 5 h 5"/>
                      <a:gd name="T34" fmla="*/ 4 w 5"/>
                      <a:gd name="T35" fmla="*/ 3 h 5"/>
                      <a:gd name="T36" fmla="*/ 5 w 5"/>
                      <a:gd name="T37" fmla="*/ 3 h 5"/>
                      <a:gd name="T38" fmla="*/ 5 w 5"/>
                      <a:gd name="T39" fmla="*/ 3 h 5"/>
                      <a:gd name="T40" fmla="*/ 3 w 5"/>
                      <a:gd name="T41" fmla="*/ 3 h 5"/>
                      <a:gd name="T42" fmla="*/ 1 w 5"/>
                      <a:gd name="T43" fmla="*/ 3 h 5"/>
                      <a:gd name="T44" fmla="*/ 1 w 5"/>
                      <a:gd name="T45" fmla="*/ 2 h 5"/>
                      <a:gd name="T46" fmla="*/ 3 w 5"/>
                      <a:gd name="T47" fmla="*/ 2 h 5"/>
                      <a:gd name="T48" fmla="*/ 3 w 5"/>
                      <a:gd name="T49" fmla="*/ 1 h 5"/>
                      <a:gd name="T50" fmla="*/ 3 w 5"/>
                      <a:gd name="T51" fmla="*/ 1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3"/>
                        </a:moveTo>
                        <a:lnTo>
                          <a:pt x="5" y="3"/>
                        </a:lnTo>
                        <a:lnTo>
                          <a:pt x="4" y="3"/>
                        </a:lnTo>
                        <a:lnTo>
                          <a:pt x="4" y="0"/>
                        </a:lnTo>
                        <a:lnTo>
                          <a:pt x="3" y="0"/>
                        </a:lnTo>
                        <a:lnTo>
                          <a:pt x="3" y="0"/>
                        </a:lnTo>
                        <a:lnTo>
                          <a:pt x="3" y="0"/>
                        </a:lnTo>
                        <a:lnTo>
                          <a:pt x="3" y="1"/>
                        </a:lnTo>
                        <a:lnTo>
                          <a:pt x="1" y="1"/>
                        </a:lnTo>
                        <a:lnTo>
                          <a:pt x="1" y="2"/>
                        </a:lnTo>
                        <a:lnTo>
                          <a:pt x="1" y="2"/>
                        </a:lnTo>
                        <a:lnTo>
                          <a:pt x="1" y="3"/>
                        </a:lnTo>
                        <a:lnTo>
                          <a:pt x="0" y="3"/>
                        </a:lnTo>
                        <a:lnTo>
                          <a:pt x="0" y="3"/>
                        </a:lnTo>
                        <a:lnTo>
                          <a:pt x="3" y="3"/>
                        </a:lnTo>
                        <a:lnTo>
                          <a:pt x="3" y="5"/>
                        </a:lnTo>
                        <a:lnTo>
                          <a:pt x="4" y="5"/>
                        </a:lnTo>
                        <a:lnTo>
                          <a:pt x="4" y="3"/>
                        </a:lnTo>
                        <a:lnTo>
                          <a:pt x="5" y="3"/>
                        </a:lnTo>
                        <a:lnTo>
                          <a:pt x="5" y="3"/>
                        </a:lnTo>
                        <a:close/>
                        <a:moveTo>
                          <a:pt x="3" y="3"/>
                        </a:moveTo>
                        <a:lnTo>
                          <a:pt x="1" y="3"/>
                        </a:lnTo>
                        <a:lnTo>
                          <a:pt x="1" y="2"/>
                        </a:lnTo>
                        <a:lnTo>
                          <a:pt x="3" y="2"/>
                        </a:lnTo>
                        <a:lnTo>
                          <a:pt x="3"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3" name="Freeform 911"/>
                  <p:cNvSpPr>
                    <a:spLocks noEditPoints="1"/>
                  </p:cNvSpPr>
                  <p:nvPr/>
                </p:nvSpPr>
                <p:spPr bwMode="auto">
                  <a:xfrm>
                    <a:off x="4180957" y="2958233"/>
                    <a:ext cx="29890" cy="44835"/>
                  </a:xfrm>
                  <a:custGeom>
                    <a:avLst/>
                    <a:gdLst>
                      <a:gd name="T0" fmla="*/ 4 w 4"/>
                      <a:gd name="T1" fmla="*/ 6 h 6"/>
                      <a:gd name="T2" fmla="*/ 4 w 4"/>
                      <a:gd name="T3" fmla="*/ 4 h 6"/>
                      <a:gd name="T4" fmla="*/ 3 w 4"/>
                      <a:gd name="T5" fmla="*/ 4 h 6"/>
                      <a:gd name="T6" fmla="*/ 3 w 4"/>
                      <a:gd name="T7" fmla="*/ 3 h 6"/>
                      <a:gd name="T8" fmla="*/ 1 w 4"/>
                      <a:gd name="T9" fmla="*/ 3 h 6"/>
                      <a:gd name="T10" fmla="*/ 1 w 4"/>
                      <a:gd name="T11" fmla="*/ 2 h 6"/>
                      <a:gd name="T12" fmla="*/ 2 w 4"/>
                      <a:gd name="T13" fmla="*/ 2 h 6"/>
                      <a:gd name="T14" fmla="*/ 2 w 4"/>
                      <a:gd name="T15" fmla="*/ 1 h 6"/>
                      <a:gd name="T16" fmla="*/ 3 w 4"/>
                      <a:gd name="T17" fmla="*/ 1 h 6"/>
                      <a:gd name="T18" fmla="*/ 3 w 4"/>
                      <a:gd name="T19" fmla="*/ 0 h 6"/>
                      <a:gd name="T20" fmla="*/ 2 w 4"/>
                      <a:gd name="T21" fmla="*/ 0 h 6"/>
                      <a:gd name="T22" fmla="*/ 2 w 4"/>
                      <a:gd name="T23" fmla="*/ 1 h 6"/>
                      <a:gd name="T24" fmla="*/ 1 w 4"/>
                      <a:gd name="T25" fmla="*/ 1 h 6"/>
                      <a:gd name="T26" fmla="*/ 1 w 4"/>
                      <a:gd name="T27" fmla="*/ 2 h 6"/>
                      <a:gd name="T28" fmla="*/ 0 w 4"/>
                      <a:gd name="T29" fmla="*/ 2 h 6"/>
                      <a:gd name="T30" fmla="*/ 0 w 4"/>
                      <a:gd name="T31" fmla="*/ 6 h 6"/>
                      <a:gd name="T32" fmla="*/ 1 w 4"/>
                      <a:gd name="T33" fmla="*/ 6 h 6"/>
                      <a:gd name="T34" fmla="*/ 1 w 4"/>
                      <a:gd name="T35" fmla="*/ 6 h 6"/>
                      <a:gd name="T36" fmla="*/ 3 w 4"/>
                      <a:gd name="T37" fmla="*/ 6 h 6"/>
                      <a:gd name="T38" fmla="*/ 3 w 4"/>
                      <a:gd name="T39" fmla="*/ 6 h 6"/>
                      <a:gd name="T40" fmla="*/ 4 w 4"/>
                      <a:gd name="T41" fmla="*/ 6 h 6"/>
                      <a:gd name="T42" fmla="*/ 4 w 4"/>
                      <a:gd name="T43" fmla="*/ 6 h 6"/>
                      <a:gd name="T44" fmla="*/ 3 w 4"/>
                      <a:gd name="T45" fmla="*/ 6 h 6"/>
                      <a:gd name="T46" fmla="*/ 1 w 4"/>
                      <a:gd name="T47" fmla="*/ 6 h 6"/>
                      <a:gd name="T48" fmla="*/ 1 w 4"/>
                      <a:gd name="T49" fmla="*/ 4 h 6"/>
                      <a:gd name="T50" fmla="*/ 3 w 4"/>
                      <a:gd name="T51" fmla="*/ 4 h 6"/>
                      <a:gd name="T52" fmla="*/ 3 w 4"/>
                      <a:gd name="T53" fmla="*/ 6 h 6"/>
                      <a:gd name="T54" fmla="*/ 3 w 4"/>
                      <a:gd name="T5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6"/>
                        </a:moveTo>
                        <a:lnTo>
                          <a:pt x="4" y="4"/>
                        </a:lnTo>
                        <a:lnTo>
                          <a:pt x="3" y="4"/>
                        </a:lnTo>
                        <a:lnTo>
                          <a:pt x="3" y="3"/>
                        </a:lnTo>
                        <a:lnTo>
                          <a:pt x="1" y="3"/>
                        </a:lnTo>
                        <a:lnTo>
                          <a:pt x="1" y="2"/>
                        </a:lnTo>
                        <a:lnTo>
                          <a:pt x="2" y="2"/>
                        </a:lnTo>
                        <a:lnTo>
                          <a:pt x="2" y="1"/>
                        </a:lnTo>
                        <a:lnTo>
                          <a:pt x="3" y="1"/>
                        </a:lnTo>
                        <a:lnTo>
                          <a:pt x="3" y="0"/>
                        </a:lnTo>
                        <a:lnTo>
                          <a:pt x="2" y="0"/>
                        </a:lnTo>
                        <a:lnTo>
                          <a:pt x="2" y="1"/>
                        </a:lnTo>
                        <a:lnTo>
                          <a:pt x="1" y="1"/>
                        </a:lnTo>
                        <a:lnTo>
                          <a:pt x="1" y="2"/>
                        </a:lnTo>
                        <a:lnTo>
                          <a:pt x="0" y="2"/>
                        </a:lnTo>
                        <a:lnTo>
                          <a:pt x="0" y="6"/>
                        </a:lnTo>
                        <a:lnTo>
                          <a:pt x="1" y="6"/>
                        </a:lnTo>
                        <a:lnTo>
                          <a:pt x="1" y="6"/>
                        </a:lnTo>
                        <a:lnTo>
                          <a:pt x="3" y="6"/>
                        </a:lnTo>
                        <a:lnTo>
                          <a:pt x="3" y="6"/>
                        </a:lnTo>
                        <a:lnTo>
                          <a:pt x="4" y="6"/>
                        </a:lnTo>
                        <a:lnTo>
                          <a:pt x="4" y="6"/>
                        </a:lnTo>
                        <a:close/>
                        <a:moveTo>
                          <a:pt x="3" y="6"/>
                        </a:moveTo>
                        <a:lnTo>
                          <a:pt x="1" y="6"/>
                        </a:lnTo>
                        <a:lnTo>
                          <a:pt x="1" y="4"/>
                        </a:lnTo>
                        <a:lnTo>
                          <a:pt x="3" y="4"/>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4" name="Freeform 912"/>
                  <p:cNvSpPr>
                    <a:spLocks/>
                  </p:cNvSpPr>
                  <p:nvPr/>
                </p:nvSpPr>
                <p:spPr bwMode="auto">
                  <a:xfrm>
                    <a:off x="3366453" y="2607024"/>
                    <a:ext cx="22418" cy="37363"/>
                  </a:xfrm>
                  <a:custGeom>
                    <a:avLst/>
                    <a:gdLst>
                      <a:gd name="T0" fmla="*/ 3 w 3"/>
                      <a:gd name="T1" fmla="*/ 5 h 5"/>
                      <a:gd name="T2" fmla="*/ 3 w 3"/>
                      <a:gd name="T3" fmla="*/ 0 h 5"/>
                      <a:gd name="T4" fmla="*/ 2 w 3"/>
                      <a:gd name="T5" fmla="*/ 0 h 5"/>
                      <a:gd name="T6" fmla="*/ 2 w 3"/>
                      <a:gd name="T7" fmla="*/ 0 h 5"/>
                      <a:gd name="T8" fmla="*/ 1 w 3"/>
                      <a:gd name="T9" fmla="*/ 0 h 5"/>
                      <a:gd name="T10" fmla="*/ 1 w 3"/>
                      <a:gd name="T11" fmla="*/ 1 h 5"/>
                      <a:gd name="T12" fmla="*/ 0 w 3"/>
                      <a:gd name="T13" fmla="*/ 1 h 5"/>
                      <a:gd name="T14" fmla="*/ 0 w 3"/>
                      <a:gd name="T15" fmla="*/ 2 h 5"/>
                      <a:gd name="T16" fmla="*/ 1 w 3"/>
                      <a:gd name="T17" fmla="*/ 2 h 5"/>
                      <a:gd name="T18" fmla="*/ 1 w 3"/>
                      <a:gd name="T19" fmla="*/ 1 h 5"/>
                      <a:gd name="T20" fmla="*/ 2 w 3"/>
                      <a:gd name="T21" fmla="*/ 1 h 5"/>
                      <a:gd name="T22" fmla="*/ 2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2" y="0"/>
                        </a:lnTo>
                        <a:lnTo>
                          <a:pt x="2" y="0"/>
                        </a:lnTo>
                        <a:lnTo>
                          <a:pt x="1" y="0"/>
                        </a:lnTo>
                        <a:lnTo>
                          <a:pt x="1" y="1"/>
                        </a:lnTo>
                        <a:lnTo>
                          <a:pt x="0" y="1"/>
                        </a:lnTo>
                        <a:lnTo>
                          <a:pt x="0" y="2"/>
                        </a:lnTo>
                        <a:lnTo>
                          <a:pt x="1" y="2"/>
                        </a:lnTo>
                        <a:lnTo>
                          <a:pt x="1" y="1"/>
                        </a:lnTo>
                        <a:lnTo>
                          <a:pt x="2" y="1"/>
                        </a:lnTo>
                        <a:lnTo>
                          <a:pt x="2"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5" name="Freeform 913"/>
                  <p:cNvSpPr>
                    <a:spLocks/>
                  </p:cNvSpPr>
                  <p:nvPr/>
                </p:nvSpPr>
                <p:spPr bwMode="auto">
                  <a:xfrm>
                    <a:off x="3396343"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66" name="Freeform 914"/>
                  <p:cNvSpPr>
                    <a:spLocks noEditPoints="1"/>
                  </p:cNvSpPr>
                  <p:nvPr/>
                </p:nvSpPr>
                <p:spPr bwMode="auto">
                  <a:xfrm>
                    <a:off x="3411288"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7" name="Freeform 915"/>
                  <p:cNvSpPr>
                    <a:spLocks noEditPoints="1"/>
                  </p:cNvSpPr>
                  <p:nvPr/>
                </p:nvSpPr>
                <p:spPr bwMode="auto">
                  <a:xfrm>
                    <a:off x="344865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8" name="Freeform 916"/>
                  <p:cNvSpPr>
                    <a:spLocks noEditPoints="1"/>
                  </p:cNvSpPr>
                  <p:nvPr/>
                </p:nvSpPr>
                <p:spPr bwMode="auto">
                  <a:xfrm>
                    <a:off x="3486013" y="2607024"/>
                    <a:ext cx="29890" cy="37363"/>
                  </a:xfrm>
                  <a:custGeom>
                    <a:avLst/>
                    <a:gdLst>
                      <a:gd name="T0" fmla="*/ 4 w 4"/>
                      <a:gd name="T1" fmla="*/ 4 h 5"/>
                      <a:gd name="T2" fmla="*/ 4 w 4"/>
                      <a:gd name="T3" fmla="*/ 0 h 5"/>
                      <a:gd name="T4" fmla="*/ 4 w 4"/>
                      <a:gd name="T5" fmla="*/ 0 h 5"/>
                      <a:gd name="T6" fmla="*/ 4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0 h 5"/>
                      <a:gd name="T34" fmla="*/ 4 w 4"/>
                      <a:gd name="T35" fmla="*/ 0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moveTo>
                          <a:pt x="4" y="4"/>
                        </a:moveTo>
                        <a:lnTo>
                          <a:pt x="1" y="4"/>
                        </a:lnTo>
                        <a:lnTo>
                          <a:pt x="1" y="0"/>
                        </a:lnTo>
                        <a:lnTo>
                          <a:pt x="4" y="0"/>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69" name="Freeform 917"/>
                  <p:cNvSpPr>
                    <a:spLocks noEditPoints="1"/>
                  </p:cNvSpPr>
                  <p:nvPr/>
                </p:nvSpPr>
                <p:spPr bwMode="auto">
                  <a:xfrm>
                    <a:off x="3149749" y="2607024"/>
                    <a:ext cx="29890" cy="37363"/>
                  </a:xfrm>
                  <a:custGeom>
                    <a:avLst/>
                    <a:gdLst>
                      <a:gd name="T0" fmla="*/ 4 w 4"/>
                      <a:gd name="T1" fmla="*/ 3 h 5"/>
                      <a:gd name="T2" fmla="*/ 4 w 4"/>
                      <a:gd name="T3" fmla="*/ 1 h 5"/>
                      <a:gd name="T4" fmla="*/ 3 w 4"/>
                      <a:gd name="T5" fmla="*/ 1 h 5"/>
                      <a:gd name="T6" fmla="*/ 3 w 4"/>
                      <a:gd name="T7" fmla="*/ 0 h 5"/>
                      <a:gd name="T8" fmla="*/ 2 w 4"/>
                      <a:gd name="T9" fmla="*/ 0 h 5"/>
                      <a:gd name="T10" fmla="*/ 2 w 4"/>
                      <a:gd name="T11" fmla="*/ 0 h 5"/>
                      <a:gd name="T12" fmla="*/ 0 w 4"/>
                      <a:gd name="T13" fmla="*/ 0 h 5"/>
                      <a:gd name="T14" fmla="*/ 0 w 4"/>
                      <a:gd name="T15" fmla="*/ 5 h 5"/>
                      <a:gd name="T16" fmla="*/ 2 w 4"/>
                      <a:gd name="T17" fmla="*/ 5 h 5"/>
                      <a:gd name="T18" fmla="*/ 2 w 4"/>
                      <a:gd name="T19" fmla="*/ 4 h 5"/>
                      <a:gd name="T20" fmla="*/ 3 w 4"/>
                      <a:gd name="T21" fmla="*/ 4 h 5"/>
                      <a:gd name="T22" fmla="*/ 3 w 4"/>
                      <a:gd name="T23" fmla="*/ 3 h 5"/>
                      <a:gd name="T24" fmla="*/ 4 w 4"/>
                      <a:gd name="T25" fmla="*/ 3 h 5"/>
                      <a:gd name="T26" fmla="*/ 4 w 4"/>
                      <a:gd name="T27" fmla="*/ 3 h 5"/>
                      <a:gd name="T28" fmla="*/ 3 w 4"/>
                      <a:gd name="T29" fmla="*/ 3 h 5"/>
                      <a:gd name="T30" fmla="*/ 2 w 4"/>
                      <a:gd name="T31" fmla="*/ 3 h 5"/>
                      <a:gd name="T32" fmla="*/ 2 w 4"/>
                      <a:gd name="T33" fmla="*/ 4 h 5"/>
                      <a:gd name="T34" fmla="*/ 1 w 4"/>
                      <a:gd name="T35" fmla="*/ 4 h 5"/>
                      <a:gd name="T36" fmla="*/ 1 w 4"/>
                      <a:gd name="T37" fmla="*/ 0 h 5"/>
                      <a:gd name="T38" fmla="*/ 2 w 4"/>
                      <a:gd name="T39" fmla="*/ 0 h 5"/>
                      <a:gd name="T40" fmla="*/ 2 w 4"/>
                      <a:gd name="T41" fmla="*/ 1 h 5"/>
                      <a:gd name="T42" fmla="*/ 3 w 4"/>
                      <a:gd name="T43" fmla="*/ 1 h 5"/>
                      <a:gd name="T44" fmla="*/ 3 w 4"/>
                      <a:gd name="T45" fmla="*/ 3 h 5"/>
                      <a:gd name="T46" fmla="*/ 3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3"/>
                        </a:moveTo>
                        <a:lnTo>
                          <a:pt x="4" y="1"/>
                        </a:lnTo>
                        <a:lnTo>
                          <a:pt x="3" y="1"/>
                        </a:lnTo>
                        <a:lnTo>
                          <a:pt x="3" y="0"/>
                        </a:lnTo>
                        <a:lnTo>
                          <a:pt x="2" y="0"/>
                        </a:lnTo>
                        <a:lnTo>
                          <a:pt x="2" y="0"/>
                        </a:lnTo>
                        <a:lnTo>
                          <a:pt x="0" y="0"/>
                        </a:lnTo>
                        <a:lnTo>
                          <a:pt x="0" y="5"/>
                        </a:lnTo>
                        <a:lnTo>
                          <a:pt x="2" y="5"/>
                        </a:lnTo>
                        <a:lnTo>
                          <a:pt x="2" y="4"/>
                        </a:lnTo>
                        <a:lnTo>
                          <a:pt x="3" y="4"/>
                        </a:lnTo>
                        <a:lnTo>
                          <a:pt x="3" y="3"/>
                        </a:lnTo>
                        <a:lnTo>
                          <a:pt x="4" y="3"/>
                        </a:lnTo>
                        <a:lnTo>
                          <a:pt x="4" y="3"/>
                        </a:lnTo>
                        <a:close/>
                        <a:moveTo>
                          <a:pt x="3" y="3"/>
                        </a:moveTo>
                        <a:lnTo>
                          <a:pt x="2" y="3"/>
                        </a:lnTo>
                        <a:lnTo>
                          <a:pt x="2" y="4"/>
                        </a:lnTo>
                        <a:lnTo>
                          <a:pt x="1" y="4"/>
                        </a:lnTo>
                        <a:lnTo>
                          <a:pt x="1" y="0"/>
                        </a:lnTo>
                        <a:lnTo>
                          <a:pt x="2" y="0"/>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0" name="Freeform 918"/>
                  <p:cNvSpPr>
                    <a:spLocks/>
                  </p:cNvSpPr>
                  <p:nvPr/>
                </p:nvSpPr>
                <p:spPr bwMode="auto">
                  <a:xfrm>
                    <a:off x="3187112" y="2607024"/>
                    <a:ext cx="22418" cy="37363"/>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0 h 5"/>
                      <a:gd name="T16" fmla="*/ 3 w 3"/>
                      <a:gd name="T17" fmla="*/ 0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0"/>
                        </a:lnTo>
                        <a:lnTo>
                          <a:pt x="3" y="0"/>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1" name="Freeform 919"/>
                  <p:cNvSpPr>
                    <a:spLocks/>
                  </p:cNvSpPr>
                  <p:nvPr/>
                </p:nvSpPr>
                <p:spPr bwMode="auto">
                  <a:xfrm>
                    <a:off x="3217002" y="2607024"/>
                    <a:ext cx="29890" cy="37363"/>
                  </a:xfrm>
                  <a:custGeom>
                    <a:avLst/>
                    <a:gdLst>
                      <a:gd name="T0" fmla="*/ 4 w 4"/>
                      <a:gd name="T1" fmla="*/ 4 h 5"/>
                      <a:gd name="T2" fmla="*/ 4 w 4"/>
                      <a:gd name="T3" fmla="*/ 2 h 5"/>
                      <a:gd name="T4" fmla="*/ 3 w 4"/>
                      <a:gd name="T5" fmla="*/ 2 h 5"/>
                      <a:gd name="T6" fmla="*/ 3 w 4"/>
                      <a:gd name="T7" fmla="*/ 3 h 5"/>
                      <a:gd name="T8" fmla="*/ 4 w 4"/>
                      <a:gd name="T9" fmla="*/ 3 h 5"/>
                      <a:gd name="T10" fmla="*/ 4 w 4"/>
                      <a:gd name="T11" fmla="*/ 4 h 5"/>
                      <a:gd name="T12" fmla="*/ 1 w 4"/>
                      <a:gd name="T13" fmla="*/ 4 h 5"/>
                      <a:gd name="T14" fmla="*/ 1 w 4"/>
                      <a:gd name="T15" fmla="*/ 0 h 5"/>
                      <a:gd name="T16" fmla="*/ 4 w 4"/>
                      <a:gd name="T17" fmla="*/ 0 h 5"/>
                      <a:gd name="T18" fmla="*/ 4 w 4"/>
                      <a:gd name="T19" fmla="*/ 1 h 5"/>
                      <a:gd name="T20" fmla="*/ 4 w 4"/>
                      <a:gd name="T21" fmla="*/ 1 h 5"/>
                      <a:gd name="T22" fmla="*/ 4 w 4"/>
                      <a:gd name="T23" fmla="*/ 0 h 5"/>
                      <a:gd name="T24" fmla="*/ 4 w 4"/>
                      <a:gd name="T25" fmla="*/ 0 h 5"/>
                      <a:gd name="T26" fmla="*/ 4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4 w 4"/>
                      <a:gd name="T41" fmla="*/ 5 h 5"/>
                      <a:gd name="T42" fmla="*/ 4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3" y="2"/>
                        </a:lnTo>
                        <a:lnTo>
                          <a:pt x="3" y="3"/>
                        </a:lnTo>
                        <a:lnTo>
                          <a:pt x="4" y="3"/>
                        </a:lnTo>
                        <a:lnTo>
                          <a:pt x="4" y="4"/>
                        </a:lnTo>
                        <a:lnTo>
                          <a:pt x="1" y="4"/>
                        </a:lnTo>
                        <a:lnTo>
                          <a:pt x="1" y="0"/>
                        </a:lnTo>
                        <a:lnTo>
                          <a:pt x="4" y="0"/>
                        </a:lnTo>
                        <a:lnTo>
                          <a:pt x="4" y="1"/>
                        </a:lnTo>
                        <a:lnTo>
                          <a:pt x="4" y="1"/>
                        </a:lnTo>
                        <a:lnTo>
                          <a:pt x="4" y="0"/>
                        </a:lnTo>
                        <a:lnTo>
                          <a:pt x="4" y="0"/>
                        </a:lnTo>
                        <a:lnTo>
                          <a:pt x="4" y="0"/>
                        </a:lnTo>
                        <a:lnTo>
                          <a:pt x="1" y="0"/>
                        </a:lnTo>
                        <a:lnTo>
                          <a:pt x="1" y="0"/>
                        </a:lnTo>
                        <a:lnTo>
                          <a:pt x="0" y="0"/>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2" name="Freeform 920"/>
                  <p:cNvSpPr>
                    <a:spLocks/>
                  </p:cNvSpPr>
                  <p:nvPr/>
                </p:nvSpPr>
                <p:spPr bwMode="auto">
                  <a:xfrm>
                    <a:off x="3284255" y="2607024"/>
                    <a:ext cx="22418" cy="37363"/>
                  </a:xfrm>
                  <a:custGeom>
                    <a:avLst/>
                    <a:gdLst>
                      <a:gd name="T0" fmla="*/ 3 w 3"/>
                      <a:gd name="T1" fmla="*/ 0 h 5"/>
                      <a:gd name="T2" fmla="*/ 3 w 3"/>
                      <a:gd name="T3" fmla="*/ 0 h 5"/>
                      <a:gd name="T4" fmla="*/ 0 w 3"/>
                      <a:gd name="T5" fmla="*/ 0 h 5"/>
                      <a:gd name="T6" fmla="*/ 0 w 3"/>
                      <a:gd name="T7" fmla="*/ 5 h 5"/>
                      <a:gd name="T8" fmla="*/ 1 w 3"/>
                      <a:gd name="T9" fmla="*/ 5 h 5"/>
                      <a:gd name="T10" fmla="*/ 1 w 3"/>
                      <a:gd name="T11" fmla="*/ 3 h 5"/>
                      <a:gd name="T12" fmla="*/ 3 w 3"/>
                      <a:gd name="T13" fmla="*/ 3 h 5"/>
                      <a:gd name="T14" fmla="*/ 3 w 3"/>
                      <a:gd name="T15" fmla="*/ 2 h 5"/>
                      <a:gd name="T16" fmla="*/ 1 w 3"/>
                      <a:gd name="T17" fmla="*/ 2 h 5"/>
                      <a:gd name="T18" fmla="*/ 1 w 3"/>
                      <a:gd name="T19" fmla="*/ 0 h 5"/>
                      <a:gd name="T20" fmla="*/ 3 w 3"/>
                      <a:gd name="T21" fmla="*/ 0 h 5"/>
                      <a:gd name="T22" fmla="*/ 3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3" y="0"/>
                        </a:moveTo>
                        <a:lnTo>
                          <a:pt x="3" y="0"/>
                        </a:lnTo>
                        <a:lnTo>
                          <a:pt x="0" y="0"/>
                        </a:lnTo>
                        <a:lnTo>
                          <a:pt x="0" y="5"/>
                        </a:lnTo>
                        <a:lnTo>
                          <a:pt x="1" y="5"/>
                        </a:lnTo>
                        <a:lnTo>
                          <a:pt x="1" y="3"/>
                        </a:lnTo>
                        <a:lnTo>
                          <a:pt x="3" y="3"/>
                        </a:lnTo>
                        <a:lnTo>
                          <a:pt x="3" y="2"/>
                        </a:lnTo>
                        <a:lnTo>
                          <a:pt x="1" y="2"/>
                        </a:lnTo>
                        <a:lnTo>
                          <a:pt x="1" y="0"/>
                        </a:lnTo>
                        <a:lnTo>
                          <a:pt x="3" y="0"/>
                        </a:lnTo>
                        <a:lnTo>
                          <a:pt x="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3" name="Freeform 921"/>
                  <p:cNvSpPr>
                    <a:spLocks/>
                  </p:cNvSpPr>
                  <p:nvPr/>
                </p:nvSpPr>
                <p:spPr bwMode="auto">
                  <a:xfrm>
                    <a:off x="3366453" y="2749002"/>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2 h 6"/>
                      <a:gd name="T16" fmla="*/ 1 w 3"/>
                      <a:gd name="T17" fmla="*/ 2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2"/>
                        </a:lnTo>
                        <a:lnTo>
                          <a:pt x="1" y="2"/>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4" name="Freeform 922"/>
                  <p:cNvSpPr>
                    <a:spLocks/>
                  </p:cNvSpPr>
                  <p:nvPr/>
                </p:nvSpPr>
                <p:spPr bwMode="auto">
                  <a:xfrm>
                    <a:off x="3396343"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75" name="Freeform 923"/>
                  <p:cNvSpPr>
                    <a:spLocks noEditPoints="1"/>
                  </p:cNvSpPr>
                  <p:nvPr/>
                </p:nvSpPr>
                <p:spPr bwMode="auto">
                  <a:xfrm>
                    <a:off x="3411288"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6" name="Freeform 924"/>
                  <p:cNvSpPr>
                    <a:spLocks noEditPoints="1"/>
                  </p:cNvSpPr>
                  <p:nvPr/>
                </p:nvSpPr>
                <p:spPr bwMode="auto">
                  <a:xfrm>
                    <a:off x="344865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7" name="Freeform 925"/>
                  <p:cNvSpPr>
                    <a:spLocks noEditPoints="1"/>
                  </p:cNvSpPr>
                  <p:nvPr/>
                </p:nvSpPr>
                <p:spPr bwMode="auto">
                  <a:xfrm>
                    <a:off x="3486013" y="2749002"/>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8" name="Freeform 926"/>
                  <p:cNvSpPr>
                    <a:spLocks noEditPoints="1"/>
                  </p:cNvSpPr>
                  <p:nvPr/>
                </p:nvSpPr>
                <p:spPr bwMode="auto">
                  <a:xfrm>
                    <a:off x="3149749" y="2749002"/>
                    <a:ext cx="29890" cy="44835"/>
                  </a:xfrm>
                  <a:custGeom>
                    <a:avLst/>
                    <a:gdLst>
                      <a:gd name="T0" fmla="*/ 4 w 4"/>
                      <a:gd name="T1" fmla="*/ 4 h 6"/>
                      <a:gd name="T2" fmla="*/ 4 w 4"/>
                      <a:gd name="T3" fmla="*/ 2 h 6"/>
                      <a:gd name="T4" fmla="*/ 3 w 4"/>
                      <a:gd name="T5" fmla="*/ 2 h 6"/>
                      <a:gd name="T6" fmla="*/ 3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3 w 4"/>
                      <a:gd name="T21" fmla="*/ 5 h 6"/>
                      <a:gd name="T22" fmla="*/ 3 w 4"/>
                      <a:gd name="T23" fmla="*/ 4 h 6"/>
                      <a:gd name="T24" fmla="*/ 4 w 4"/>
                      <a:gd name="T25" fmla="*/ 4 h 6"/>
                      <a:gd name="T26" fmla="*/ 4 w 4"/>
                      <a:gd name="T27" fmla="*/ 4 h 6"/>
                      <a:gd name="T28" fmla="*/ 3 w 4"/>
                      <a:gd name="T29" fmla="*/ 4 h 6"/>
                      <a:gd name="T30" fmla="*/ 2 w 4"/>
                      <a:gd name="T31" fmla="*/ 4 h 6"/>
                      <a:gd name="T32" fmla="*/ 2 w 4"/>
                      <a:gd name="T33" fmla="*/ 5 h 6"/>
                      <a:gd name="T34" fmla="*/ 1 w 4"/>
                      <a:gd name="T35" fmla="*/ 5 h 6"/>
                      <a:gd name="T36" fmla="*/ 1 w 4"/>
                      <a:gd name="T37" fmla="*/ 1 h 6"/>
                      <a:gd name="T38" fmla="*/ 2 w 4"/>
                      <a:gd name="T39" fmla="*/ 1 h 6"/>
                      <a:gd name="T40" fmla="*/ 2 w 4"/>
                      <a:gd name="T41" fmla="*/ 2 h 6"/>
                      <a:gd name="T42" fmla="*/ 3 w 4"/>
                      <a:gd name="T43" fmla="*/ 2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3" y="2"/>
                        </a:lnTo>
                        <a:lnTo>
                          <a:pt x="3" y="1"/>
                        </a:lnTo>
                        <a:lnTo>
                          <a:pt x="2" y="1"/>
                        </a:lnTo>
                        <a:lnTo>
                          <a:pt x="2" y="0"/>
                        </a:lnTo>
                        <a:lnTo>
                          <a:pt x="0" y="0"/>
                        </a:lnTo>
                        <a:lnTo>
                          <a:pt x="0" y="6"/>
                        </a:lnTo>
                        <a:lnTo>
                          <a:pt x="2" y="6"/>
                        </a:lnTo>
                        <a:lnTo>
                          <a:pt x="2" y="5"/>
                        </a:lnTo>
                        <a:lnTo>
                          <a:pt x="3" y="5"/>
                        </a:lnTo>
                        <a:lnTo>
                          <a:pt x="3" y="4"/>
                        </a:lnTo>
                        <a:lnTo>
                          <a:pt x="4" y="4"/>
                        </a:lnTo>
                        <a:lnTo>
                          <a:pt x="4" y="4"/>
                        </a:lnTo>
                        <a:close/>
                        <a:moveTo>
                          <a:pt x="3" y="4"/>
                        </a:moveTo>
                        <a:lnTo>
                          <a:pt x="2" y="4"/>
                        </a:lnTo>
                        <a:lnTo>
                          <a:pt x="2" y="5"/>
                        </a:lnTo>
                        <a:lnTo>
                          <a:pt x="1" y="5"/>
                        </a:lnTo>
                        <a:lnTo>
                          <a:pt x="1" y="1"/>
                        </a:lnTo>
                        <a:lnTo>
                          <a:pt x="2" y="1"/>
                        </a:lnTo>
                        <a:lnTo>
                          <a:pt x="2" y="2"/>
                        </a:lnTo>
                        <a:lnTo>
                          <a:pt x="3" y="2"/>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79" name="Freeform 927"/>
                  <p:cNvSpPr>
                    <a:spLocks/>
                  </p:cNvSpPr>
                  <p:nvPr/>
                </p:nvSpPr>
                <p:spPr bwMode="auto">
                  <a:xfrm>
                    <a:off x="3187112" y="2749002"/>
                    <a:ext cx="22418"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2 h 6"/>
                      <a:gd name="T12" fmla="*/ 1 w 3"/>
                      <a:gd name="T13" fmla="*/ 2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2"/>
                        </a:lnTo>
                        <a:lnTo>
                          <a:pt x="1" y="2"/>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0" name="Freeform 928"/>
                  <p:cNvSpPr>
                    <a:spLocks/>
                  </p:cNvSpPr>
                  <p:nvPr/>
                </p:nvSpPr>
                <p:spPr bwMode="auto">
                  <a:xfrm>
                    <a:off x="3217002" y="2749002"/>
                    <a:ext cx="29890" cy="44835"/>
                  </a:xfrm>
                  <a:custGeom>
                    <a:avLst/>
                    <a:gdLst>
                      <a:gd name="T0" fmla="*/ 4 w 4"/>
                      <a:gd name="T1" fmla="*/ 5 h 6"/>
                      <a:gd name="T2" fmla="*/ 4 w 4"/>
                      <a:gd name="T3" fmla="*/ 2 h 6"/>
                      <a:gd name="T4" fmla="*/ 3 w 4"/>
                      <a:gd name="T5" fmla="*/ 2 h 6"/>
                      <a:gd name="T6" fmla="*/ 3 w 4"/>
                      <a:gd name="T7" fmla="*/ 3 h 6"/>
                      <a:gd name="T8" fmla="*/ 4 w 4"/>
                      <a:gd name="T9" fmla="*/ 3 h 6"/>
                      <a:gd name="T10" fmla="*/ 4 w 4"/>
                      <a:gd name="T11" fmla="*/ 5 h 6"/>
                      <a:gd name="T12" fmla="*/ 1 w 4"/>
                      <a:gd name="T13" fmla="*/ 5 h 6"/>
                      <a:gd name="T14" fmla="*/ 1 w 4"/>
                      <a:gd name="T15" fmla="*/ 1 h 6"/>
                      <a:gd name="T16" fmla="*/ 4 w 4"/>
                      <a:gd name="T17" fmla="*/ 1 h 6"/>
                      <a:gd name="T18" fmla="*/ 4 w 4"/>
                      <a:gd name="T19" fmla="*/ 2 h 6"/>
                      <a:gd name="T20" fmla="*/ 4 w 4"/>
                      <a:gd name="T21" fmla="*/ 2 h 6"/>
                      <a:gd name="T22" fmla="*/ 4 w 4"/>
                      <a:gd name="T23" fmla="*/ 1 h 6"/>
                      <a:gd name="T24" fmla="*/ 4 w 4"/>
                      <a:gd name="T25" fmla="*/ 1 h 6"/>
                      <a:gd name="T26" fmla="*/ 4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4 w 4"/>
                      <a:gd name="T41" fmla="*/ 6 h 6"/>
                      <a:gd name="T42" fmla="*/ 4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3" y="2"/>
                        </a:lnTo>
                        <a:lnTo>
                          <a:pt x="3" y="3"/>
                        </a:lnTo>
                        <a:lnTo>
                          <a:pt x="4" y="3"/>
                        </a:lnTo>
                        <a:lnTo>
                          <a:pt x="4" y="5"/>
                        </a:lnTo>
                        <a:lnTo>
                          <a:pt x="1" y="5"/>
                        </a:lnTo>
                        <a:lnTo>
                          <a:pt x="1" y="1"/>
                        </a:lnTo>
                        <a:lnTo>
                          <a:pt x="4" y="1"/>
                        </a:lnTo>
                        <a:lnTo>
                          <a:pt x="4" y="2"/>
                        </a:lnTo>
                        <a:lnTo>
                          <a:pt x="4" y="2"/>
                        </a:ln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1" name="Freeform 929"/>
                  <p:cNvSpPr>
                    <a:spLocks/>
                  </p:cNvSpPr>
                  <p:nvPr/>
                </p:nvSpPr>
                <p:spPr bwMode="auto">
                  <a:xfrm>
                    <a:off x="3284255" y="2749002"/>
                    <a:ext cx="22418" cy="44835"/>
                  </a:xfrm>
                  <a:custGeom>
                    <a:avLst/>
                    <a:gdLst>
                      <a:gd name="T0" fmla="*/ 3 w 3"/>
                      <a:gd name="T1" fmla="*/ 1 h 6"/>
                      <a:gd name="T2" fmla="*/ 3 w 3"/>
                      <a:gd name="T3" fmla="*/ 0 h 6"/>
                      <a:gd name="T4" fmla="*/ 0 w 3"/>
                      <a:gd name="T5" fmla="*/ 0 h 6"/>
                      <a:gd name="T6" fmla="*/ 0 w 3"/>
                      <a:gd name="T7" fmla="*/ 6 h 6"/>
                      <a:gd name="T8" fmla="*/ 1 w 3"/>
                      <a:gd name="T9" fmla="*/ 6 h 6"/>
                      <a:gd name="T10" fmla="*/ 1 w 3"/>
                      <a:gd name="T11" fmla="*/ 3 h 6"/>
                      <a:gd name="T12" fmla="*/ 3 w 3"/>
                      <a:gd name="T13" fmla="*/ 3 h 6"/>
                      <a:gd name="T14" fmla="*/ 3 w 3"/>
                      <a:gd name="T15" fmla="*/ 2 h 6"/>
                      <a:gd name="T16" fmla="*/ 1 w 3"/>
                      <a:gd name="T17" fmla="*/ 2 h 6"/>
                      <a:gd name="T18" fmla="*/ 1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1" y="6"/>
                        </a:lnTo>
                        <a:lnTo>
                          <a:pt x="1" y="3"/>
                        </a:lnTo>
                        <a:lnTo>
                          <a:pt x="3" y="3"/>
                        </a:lnTo>
                        <a:lnTo>
                          <a:pt x="3" y="2"/>
                        </a:lnTo>
                        <a:lnTo>
                          <a:pt x="1" y="2"/>
                        </a:lnTo>
                        <a:lnTo>
                          <a:pt x="1"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2" name="Freeform 930"/>
                  <p:cNvSpPr>
                    <a:spLocks/>
                  </p:cNvSpPr>
                  <p:nvPr/>
                </p:nvSpPr>
                <p:spPr bwMode="auto">
                  <a:xfrm>
                    <a:off x="4068870" y="2607024"/>
                    <a:ext cx="14945" cy="37363"/>
                  </a:xfrm>
                  <a:custGeom>
                    <a:avLst/>
                    <a:gdLst>
                      <a:gd name="T0" fmla="*/ 2 w 2"/>
                      <a:gd name="T1" fmla="*/ 5 h 5"/>
                      <a:gd name="T2" fmla="*/ 2 w 2"/>
                      <a:gd name="T3" fmla="*/ 0 h 5"/>
                      <a:gd name="T4" fmla="*/ 2 w 2"/>
                      <a:gd name="T5" fmla="*/ 0 h 5"/>
                      <a:gd name="T6" fmla="*/ 2 w 2"/>
                      <a:gd name="T7" fmla="*/ 0 h 5"/>
                      <a:gd name="T8" fmla="*/ 1 w 2"/>
                      <a:gd name="T9" fmla="*/ 0 h 5"/>
                      <a:gd name="T10" fmla="*/ 1 w 2"/>
                      <a:gd name="T11" fmla="*/ 1 h 5"/>
                      <a:gd name="T12" fmla="*/ 0 w 2"/>
                      <a:gd name="T13" fmla="*/ 1 h 5"/>
                      <a:gd name="T14" fmla="*/ 0 w 2"/>
                      <a:gd name="T15" fmla="*/ 2 h 5"/>
                      <a:gd name="T16" fmla="*/ 1 w 2"/>
                      <a:gd name="T17" fmla="*/ 2 h 5"/>
                      <a:gd name="T18" fmla="*/ 1 w 2"/>
                      <a:gd name="T19" fmla="*/ 1 h 5"/>
                      <a:gd name="T20" fmla="*/ 2 w 2"/>
                      <a:gd name="T21" fmla="*/ 1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0"/>
                        </a:lnTo>
                        <a:lnTo>
                          <a:pt x="1" y="0"/>
                        </a:lnTo>
                        <a:lnTo>
                          <a:pt x="1" y="1"/>
                        </a:lnTo>
                        <a:lnTo>
                          <a:pt x="0" y="1"/>
                        </a:lnTo>
                        <a:lnTo>
                          <a:pt x="0" y="2"/>
                        </a:lnTo>
                        <a:lnTo>
                          <a:pt x="1" y="2"/>
                        </a:lnTo>
                        <a:lnTo>
                          <a:pt x="1" y="1"/>
                        </a:lnTo>
                        <a:lnTo>
                          <a:pt x="2" y="1"/>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3" name="Freeform 931"/>
                  <p:cNvSpPr>
                    <a:spLocks/>
                  </p:cNvSpPr>
                  <p:nvPr/>
                </p:nvSpPr>
                <p:spPr bwMode="auto">
                  <a:xfrm>
                    <a:off x="4098760" y="2636914"/>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84" name="Freeform 932"/>
                  <p:cNvSpPr>
                    <a:spLocks noEditPoints="1"/>
                  </p:cNvSpPr>
                  <p:nvPr/>
                </p:nvSpPr>
                <p:spPr bwMode="auto">
                  <a:xfrm>
                    <a:off x="4113705" y="2607024"/>
                    <a:ext cx="29890" cy="37363"/>
                  </a:xfrm>
                  <a:custGeom>
                    <a:avLst/>
                    <a:gdLst>
                      <a:gd name="T0" fmla="*/ 4 w 4"/>
                      <a:gd name="T1" fmla="*/ 4 h 5"/>
                      <a:gd name="T2" fmla="*/ 4 w 4"/>
                      <a:gd name="T3" fmla="*/ 0 h 5"/>
                      <a:gd name="T4" fmla="*/ 3 w 4"/>
                      <a:gd name="T5" fmla="*/ 0 h 5"/>
                      <a:gd name="T6" fmla="*/ 3 w 4"/>
                      <a:gd name="T7" fmla="*/ 0 h 5"/>
                      <a:gd name="T8" fmla="*/ 0 w 4"/>
                      <a:gd name="T9" fmla="*/ 0 h 5"/>
                      <a:gd name="T10" fmla="*/ 0 w 4"/>
                      <a:gd name="T11" fmla="*/ 0 h 5"/>
                      <a:gd name="T12" fmla="*/ 0 w 4"/>
                      <a:gd name="T13" fmla="*/ 0 h 5"/>
                      <a:gd name="T14" fmla="*/ 0 w 4"/>
                      <a:gd name="T15" fmla="*/ 4 h 5"/>
                      <a:gd name="T16" fmla="*/ 0 w 4"/>
                      <a:gd name="T17" fmla="*/ 4 h 5"/>
                      <a:gd name="T18" fmla="*/ 0 w 4"/>
                      <a:gd name="T19" fmla="*/ 5 h 5"/>
                      <a:gd name="T20" fmla="*/ 3 w 4"/>
                      <a:gd name="T21" fmla="*/ 5 h 5"/>
                      <a:gd name="T22" fmla="*/ 3 w 4"/>
                      <a:gd name="T23" fmla="*/ 4 h 5"/>
                      <a:gd name="T24" fmla="*/ 4 w 4"/>
                      <a:gd name="T25" fmla="*/ 4 h 5"/>
                      <a:gd name="T26" fmla="*/ 4 w 4"/>
                      <a:gd name="T27" fmla="*/ 4 h 5"/>
                      <a:gd name="T28" fmla="*/ 3 w 4"/>
                      <a:gd name="T29" fmla="*/ 4 h 5"/>
                      <a:gd name="T30" fmla="*/ 0 w 4"/>
                      <a:gd name="T31" fmla="*/ 4 h 5"/>
                      <a:gd name="T32" fmla="*/ 0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0" y="0"/>
                        </a:lnTo>
                        <a:lnTo>
                          <a:pt x="0" y="0"/>
                        </a:lnTo>
                        <a:lnTo>
                          <a:pt x="0" y="0"/>
                        </a:lnTo>
                        <a:lnTo>
                          <a:pt x="0" y="4"/>
                        </a:lnTo>
                        <a:lnTo>
                          <a:pt x="0" y="4"/>
                        </a:lnTo>
                        <a:lnTo>
                          <a:pt x="0" y="5"/>
                        </a:lnTo>
                        <a:lnTo>
                          <a:pt x="3" y="5"/>
                        </a:lnTo>
                        <a:lnTo>
                          <a:pt x="3" y="4"/>
                        </a:lnTo>
                        <a:lnTo>
                          <a:pt x="4" y="4"/>
                        </a:lnTo>
                        <a:lnTo>
                          <a:pt x="4" y="4"/>
                        </a:lnTo>
                        <a:close/>
                        <a:moveTo>
                          <a:pt x="3" y="4"/>
                        </a:moveTo>
                        <a:lnTo>
                          <a:pt x="0" y="4"/>
                        </a:lnTo>
                        <a:lnTo>
                          <a:pt x="0"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5" name="Freeform 933"/>
                  <p:cNvSpPr>
                    <a:spLocks noEditPoints="1"/>
                  </p:cNvSpPr>
                  <p:nvPr/>
                </p:nvSpPr>
                <p:spPr bwMode="auto">
                  <a:xfrm>
                    <a:off x="4151067"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6" name="Freeform 934"/>
                  <p:cNvSpPr>
                    <a:spLocks noEditPoints="1"/>
                  </p:cNvSpPr>
                  <p:nvPr/>
                </p:nvSpPr>
                <p:spPr bwMode="auto">
                  <a:xfrm>
                    <a:off x="4188430" y="2607024"/>
                    <a:ext cx="29890" cy="37363"/>
                  </a:xfrm>
                  <a:custGeom>
                    <a:avLst/>
                    <a:gdLst>
                      <a:gd name="T0" fmla="*/ 4 w 4"/>
                      <a:gd name="T1" fmla="*/ 4 h 5"/>
                      <a:gd name="T2" fmla="*/ 4 w 4"/>
                      <a:gd name="T3" fmla="*/ 0 h 5"/>
                      <a:gd name="T4" fmla="*/ 3 w 4"/>
                      <a:gd name="T5" fmla="*/ 0 h 5"/>
                      <a:gd name="T6" fmla="*/ 3 w 4"/>
                      <a:gd name="T7" fmla="*/ 0 h 5"/>
                      <a:gd name="T8" fmla="*/ 1 w 4"/>
                      <a:gd name="T9" fmla="*/ 0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 name="T28" fmla="*/ 3 w 4"/>
                      <a:gd name="T29" fmla="*/ 4 h 5"/>
                      <a:gd name="T30" fmla="*/ 1 w 4"/>
                      <a:gd name="T31" fmla="*/ 4 h 5"/>
                      <a:gd name="T32" fmla="*/ 1 w 4"/>
                      <a:gd name="T33" fmla="*/ 0 h 5"/>
                      <a:gd name="T34" fmla="*/ 3 w 4"/>
                      <a:gd name="T35" fmla="*/ 0 h 5"/>
                      <a:gd name="T36" fmla="*/ 3 w 4"/>
                      <a:gd name="T37" fmla="*/ 4 h 5"/>
                      <a:gd name="T38" fmla="*/ 3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moveTo>
                          <a:pt x="3" y="4"/>
                        </a:moveTo>
                        <a:lnTo>
                          <a:pt x="1" y="4"/>
                        </a:lnTo>
                        <a:lnTo>
                          <a:pt x="1" y="0"/>
                        </a:lnTo>
                        <a:lnTo>
                          <a:pt x="3" y="0"/>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7" name="Freeform 935"/>
                  <p:cNvSpPr>
                    <a:spLocks noEditPoints="1"/>
                  </p:cNvSpPr>
                  <p:nvPr/>
                </p:nvSpPr>
                <p:spPr bwMode="auto">
                  <a:xfrm>
                    <a:off x="3852166" y="2607024"/>
                    <a:ext cx="29890" cy="37363"/>
                  </a:xfrm>
                  <a:custGeom>
                    <a:avLst/>
                    <a:gdLst>
                      <a:gd name="T0" fmla="*/ 4 w 4"/>
                      <a:gd name="T1" fmla="*/ 3 h 5"/>
                      <a:gd name="T2" fmla="*/ 4 w 4"/>
                      <a:gd name="T3" fmla="*/ 0 h 5"/>
                      <a:gd name="T4" fmla="*/ 3 w 4"/>
                      <a:gd name="T5" fmla="*/ 0 h 5"/>
                      <a:gd name="T6" fmla="*/ 3 w 4"/>
                      <a:gd name="T7" fmla="*/ 0 h 5"/>
                      <a:gd name="T8" fmla="*/ 0 w 4"/>
                      <a:gd name="T9" fmla="*/ 0 h 5"/>
                      <a:gd name="T10" fmla="*/ 0 w 4"/>
                      <a:gd name="T11" fmla="*/ 5 h 5"/>
                      <a:gd name="T12" fmla="*/ 0 w 4"/>
                      <a:gd name="T13" fmla="*/ 5 h 5"/>
                      <a:gd name="T14" fmla="*/ 0 w 4"/>
                      <a:gd name="T15" fmla="*/ 3 h 5"/>
                      <a:gd name="T16" fmla="*/ 3 w 4"/>
                      <a:gd name="T17" fmla="*/ 3 h 5"/>
                      <a:gd name="T18" fmla="*/ 3 w 4"/>
                      <a:gd name="T19" fmla="*/ 3 h 5"/>
                      <a:gd name="T20" fmla="*/ 4 w 4"/>
                      <a:gd name="T21" fmla="*/ 3 h 5"/>
                      <a:gd name="T22" fmla="*/ 4 w 4"/>
                      <a:gd name="T23" fmla="*/ 3 h 5"/>
                      <a:gd name="T24" fmla="*/ 2 w 4"/>
                      <a:gd name="T25" fmla="*/ 3 h 5"/>
                      <a:gd name="T26" fmla="*/ 0 w 4"/>
                      <a:gd name="T27" fmla="*/ 3 h 5"/>
                      <a:gd name="T28" fmla="*/ 0 w 4"/>
                      <a:gd name="T29" fmla="*/ 0 h 5"/>
                      <a:gd name="T30" fmla="*/ 2 w 4"/>
                      <a:gd name="T31" fmla="*/ 0 h 5"/>
                      <a:gd name="T32" fmla="*/ 2 w 4"/>
                      <a:gd name="T33" fmla="*/ 3 h 5"/>
                      <a:gd name="T34" fmla="*/ 2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0"/>
                        </a:lnTo>
                        <a:lnTo>
                          <a:pt x="3" y="0"/>
                        </a:lnTo>
                        <a:lnTo>
                          <a:pt x="3" y="0"/>
                        </a:lnTo>
                        <a:lnTo>
                          <a:pt x="0" y="0"/>
                        </a:lnTo>
                        <a:lnTo>
                          <a:pt x="0" y="5"/>
                        </a:lnTo>
                        <a:lnTo>
                          <a:pt x="0" y="5"/>
                        </a:lnTo>
                        <a:lnTo>
                          <a:pt x="0" y="3"/>
                        </a:lnTo>
                        <a:lnTo>
                          <a:pt x="3" y="3"/>
                        </a:lnTo>
                        <a:lnTo>
                          <a:pt x="3" y="3"/>
                        </a:lnTo>
                        <a:lnTo>
                          <a:pt x="4" y="3"/>
                        </a:lnTo>
                        <a:lnTo>
                          <a:pt x="4" y="3"/>
                        </a:lnTo>
                        <a:close/>
                        <a:moveTo>
                          <a:pt x="2" y="3"/>
                        </a:moveTo>
                        <a:lnTo>
                          <a:pt x="0" y="3"/>
                        </a:lnTo>
                        <a:lnTo>
                          <a:pt x="0" y="0"/>
                        </a:lnTo>
                        <a:lnTo>
                          <a:pt x="2" y="0"/>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8" name="Freeform 936"/>
                  <p:cNvSpPr>
                    <a:spLocks/>
                  </p:cNvSpPr>
                  <p:nvPr/>
                </p:nvSpPr>
                <p:spPr bwMode="auto">
                  <a:xfrm>
                    <a:off x="3889529" y="2607024"/>
                    <a:ext cx="29890" cy="37363"/>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0 w 4"/>
                      <a:gd name="T25" fmla="*/ 0 h 5"/>
                      <a:gd name="T26" fmla="*/ 0 w 4"/>
                      <a:gd name="T27" fmla="*/ 0 h 5"/>
                      <a:gd name="T28" fmla="*/ 0 w 4"/>
                      <a:gd name="T29" fmla="*/ 0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3 h 5"/>
                      <a:gd name="T44" fmla="*/ 0 w 4"/>
                      <a:gd name="T45" fmla="*/ 3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0"/>
                        </a:lnTo>
                        <a:lnTo>
                          <a:pt x="3" y="0"/>
                        </a:lnTo>
                        <a:lnTo>
                          <a:pt x="3" y="1"/>
                        </a:lnTo>
                        <a:lnTo>
                          <a:pt x="4" y="1"/>
                        </a:lnTo>
                        <a:lnTo>
                          <a:pt x="4" y="0"/>
                        </a:lnTo>
                        <a:lnTo>
                          <a:pt x="3" y="0"/>
                        </a:lnTo>
                        <a:lnTo>
                          <a:pt x="3" y="0"/>
                        </a:lnTo>
                        <a:lnTo>
                          <a:pt x="0" y="0"/>
                        </a:lnTo>
                        <a:lnTo>
                          <a:pt x="0" y="0"/>
                        </a:lnTo>
                        <a:lnTo>
                          <a:pt x="0" y="0"/>
                        </a:lnTo>
                        <a:lnTo>
                          <a:pt x="0" y="2"/>
                        </a:lnTo>
                        <a:lnTo>
                          <a:pt x="0" y="2"/>
                        </a:lnTo>
                        <a:lnTo>
                          <a:pt x="0" y="3"/>
                        </a:lnTo>
                        <a:lnTo>
                          <a:pt x="3" y="3"/>
                        </a:lnTo>
                        <a:lnTo>
                          <a:pt x="3" y="4"/>
                        </a:lnTo>
                        <a:lnTo>
                          <a:pt x="0" y="4"/>
                        </a:lnTo>
                        <a:lnTo>
                          <a:pt x="0" y="3"/>
                        </a:lnTo>
                        <a:lnTo>
                          <a:pt x="0" y="3"/>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89" name="Freeform 937"/>
                  <p:cNvSpPr>
                    <a:spLocks/>
                  </p:cNvSpPr>
                  <p:nvPr/>
                </p:nvSpPr>
                <p:spPr bwMode="auto">
                  <a:xfrm>
                    <a:off x="3926892" y="2607024"/>
                    <a:ext cx="7473" cy="37363"/>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0" name="Freeform 938"/>
                  <p:cNvSpPr>
                    <a:spLocks/>
                  </p:cNvSpPr>
                  <p:nvPr/>
                </p:nvSpPr>
                <p:spPr bwMode="auto">
                  <a:xfrm>
                    <a:off x="3941837" y="2607024"/>
                    <a:ext cx="29890" cy="37363"/>
                  </a:xfrm>
                  <a:custGeom>
                    <a:avLst/>
                    <a:gdLst>
                      <a:gd name="T0" fmla="*/ 4 w 4"/>
                      <a:gd name="T1" fmla="*/ 4 h 5"/>
                      <a:gd name="T2" fmla="*/ 4 w 4"/>
                      <a:gd name="T3" fmla="*/ 2 h 5"/>
                      <a:gd name="T4" fmla="*/ 2 w 4"/>
                      <a:gd name="T5" fmla="*/ 2 h 5"/>
                      <a:gd name="T6" fmla="*/ 2 w 4"/>
                      <a:gd name="T7" fmla="*/ 3 h 5"/>
                      <a:gd name="T8" fmla="*/ 3 w 4"/>
                      <a:gd name="T9" fmla="*/ 3 h 5"/>
                      <a:gd name="T10" fmla="*/ 3 w 4"/>
                      <a:gd name="T11" fmla="*/ 4 h 5"/>
                      <a:gd name="T12" fmla="*/ 1 w 4"/>
                      <a:gd name="T13" fmla="*/ 4 h 5"/>
                      <a:gd name="T14" fmla="*/ 1 w 4"/>
                      <a:gd name="T15" fmla="*/ 0 h 5"/>
                      <a:gd name="T16" fmla="*/ 3 w 4"/>
                      <a:gd name="T17" fmla="*/ 0 h 5"/>
                      <a:gd name="T18" fmla="*/ 3 w 4"/>
                      <a:gd name="T19" fmla="*/ 1 h 5"/>
                      <a:gd name="T20" fmla="*/ 4 w 4"/>
                      <a:gd name="T21" fmla="*/ 1 h 5"/>
                      <a:gd name="T22" fmla="*/ 4 w 4"/>
                      <a:gd name="T23" fmla="*/ 0 h 5"/>
                      <a:gd name="T24" fmla="*/ 3 w 4"/>
                      <a:gd name="T25" fmla="*/ 0 h 5"/>
                      <a:gd name="T26" fmla="*/ 3 w 4"/>
                      <a:gd name="T27" fmla="*/ 0 h 5"/>
                      <a:gd name="T28" fmla="*/ 1 w 4"/>
                      <a:gd name="T29" fmla="*/ 0 h 5"/>
                      <a:gd name="T30" fmla="*/ 1 w 4"/>
                      <a:gd name="T31" fmla="*/ 0 h 5"/>
                      <a:gd name="T32" fmla="*/ 0 w 4"/>
                      <a:gd name="T33" fmla="*/ 0 h 5"/>
                      <a:gd name="T34" fmla="*/ 0 w 4"/>
                      <a:gd name="T35" fmla="*/ 4 h 5"/>
                      <a:gd name="T36" fmla="*/ 1 w 4"/>
                      <a:gd name="T37" fmla="*/ 4 h 5"/>
                      <a:gd name="T38" fmla="*/ 1 w 4"/>
                      <a:gd name="T39" fmla="*/ 5 h 5"/>
                      <a:gd name="T40" fmla="*/ 3 w 4"/>
                      <a:gd name="T41" fmla="*/ 5 h 5"/>
                      <a:gd name="T42" fmla="*/ 3 w 4"/>
                      <a:gd name="T43" fmla="*/ 4 h 5"/>
                      <a:gd name="T44" fmla="*/ 4 w 4"/>
                      <a:gd name="T45" fmla="*/ 4 h 5"/>
                      <a:gd name="T46" fmla="*/ 4 w 4"/>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4"/>
                        </a:moveTo>
                        <a:lnTo>
                          <a:pt x="4" y="2"/>
                        </a:lnTo>
                        <a:lnTo>
                          <a:pt x="2" y="2"/>
                        </a:lnTo>
                        <a:lnTo>
                          <a:pt x="2" y="3"/>
                        </a:lnTo>
                        <a:lnTo>
                          <a:pt x="3" y="3"/>
                        </a:lnTo>
                        <a:lnTo>
                          <a:pt x="3" y="4"/>
                        </a:lnTo>
                        <a:lnTo>
                          <a:pt x="1" y="4"/>
                        </a:lnTo>
                        <a:lnTo>
                          <a:pt x="1" y="0"/>
                        </a:lnTo>
                        <a:lnTo>
                          <a:pt x="3" y="0"/>
                        </a:lnTo>
                        <a:lnTo>
                          <a:pt x="3" y="1"/>
                        </a:lnTo>
                        <a:lnTo>
                          <a:pt x="4" y="1"/>
                        </a:lnTo>
                        <a:lnTo>
                          <a:pt x="4" y="0"/>
                        </a:lnTo>
                        <a:lnTo>
                          <a:pt x="3" y="0"/>
                        </a:lnTo>
                        <a:lnTo>
                          <a:pt x="3" y="0"/>
                        </a:lnTo>
                        <a:lnTo>
                          <a:pt x="1" y="0"/>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1" name="Freeform 939"/>
                  <p:cNvSpPr>
                    <a:spLocks/>
                  </p:cNvSpPr>
                  <p:nvPr/>
                </p:nvSpPr>
                <p:spPr bwMode="auto">
                  <a:xfrm>
                    <a:off x="4068870" y="2749002"/>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2" name="Freeform 940"/>
                  <p:cNvSpPr>
                    <a:spLocks/>
                  </p:cNvSpPr>
                  <p:nvPr/>
                </p:nvSpPr>
                <p:spPr bwMode="auto">
                  <a:xfrm>
                    <a:off x="4098760" y="278636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893" name="Freeform 941"/>
                  <p:cNvSpPr>
                    <a:spLocks noEditPoints="1"/>
                  </p:cNvSpPr>
                  <p:nvPr/>
                </p:nvSpPr>
                <p:spPr bwMode="auto">
                  <a:xfrm>
                    <a:off x="4113705" y="2749002"/>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4" name="Freeform 942"/>
                  <p:cNvSpPr>
                    <a:spLocks noEditPoints="1"/>
                  </p:cNvSpPr>
                  <p:nvPr/>
                </p:nvSpPr>
                <p:spPr bwMode="auto">
                  <a:xfrm>
                    <a:off x="4151067"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5" name="Freeform 943"/>
                  <p:cNvSpPr>
                    <a:spLocks noEditPoints="1"/>
                  </p:cNvSpPr>
                  <p:nvPr/>
                </p:nvSpPr>
                <p:spPr bwMode="auto">
                  <a:xfrm>
                    <a:off x="4188430" y="2749002"/>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6" name="Freeform 944"/>
                  <p:cNvSpPr>
                    <a:spLocks noEditPoints="1"/>
                  </p:cNvSpPr>
                  <p:nvPr/>
                </p:nvSpPr>
                <p:spPr bwMode="auto">
                  <a:xfrm>
                    <a:off x="3852166" y="2749002"/>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3 h 6"/>
                      <a:gd name="T20" fmla="*/ 4 w 4"/>
                      <a:gd name="T21" fmla="*/ 3 h 6"/>
                      <a:gd name="T22" fmla="*/ 4 w 4"/>
                      <a:gd name="T23" fmla="*/ 3 h 6"/>
                      <a:gd name="T24" fmla="*/ 2 w 4"/>
                      <a:gd name="T25" fmla="*/ 3 h 6"/>
                      <a:gd name="T26" fmla="*/ 0 w 4"/>
                      <a:gd name="T27" fmla="*/ 3 h 6"/>
                      <a:gd name="T28" fmla="*/ 0 w 4"/>
                      <a:gd name="T29" fmla="*/ 1 h 6"/>
                      <a:gd name="T30" fmla="*/ 2 w 4"/>
                      <a:gd name="T31" fmla="*/ 1 h 6"/>
                      <a:gd name="T32" fmla="*/ 2 w 4"/>
                      <a:gd name="T33" fmla="*/ 3 h 6"/>
                      <a:gd name="T34" fmla="*/ 2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0" y="6"/>
                        </a:lnTo>
                        <a:lnTo>
                          <a:pt x="0" y="4"/>
                        </a:lnTo>
                        <a:lnTo>
                          <a:pt x="3" y="4"/>
                        </a:lnTo>
                        <a:lnTo>
                          <a:pt x="3" y="3"/>
                        </a:lnTo>
                        <a:lnTo>
                          <a:pt x="4" y="3"/>
                        </a:lnTo>
                        <a:lnTo>
                          <a:pt x="4" y="3"/>
                        </a:lnTo>
                        <a:close/>
                        <a:moveTo>
                          <a:pt x="2" y="3"/>
                        </a:moveTo>
                        <a:lnTo>
                          <a:pt x="0" y="3"/>
                        </a:lnTo>
                        <a:lnTo>
                          <a:pt x="0"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7" name="Freeform 945"/>
                  <p:cNvSpPr>
                    <a:spLocks/>
                  </p:cNvSpPr>
                  <p:nvPr/>
                </p:nvSpPr>
                <p:spPr bwMode="auto">
                  <a:xfrm>
                    <a:off x="3889529" y="2749002"/>
                    <a:ext cx="29890" cy="44835"/>
                  </a:xfrm>
                  <a:custGeom>
                    <a:avLst/>
                    <a:gdLst>
                      <a:gd name="T0" fmla="*/ 4 w 4"/>
                      <a:gd name="T1" fmla="*/ 5 h 6"/>
                      <a:gd name="T2" fmla="*/ 4 w 4"/>
                      <a:gd name="T3" fmla="*/ 3 h 6"/>
                      <a:gd name="T4" fmla="*/ 3 w 4"/>
                      <a:gd name="T5" fmla="*/ 3 h 6"/>
                      <a:gd name="T6" fmla="*/ 3 w 4"/>
                      <a:gd name="T7" fmla="*/ 2 h 6"/>
                      <a:gd name="T8" fmla="*/ 0 w 4"/>
                      <a:gd name="T9" fmla="*/ 2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2 h 6"/>
                      <a:gd name="T32" fmla="*/ 0 w 4"/>
                      <a:gd name="T33" fmla="*/ 2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2"/>
                        </a:lnTo>
                        <a:lnTo>
                          <a:pt x="0" y="2"/>
                        </a:lnTo>
                        <a:lnTo>
                          <a:pt x="0" y="1"/>
                        </a:lnTo>
                        <a:lnTo>
                          <a:pt x="3" y="1"/>
                        </a:lnTo>
                        <a:lnTo>
                          <a:pt x="3" y="2"/>
                        </a:lnTo>
                        <a:lnTo>
                          <a:pt x="4" y="2"/>
                        </a:lnTo>
                        <a:lnTo>
                          <a:pt x="4" y="1"/>
                        </a:lnTo>
                        <a:lnTo>
                          <a:pt x="3" y="1"/>
                        </a:lnTo>
                        <a:lnTo>
                          <a:pt x="3" y="0"/>
                        </a:lnTo>
                        <a:lnTo>
                          <a:pt x="0" y="0"/>
                        </a:lnTo>
                        <a:lnTo>
                          <a:pt x="0" y="1"/>
                        </a:lnTo>
                        <a:lnTo>
                          <a:pt x="0" y="1"/>
                        </a:lnTo>
                        <a:lnTo>
                          <a:pt x="0" y="2"/>
                        </a:lnTo>
                        <a:lnTo>
                          <a:pt x="0" y="2"/>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8" name="Freeform 946"/>
                  <p:cNvSpPr>
                    <a:spLocks/>
                  </p:cNvSpPr>
                  <p:nvPr/>
                </p:nvSpPr>
                <p:spPr bwMode="auto">
                  <a:xfrm>
                    <a:off x="3926892" y="2749002"/>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899" name="Freeform 947"/>
                  <p:cNvSpPr>
                    <a:spLocks/>
                  </p:cNvSpPr>
                  <p:nvPr/>
                </p:nvSpPr>
                <p:spPr bwMode="auto">
                  <a:xfrm>
                    <a:off x="3941837" y="2749002"/>
                    <a:ext cx="29890" cy="44835"/>
                  </a:xfrm>
                  <a:custGeom>
                    <a:avLst/>
                    <a:gdLst>
                      <a:gd name="T0" fmla="*/ 4 w 4"/>
                      <a:gd name="T1" fmla="*/ 5 h 6"/>
                      <a:gd name="T2" fmla="*/ 4 w 4"/>
                      <a:gd name="T3" fmla="*/ 2 h 6"/>
                      <a:gd name="T4" fmla="*/ 2 w 4"/>
                      <a:gd name="T5" fmla="*/ 2 h 6"/>
                      <a:gd name="T6" fmla="*/ 2 w 4"/>
                      <a:gd name="T7" fmla="*/ 3 h 6"/>
                      <a:gd name="T8" fmla="*/ 3 w 4"/>
                      <a:gd name="T9" fmla="*/ 3 h 6"/>
                      <a:gd name="T10" fmla="*/ 3 w 4"/>
                      <a:gd name="T11" fmla="*/ 5 h 6"/>
                      <a:gd name="T12" fmla="*/ 1 w 4"/>
                      <a:gd name="T13" fmla="*/ 5 h 6"/>
                      <a:gd name="T14" fmla="*/ 1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1 w 4"/>
                      <a:gd name="T29" fmla="*/ 0 h 6"/>
                      <a:gd name="T30" fmla="*/ 1 w 4"/>
                      <a:gd name="T31" fmla="*/ 1 h 6"/>
                      <a:gd name="T32" fmla="*/ 0 w 4"/>
                      <a:gd name="T33" fmla="*/ 1 h 6"/>
                      <a:gd name="T34" fmla="*/ 0 w 4"/>
                      <a:gd name="T35" fmla="*/ 5 h 6"/>
                      <a:gd name="T36" fmla="*/ 1 w 4"/>
                      <a:gd name="T37" fmla="*/ 5 h 6"/>
                      <a:gd name="T38" fmla="*/ 1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2"/>
                        </a:lnTo>
                        <a:lnTo>
                          <a:pt x="2" y="2"/>
                        </a:lnTo>
                        <a:lnTo>
                          <a:pt x="2" y="3"/>
                        </a:lnTo>
                        <a:lnTo>
                          <a:pt x="3" y="3"/>
                        </a:lnTo>
                        <a:lnTo>
                          <a:pt x="3" y="5"/>
                        </a:lnTo>
                        <a:lnTo>
                          <a:pt x="1" y="5"/>
                        </a:lnTo>
                        <a:lnTo>
                          <a:pt x="1" y="1"/>
                        </a:lnTo>
                        <a:lnTo>
                          <a:pt x="3" y="1"/>
                        </a:lnTo>
                        <a:lnTo>
                          <a:pt x="3" y="2"/>
                        </a:lnTo>
                        <a:lnTo>
                          <a:pt x="4" y="2"/>
                        </a:ln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0" name="Freeform 948"/>
                  <p:cNvSpPr>
                    <a:spLocks/>
                  </p:cNvSpPr>
                  <p:nvPr/>
                </p:nvSpPr>
                <p:spPr bwMode="auto">
                  <a:xfrm>
                    <a:off x="2566893" y="4527463"/>
                    <a:ext cx="22418" cy="44835"/>
                  </a:xfrm>
                  <a:custGeom>
                    <a:avLst/>
                    <a:gdLst>
                      <a:gd name="T0" fmla="*/ 3 w 3"/>
                      <a:gd name="T1" fmla="*/ 6 h 6"/>
                      <a:gd name="T2" fmla="*/ 3 w 3"/>
                      <a:gd name="T3" fmla="*/ 0 h 6"/>
                      <a:gd name="T4" fmla="*/ 2 w 3"/>
                      <a:gd name="T5" fmla="*/ 0 h 6"/>
                      <a:gd name="T6" fmla="*/ 2 w 3"/>
                      <a:gd name="T7" fmla="*/ 1 h 6"/>
                      <a:gd name="T8" fmla="*/ 1 w 3"/>
                      <a:gd name="T9" fmla="*/ 1 h 6"/>
                      <a:gd name="T10" fmla="*/ 1 w 3"/>
                      <a:gd name="T11" fmla="*/ 2 h 6"/>
                      <a:gd name="T12" fmla="*/ 0 w 3"/>
                      <a:gd name="T13" fmla="*/ 2 h 6"/>
                      <a:gd name="T14" fmla="*/ 0 w 3"/>
                      <a:gd name="T15" fmla="*/ 3 h 6"/>
                      <a:gd name="T16" fmla="*/ 1 w 3"/>
                      <a:gd name="T17" fmla="*/ 3 h 6"/>
                      <a:gd name="T18" fmla="*/ 1 w 3"/>
                      <a:gd name="T19" fmla="*/ 2 h 6"/>
                      <a:gd name="T20" fmla="*/ 2 w 3"/>
                      <a:gd name="T21" fmla="*/ 2 h 6"/>
                      <a:gd name="T22" fmla="*/ 2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2" y="0"/>
                        </a:lnTo>
                        <a:lnTo>
                          <a:pt x="2" y="1"/>
                        </a:lnTo>
                        <a:lnTo>
                          <a:pt x="1" y="1"/>
                        </a:lnTo>
                        <a:lnTo>
                          <a:pt x="1" y="2"/>
                        </a:lnTo>
                        <a:lnTo>
                          <a:pt x="0" y="2"/>
                        </a:lnTo>
                        <a:lnTo>
                          <a:pt x="0" y="3"/>
                        </a:lnTo>
                        <a:lnTo>
                          <a:pt x="1" y="3"/>
                        </a:lnTo>
                        <a:lnTo>
                          <a:pt x="1" y="2"/>
                        </a:lnTo>
                        <a:lnTo>
                          <a:pt x="2" y="2"/>
                        </a:lnTo>
                        <a:lnTo>
                          <a:pt x="2"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1" name="Freeform 949"/>
                  <p:cNvSpPr>
                    <a:spLocks/>
                  </p:cNvSpPr>
                  <p:nvPr/>
                </p:nvSpPr>
                <p:spPr bwMode="auto">
                  <a:xfrm>
                    <a:off x="2596783" y="4564825"/>
                    <a:ext cx="7473" cy="7473"/>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02" name="Freeform 950"/>
                  <p:cNvSpPr>
                    <a:spLocks noEditPoints="1"/>
                  </p:cNvSpPr>
                  <p:nvPr/>
                </p:nvSpPr>
                <p:spPr bwMode="auto">
                  <a:xfrm>
                    <a:off x="2611728"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3" name="Freeform 951"/>
                  <p:cNvSpPr>
                    <a:spLocks noEditPoints="1"/>
                  </p:cNvSpPr>
                  <p:nvPr/>
                </p:nvSpPr>
                <p:spPr bwMode="auto">
                  <a:xfrm>
                    <a:off x="2649090" y="4527463"/>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4" name="Freeform 952"/>
                  <p:cNvSpPr>
                    <a:spLocks noEditPoints="1"/>
                  </p:cNvSpPr>
                  <p:nvPr/>
                </p:nvSpPr>
                <p:spPr bwMode="auto">
                  <a:xfrm>
                    <a:off x="2686453" y="4527463"/>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5" name="Freeform 953"/>
                  <p:cNvSpPr>
                    <a:spLocks noEditPoints="1"/>
                  </p:cNvSpPr>
                  <p:nvPr/>
                </p:nvSpPr>
                <p:spPr bwMode="auto">
                  <a:xfrm>
                    <a:off x="2357662" y="4527463"/>
                    <a:ext cx="29890" cy="44835"/>
                  </a:xfrm>
                  <a:custGeom>
                    <a:avLst/>
                    <a:gdLst>
                      <a:gd name="T0" fmla="*/ 4 w 4"/>
                      <a:gd name="T1" fmla="*/ 4 h 6"/>
                      <a:gd name="T2" fmla="*/ 4 w 4"/>
                      <a:gd name="T3" fmla="*/ 2 h 6"/>
                      <a:gd name="T4" fmla="*/ 2 w 4"/>
                      <a:gd name="T5" fmla="*/ 2 h 6"/>
                      <a:gd name="T6" fmla="*/ 2 w 4"/>
                      <a:gd name="T7" fmla="*/ 1 h 6"/>
                      <a:gd name="T8" fmla="*/ 2 w 4"/>
                      <a:gd name="T9" fmla="*/ 1 h 6"/>
                      <a:gd name="T10" fmla="*/ 2 w 4"/>
                      <a:gd name="T11" fmla="*/ 0 h 6"/>
                      <a:gd name="T12" fmla="*/ 0 w 4"/>
                      <a:gd name="T13" fmla="*/ 0 h 6"/>
                      <a:gd name="T14" fmla="*/ 0 w 4"/>
                      <a:gd name="T15" fmla="*/ 6 h 6"/>
                      <a:gd name="T16" fmla="*/ 2 w 4"/>
                      <a:gd name="T17" fmla="*/ 6 h 6"/>
                      <a:gd name="T18" fmla="*/ 2 w 4"/>
                      <a:gd name="T19" fmla="*/ 5 h 6"/>
                      <a:gd name="T20" fmla="*/ 2 w 4"/>
                      <a:gd name="T21" fmla="*/ 5 h 6"/>
                      <a:gd name="T22" fmla="*/ 2 w 4"/>
                      <a:gd name="T23" fmla="*/ 4 h 6"/>
                      <a:gd name="T24" fmla="*/ 4 w 4"/>
                      <a:gd name="T25" fmla="*/ 4 h 6"/>
                      <a:gd name="T26" fmla="*/ 4 w 4"/>
                      <a:gd name="T27" fmla="*/ 4 h 6"/>
                      <a:gd name="T28" fmla="*/ 2 w 4"/>
                      <a:gd name="T29" fmla="*/ 4 h 6"/>
                      <a:gd name="T30" fmla="*/ 2 w 4"/>
                      <a:gd name="T31" fmla="*/ 4 h 6"/>
                      <a:gd name="T32" fmla="*/ 2 w 4"/>
                      <a:gd name="T33" fmla="*/ 5 h 6"/>
                      <a:gd name="T34" fmla="*/ 0 w 4"/>
                      <a:gd name="T35" fmla="*/ 5 h 6"/>
                      <a:gd name="T36" fmla="*/ 0 w 4"/>
                      <a:gd name="T37" fmla="*/ 1 h 6"/>
                      <a:gd name="T38" fmla="*/ 2 w 4"/>
                      <a:gd name="T39" fmla="*/ 1 h 6"/>
                      <a:gd name="T40" fmla="*/ 2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4"/>
                        </a:moveTo>
                        <a:lnTo>
                          <a:pt x="4" y="2"/>
                        </a:lnTo>
                        <a:lnTo>
                          <a:pt x="2" y="2"/>
                        </a:lnTo>
                        <a:lnTo>
                          <a:pt x="2" y="1"/>
                        </a:lnTo>
                        <a:lnTo>
                          <a:pt x="2" y="1"/>
                        </a:lnTo>
                        <a:lnTo>
                          <a:pt x="2" y="0"/>
                        </a:lnTo>
                        <a:lnTo>
                          <a:pt x="0" y="0"/>
                        </a:lnTo>
                        <a:lnTo>
                          <a:pt x="0" y="6"/>
                        </a:lnTo>
                        <a:lnTo>
                          <a:pt x="2" y="6"/>
                        </a:lnTo>
                        <a:lnTo>
                          <a:pt x="2" y="5"/>
                        </a:lnTo>
                        <a:lnTo>
                          <a:pt x="2" y="5"/>
                        </a:lnTo>
                        <a:lnTo>
                          <a:pt x="2" y="4"/>
                        </a:lnTo>
                        <a:lnTo>
                          <a:pt x="4" y="4"/>
                        </a:lnTo>
                        <a:lnTo>
                          <a:pt x="4" y="4"/>
                        </a:lnTo>
                        <a:close/>
                        <a:moveTo>
                          <a:pt x="2" y="4"/>
                        </a:moveTo>
                        <a:lnTo>
                          <a:pt x="2" y="4"/>
                        </a:lnTo>
                        <a:lnTo>
                          <a:pt x="2" y="5"/>
                        </a:lnTo>
                        <a:lnTo>
                          <a:pt x="0" y="5"/>
                        </a:lnTo>
                        <a:lnTo>
                          <a:pt x="0" y="1"/>
                        </a:lnTo>
                        <a:lnTo>
                          <a:pt x="2" y="1"/>
                        </a:lnTo>
                        <a:lnTo>
                          <a:pt x="2"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6" name="Freeform 954"/>
                  <p:cNvSpPr>
                    <a:spLocks/>
                  </p:cNvSpPr>
                  <p:nvPr/>
                </p:nvSpPr>
                <p:spPr bwMode="auto">
                  <a:xfrm>
                    <a:off x="2395025" y="4527463"/>
                    <a:ext cx="22418"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7" name="Freeform 955"/>
                  <p:cNvSpPr>
                    <a:spLocks/>
                  </p:cNvSpPr>
                  <p:nvPr/>
                </p:nvSpPr>
                <p:spPr bwMode="auto">
                  <a:xfrm>
                    <a:off x="2424915" y="4527463"/>
                    <a:ext cx="29890" cy="44835"/>
                  </a:xfrm>
                  <a:custGeom>
                    <a:avLst/>
                    <a:gdLst>
                      <a:gd name="T0" fmla="*/ 4 w 4"/>
                      <a:gd name="T1" fmla="*/ 5 h 6"/>
                      <a:gd name="T2" fmla="*/ 4 w 4"/>
                      <a:gd name="T3" fmla="*/ 3 h 6"/>
                      <a:gd name="T4" fmla="*/ 2 w 4"/>
                      <a:gd name="T5" fmla="*/ 3 h 6"/>
                      <a:gd name="T6" fmla="*/ 2 w 4"/>
                      <a:gd name="T7" fmla="*/ 3 h 6"/>
                      <a:gd name="T8" fmla="*/ 3 w 4"/>
                      <a:gd name="T9" fmla="*/ 3 h 6"/>
                      <a:gd name="T10" fmla="*/ 3 w 4"/>
                      <a:gd name="T11" fmla="*/ 5 h 6"/>
                      <a:gd name="T12" fmla="*/ 0 w 4"/>
                      <a:gd name="T13" fmla="*/ 5 h 6"/>
                      <a:gd name="T14" fmla="*/ 0 w 4"/>
                      <a:gd name="T15" fmla="*/ 1 h 6"/>
                      <a:gd name="T16" fmla="*/ 3 w 4"/>
                      <a:gd name="T17" fmla="*/ 1 h 6"/>
                      <a:gd name="T18" fmla="*/ 3 w 4"/>
                      <a:gd name="T19" fmla="*/ 2 h 6"/>
                      <a:gd name="T20" fmla="*/ 4 w 4"/>
                      <a:gd name="T21" fmla="*/ 2 h 6"/>
                      <a:gd name="T22" fmla="*/ 4 w 4"/>
                      <a:gd name="T23" fmla="*/ 1 h 6"/>
                      <a:gd name="T24" fmla="*/ 3 w 4"/>
                      <a:gd name="T25" fmla="*/ 1 h 6"/>
                      <a:gd name="T26" fmla="*/ 3 w 4"/>
                      <a:gd name="T27" fmla="*/ 0 h 6"/>
                      <a:gd name="T28" fmla="*/ 0 w 4"/>
                      <a:gd name="T29" fmla="*/ 0 h 6"/>
                      <a:gd name="T30" fmla="*/ 0 w 4"/>
                      <a:gd name="T31" fmla="*/ 1 h 6"/>
                      <a:gd name="T32" fmla="*/ 0 w 4"/>
                      <a:gd name="T33" fmla="*/ 1 h 6"/>
                      <a:gd name="T34" fmla="*/ 0 w 4"/>
                      <a:gd name="T35" fmla="*/ 5 h 6"/>
                      <a:gd name="T36" fmla="*/ 0 w 4"/>
                      <a:gd name="T37" fmla="*/ 5 h 6"/>
                      <a:gd name="T38" fmla="*/ 0 w 4"/>
                      <a:gd name="T39" fmla="*/ 6 h 6"/>
                      <a:gd name="T40" fmla="*/ 3 w 4"/>
                      <a:gd name="T41" fmla="*/ 6 h 6"/>
                      <a:gd name="T42" fmla="*/ 3 w 4"/>
                      <a:gd name="T43" fmla="*/ 5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5"/>
                        </a:moveTo>
                        <a:lnTo>
                          <a:pt x="4" y="3"/>
                        </a:lnTo>
                        <a:lnTo>
                          <a:pt x="2" y="3"/>
                        </a:lnTo>
                        <a:lnTo>
                          <a:pt x="2" y="3"/>
                        </a:lnTo>
                        <a:lnTo>
                          <a:pt x="3" y="3"/>
                        </a:lnTo>
                        <a:lnTo>
                          <a:pt x="3" y="5"/>
                        </a:lnTo>
                        <a:lnTo>
                          <a:pt x="0" y="5"/>
                        </a:lnTo>
                        <a:lnTo>
                          <a:pt x="0" y="1"/>
                        </a:lnTo>
                        <a:lnTo>
                          <a:pt x="3" y="1"/>
                        </a:lnTo>
                        <a:lnTo>
                          <a:pt x="3" y="2"/>
                        </a:lnTo>
                        <a:lnTo>
                          <a:pt x="4" y="2"/>
                        </a:ln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8" name="Freeform 956"/>
                  <p:cNvSpPr>
                    <a:spLocks/>
                  </p:cNvSpPr>
                  <p:nvPr/>
                </p:nvSpPr>
                <p:spPr bwMode="auto">
                  <a:xfrm>
                    <a:off x="2492167" y="4527463"/>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3 h 6"/>
                      <a:gd name="T12" fmla="*/ 2 w 3"/>
                      <a:gd name="T13" fmla="*/ 3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3"/>
                        </a:lnTo>
                        <a:lnTo>
                          <a:pt x="2" y="3"/>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09" name="Freeform 957"/>
                  <p:cNvSpPr>
                    <a:spLocks/>
                  </p:cNvSpPr>
                  <p:nvPr/>
                </p:nvSpPr>
                <p:spPr bwMode="auto">
                  <a:xfrm>
                    <a:off x="2977881" y="4295815"/>
                    <a:ext cx="22418" cy="44835"/>
                  </a:xfrm>
                  <a:custGeom>
                    <a:avLst/>
                    <a:gdLst>
                      <a:gd name="T0" fmla="*/ 3 w 3"/>
                      <a:gd name="T1" fmla="*/ 1 h 6"/>
                      <a:gd name="T2" fmla="*/ 3 w 3"/>
                      <a:gd name="T3" fmla="*/ 0 h 6"/>
                      <a:gd name="T4" fmla="*/ 0 w 3"/>
                      <a:gd name="T5" fmla="*/ 0 h 6"/>
                      <a:gd name="T6" fmla="*/ 0 w 3"/>
                      <a:gd name="T7" fmla="*/ 6 h 6"/>
                      <a:gd name="T8" fmla="*/ 0 w 3"/>
                      <a:gd name="T9" fmla="*/ 6 h 6"/>
                      <a:gd name="T10" fmla="*/ 0 w 3"/>
                      <a:gd name="T11" fmla="*/ 4 h 6"/>
                      <a:gd name="T12" fmla="*/ 2 w 3"/>
                      <a:gd name="T13" fmla="*/ 4 h 6"/>
                      <a:gd name="T14" fmla="*/ 2 w 3"/>
                      <a:gd name="T15" fmla="*/ 3 h 6"/>
                      <a:gd name="T16" fmla="*/ 0 w 3"/>
                      <a:gd name="T17" fmla="*/ 3 h 6"/>
                      <a:gd name="T18" fmla="*/ 0 w 3"/>
                      <a:gd name="T19" fmla="*/ 1 h 6"/>
                      <a:gd name="T20" fmla="*/ 3 w 3"/>
                      <a:gd name="T21" fmla="*/ 1 h 6"/>
                      <a:gd name="T22" fmla="*/ 3 w 3"/>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1"/>
                        </a:moveTo>
                        <a:lnTo>
                          <a:pt x="3" y="0"/>
                        </a:lnTo>
                        <a:lnTo>
                          <a:pt x="0" y="0"/>
                        </a:lnTo>
                        <a:lnTo>
                          <a:pt x="0" y="6"/>
                        </a:lnTo>
                        <a:lnTo>
                          <a:pt x="0" y="6"/>
                        </a:lnTo>
                        <a:lnTo>
                          <a:pt x="0" y="4"/>
                        </a:lnTo>
                        <a:lnTo>
                          <a:pt x="2" y="4"/>
                        </a:lnTo>
                        <a:lnTo>
                          <a:pt x="2" y="3"/>
                        </a:lnTo>
                        <a:lnTo>
                          <a:pt x="0" y="3"/>
                        </a:lnTo>
                        <a:lnTo>
                          <a:pt x="0"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0" name="Freeform 958"/>
                  <p:cNvSpPr>
                    <a:spLocks/>
                  </p:cNvSpPr>
                  <p:nvPr/>
                </p:nvSpPr>
                <p:spPr bwMode="auto">
                  <a:xfrm>
                    <a:off x="3000299" y="4295815"/>
                    <a:ext cx="29890" cy="44835"/>
                  </a:xfrm>
                  <a:custGeom>
                    <a:avLst/>
                    <a:gdLst>
                      <a:gd name="T0" fmla="*/ 4 w 4"/>
                      <a:gd name="T1" fmla="*/ 5 h 6"/>
                      <a:gd name="T2" fmla="*/ 4 w 4"/>
                      <a:gd name="T3" fmla="*/ 0 h 6"/>
                      <a:gd name="T4" fmla="*/ 4 w 4"/>
                      <a:gd name="T5" fmla="*/ 0 h 6"/>
                      <a:gd name="T6" fmla="*/ 4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4" y="0"/>
                        </a:lnTo>
                        <a:lnTo>
                          <a:pt x="4" y="5"/>
                        </a:lnTo>
                        <a:lnTo>
                          <a:pt x="1" y="5"/>
                        </a:lnTo>
                        <a:lnTo>
                          <a:pt x="1" y="0"/>
                        </a:lnTo>
                        <a:lnTo>
                          <a:pt x="0" y="0"/>
                        </a:lnTo>
                        <a:lnTo>
                          <a:pt x="0" y="5"/>
                        </a:lnTo>
                        <a:lnTo>
                          <a:pt x="1" y="5"/>
                        </a:lnTo>
                        <a:lnTo>
                          <a:pt x="1" y="6"/>
                        </a:lnTo>
                        <a:lnTo>
                          <a:pt x="4" y="6"/>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1" name="Freeform 959"/>
                  <p:cNvSpPr>
                    <a:spLocks/>
                  </p:cNvSpPr>
                  <p:nvPr/>
                </p:nvSpPr>
                <p:spPr bwMode="auto">
                  <a:xfrm>
                    <a:off x="3045134" y="4295815"/>
                    <a:ext cx="14945" cy="44835"/>
                  </a:xfrm>
                  <a:custGeom>
                    <a:avLst/>
                    <a:gdLst>
                      <a:gd name="T0" fmla="*/ 2 w 2"/>
                      <a:gd name="T1" fmla="*/ 6 h 6"/>
                      <a:gd name="T2" fmla="*/ 2 w 2"/>
                      <a:gd name="T3" fmla="*/ 5 h 6"/>
                      <a:gd name="T4" fmla="*/ 0 w 2"/>
                      <a:gd name="T5" fmla="*/ 5 h 6"/>
                      <a:gd name="T6" fmla="*/ 0 w 2"/>
                      <a:gd name="T7" fmla="*/ 4 h 6"/>
                      <a:gd name="T8" fmla="*/ 2 w 2"/>
                      <a:gd name="T9" fmla="*/ 4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4"/>
                        </a:lnTo>
                        <a:lnTo>
                          <a:pt x="2" y="4"/>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2" name="Freeform 960"/>
                  <p:cNvSpPr>
                    <a:spLocks/>
                  </p:cNvSpPr>
                  <p:nvPr/>
                </p:nvSpPr>
                <p:spPr bwMode="auto">
                  <a:xfrm>
                    <a:off x="3067552" y="4295815"/>
                    <a:ext cx="22418"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3" name="Freeform 961"/>
                  <p:cNvSpPr>
                    <a:spLocks/>
                  </p:cNvSpPr>
                  <p:nvPr/>
                </p:nvSpPr>
                <p:spPr bwMode="auto">
                  <a:xfrm>
                    <a:off x="3119859" y="4295815"/>
                    <a:ext cx="29890" cy="44835"/>
                  </a:xfrm>
                  <a:custGeom>
                    <a:avLst/>
                    <a:gdLst>
                      <a:gd name="T0" fmla="*/ 4 w 4"/>
                      <a:gd name="T1" fmla="*/ 6 h 6"/>
                      <a:gd name="T2" fmla="*/ 4 w 4"/>
                      <a:gd name="T3" fmla="*/ 0 h 6"/>
                      <a:gd name="T4" fmla="*/ 3 w 4"/>
                      <a:gd name="T5" fmla="*/ 0 h 6"/>
                      <a:gd name="T6" fmla="*/ 3 w 4"/>
                      <a:gd name="T7" fmla="*/ 3 h 6"/>
                      <a:gd name="T8" fmla="*/ 1 w 4"/>
                      <a:gd name="T9" fmla="*/ 3 h 6"/>
                      <a:gd name="T10" fmla="*/ 1 w 4"/>
                      <a:gd name="T11" fmla="*/ 0 h 6"/>
                      <a:gd name="T12" fmla="*/ 0 w 4"/>
                      <a:gd name="T13" fmla="*/ 0 h 6"/>
                      <a:gd name="T14" fmla="*/ 0 w 4"/>
                      <a:gd name="T15" fmla="*/ 6 h 6"/>
                      <a:gd name="T16" fmla="*/ 1 w 4"/>
                      <a:gd name="T17" fmla="*/ 6 h 6"/>
                      <a:gd name="T18" fmla="*/ 1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1" y="3"/>
                        </a:lnTo>
                        <a:lnTo>
                          <a:pt x="1" y="0"/>
                        </a:lnTo>
                        <a:lnTo>
                          <a:pt x="0" y="0"/>
                        </a:lnTo>
                        <a:lnTo>
                          <a:pt x="0" y="6"/>
                        </a:lnTo>
                        <a:lnTo>
                          <a:pt x="1" y="6"/>
                        </a:lnTo>
                        <a:lnTo>
                          <a:pt x="1"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4" name="Freeform 962"/>
                  <p:cNvSpPr>
                    <a:spLocks/>
                  </p:cNvSpPr>
                  <p:nvPr/>
                </p:nvSpPr>
                <p:spPr bwMode="auto">
                  <a:xfrm>
                    <a:off x="3157222" y="4295815"/>
                    <a:ext cx="22418" cy="44835"/>
                  </a:xfrm>
                  <a:custGeom>
                    <a:avLst/>
                    <a:gdLst>
                      <a:gd name="T0" fmla="*/ 3 w 3"/>
                      <a:gd name="T1" fmla="*/ 6 h 6"/>
                      <a:gd name="T2" fmla="*/ 3 w 3"/>
                      <a:gd name="T3" fmla="*/ 5 h 6"/>
                      <a:gd name="T4" fmla="*/ 1 w 3"/>
                      <a:gd name="T5" fmla="*/ 5 h 6"/>
                      <a:gd name="T6" fmla="*/ 1 w 3"/>
                      <a:gd name="T7" fmla="*/ 4 h 6"/>
                      <a:gd name="T8" fmla="*/ 2 w 3"/>
                      <a:gd name="T9" fmla="*/ 4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4"/>
                        </a:lnTo>
                        <a:lnTo>
                          <a:pt x="2" y="4"/>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5" name="Freeform 963"/>
                  <p:cNvSpPr>
                    <a:spLocks noEditPoints="1"/>
                  </p:cNvSpPr>
                  <p:nvPr/>
                </p:nvSpPr>
                <p:spPr bwMode="auto">
                  <a:xfrm>
                    <a:off x="3187112" y="4295815"/>
                    <a:ext cx="29890" cy="44835"/>
                  </a:xfrm>
                  <a:custGeom>
                    <a:avLst/>
                    <a:gdLst>
                      <a:gd name="T0" fmla="*/ 4 w 4"/>
                      <a:gd name="T1" fmla="*/ 6 h 6"/>
                      <a:gd name="T2" fmla="*/ 4 w 4"/>
                      <a:gd name="T3" fmla="*/ 4 h 6"/>
                      <a:gd name="T4" fmla="*/ 3 w 4"/>
                      <a:gd name="T5" fmla="*/ 4 h 6"/>
                      <a:gd name="T6" fmla="*/ 3 w 4"/>
                      <a:gd name="T7" fmla="*/ 2 h 6"/>
                      <a:gd name="T8" fmla="*/ 2 w 4"/>
                      <a:gd name="T9" fmla="*/ 2 h 6"/>
                      <a:gd name="T10" fmla="*/ 2 w 4"/>
                      <a:gd name="T11" fmla="*/ 0 h 6"/>
                      <a:gd name="T12" fmla="*/ 1 w 4"/>
                      <a:gd name="T13" fmla="*/ 0 h 6"/>
                      <a:gd name="T14" fmla="*/ 1 w 4"/>
                      <a:gd name="T15" fmla="*/ 2 h 6"/>
                      <a:gd name="T16" fmla="*/ 1 w 4"/>
                      <a:gd name="T17" fmla="*/ 2 h 6"/>
                      <a:gd name="T18" fmla="*/ 1 w 4"/>
                      <a:gd name="T19" fmla="*/ 4 h 6"/>
                      <a:gd name="T20" fmla="*/ 0 w 4"/>
                      <a:gd name="T21" fmla="*/ 4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4 h 6"/>
                      <a:gd name="T38" fmla="*/ 1 w 4"/>
                      <a:gd name="T39" fmla="*/ 4 h 6"/>
                      <a:gd name="T40" fmla="*/ 1 w 4"/>
                      <a:gd name="T41" fmla="*/ 2 h 6"/>
                      <a:gd name="T42" fmla="*/ 2 w 4"/>
                      <a:gd name="T43" fmla="*/ 2 h 6"/>
                      <a:gd name="T44" fmla="*/ 2 w 4"/>
                      <a:gd name="T45" fmla="*/ 4 h 6"/>
                      <a:gd name="T46" fmla="*/ 2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2"/>
                        </a:lnTo>
                        <a:lnTo>
                          <a:pt x="2" y="2"/>
                        </a:lnTo>
                        <a:lnTo>
                          <a:pt x="2" y="0"/>
                        </a:lnTo>
                        <a:lnTo>
                          <a:pt x="1" y="0"/>
                        </a:lnTo>
                        <a:lnTo>
                          <a:pt x="1" y="2"/>
                        </a:lnTo>
                        <a:lnTo>
                          <a:pt x="1" y="2"/>
                        </a:lnTo>
                        <a:lnTo>
                          <a:pt x="1" y="4"/>
                        </a:lnTo>
                        <a:lnTo>
                          <a:pt x="0" y="4"/>
                        </a:lnTo>
                        <a:lnTo>
                          <a:pt x="0" y="6"/>
                        </a:lnTo>
                        <a:lnTo>
                          <a:pt x="1" y="6"/>
                        </a:lnTo>
                        <a:lnTo>
                          <a:pt x="1" y="4"/>
                        </a:lnTo>
                        <a:lnTo>
                          <a:pt x="3" y="4"/>
                        </a:lnTo>
                        <a:lnTo>
                          <a:pt x="3" y="6"/>
                        </a:lnTo>
                        <a:lnTo>
                          <a:pt x="4" y="6"/>
                        </a:lnTo>
                        <a:lnTo>
                          <a:pt x="4" y="6"/>
                        </a:lnTo>
                        <a:close/>
                        <a:moveTo>
                          <a:pt x="2" y="4"/>
                        </a:moveTo>
                        <a:lnTo>
                          <a:pt x="1" y="4"/>
                        </a:lnTo>
                        <a:lnTo>
                          <a:pt x="1" y="2"/>
                        </a:lnTo>
                        <a:lnTo>
                          <a:pt x="2" y="2"/>
                        </a:lnTo>
                        <a:lnTo>
                          <a:pt x="2" y="4"/>
                        </a:lnTo>
                        <a:lnTo>
                          <a:pt x="2"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6" name="Freeform 964"/>
                  <p:cNvSpPr>
                    <a:spLocks/>
                  </p:cNvSpPr>
                  <p:nvPr/>
                </p:nvSpPr>
                <p:spPr bwMode="auto">
                  <a:xfrm>
                    <a:off x="3224475" y="4295815"/>
                    <a:ext cx="22418" cy="44835"/>
                  </a:xfrm>
                  <a:custGeom>
                    <a:avLst/>
                    <a:gdLst>
                      <a:gd name="T0" fmla="*/ 3 w 3"/>
                      <a:gd name="T1" fmla="*/ 1 h 6"/>
                      <a:gd name="T2" fmla="*/ 3 w 3"/>
                      <a:gd name="T3" fmla="*/ 0 h 6"/>
                      <a:gd name="T4" fmla="*/ 0 w 3"/>
                      <a:gd name="T5" fmla="*/ 0 h 6"/>
                      <a:gd name="T6" fmla="*/ 0 w 3"/>
                      <a:gd name="T7" fmla="*/ 1 h 6"/>
                      <a:gd name="T8" fmla="*/ 1 w 3"/>
                      <a:gd name="T9" fmla="*/ 1 h 6"/>
                      <a:gd name="T10" fmla="*/ 1 w 3"/>
                      <a:gd name="T11" fmla="*/ 6 h 6"/>
                      <a:gd name="T12" fmla="*/ 2 w 3"/>
                      <a:gd name="T13" fmla="*/ 6 h 6"/>
                      <a:gd name="T14" fmla="*/ 2 w 3"/>
                      <a:gd name="T15" fmla="*/ 1 h 6"/>
                      <a:gd name="T16" fmla="*/ 3 w 3"/>
                      <a:gd name="T17" fmla="*/ 1 h 6"/>
                      <a:gd name="T18" fmla="*/ 3 w 3"/>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1"/>
                        </a:moveTo>
                        <a:lnTo>
                          <a:pt x="3" y="0"/>
                        </a:lnTo>
                        <a:lnTo>
                          <a:pt x="0" y="0"/>
                        </a:lnTo>
                        <a:lnTo>
                          <a:pt x="0" y="1"/>
                        </a:lnTo>
                        <a:lnTo>
                          <a:pt x="1" y="1"/>
                        </a:lnTo>
                        <a:lnTo>
                          <a:pt x="1" y="6"/>
                        </a:lnTo>
                        <a:lnTo>
                          <a:pt x="2" y="6"/>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7" name="Freeform 965"/>
                  <p:cNvSpPr>
                    <a:spLocks/>
                  </p:cNvSpPr>
                  <p:nvPr/>
                </p:nvSpPr>
                <p:spPr bwMode="auto">
                  <a:xfrm>
                    <a:off x="3276782" y="4295815"/>
                    <a:ext cx="7473"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8" name="Freeform 966"/>
                  <p:cNvSpPr>
                    <a:spLocks/>
                  </p:cNvSpPr>
                  <p:nvPr/>
                </p:nvSpPr>
                <p:spPr bwMode="auto">
                  <a:xfrm>
                    <a:off x="3291727" y="4295815"/>
                    <a:ext cx="29890" cy="44835"/>
                  </a:xfrm>
                  <a:custGeom>
                    <a:avLst/>
                    <a:gdLst>
                      <a:gd name="T0" fmla="*/ 4 w 4"/>
                      <a:gd name="T1" fmla="*/ 6 h 6"/>
                      <a:gd name="T2" fmla="*/ 4 w 4"/>
                      <a:gd name="T3" fmla="*/ 0 h 6"/>
                      <a:gd name="T4" fmla="*/ 3 w 4"/>
                      <a:gd name="T5" fmla="*/ 0 h 6"/>
                      <a:gd name="T6" fmla="*/ 3 w 4"/>
                      <a:gd name="T7" fmla="*/ 4 h 6"/>
                      <a:gd name="T8" fmla="*/ 2 w 4"/>
                      <a:gd name="T9" fmla="*/ 4 h 6"/>
                      <a:gd name="T10" fmla="*/ 2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4 h 6"/>
                      <a:gd name="T32" fmla="*/ 2 w 4"/>
                      <a:gd name="T33" fmla="*/ 4 h 6"/>
                      <a:gd name="T34" fmla="*/ 2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4"/>
                        </a:lnTo>
                        <a:lnTo>
                          <a:pt x="2" y="4"/>
                        </a:lnTo>
                        <a:lnTo>
                          <a:pt x="2" y="3"/>
                        </a:lnTo>
                        <a:lnTo>
                          <a:pt x="1" y="3"/>
                        </a:lnTo>
                        <a:lnTo>
                          <a:pt x="1" y="2"/>
                        </a:lnTo>
                        <a:lnTo>
                          <a:pt x="1" y="2"/>
                        </a:lnTo>
                        <a:lnTo>
                          <a:pt x="1" y="0"/>
                        </a:lnTo>
                        <a:lnTo>
                          <a:pt x="0" y="0"/>
                        </a:lnTo>
                        <a:lnTo>
                          <a:pt x="0" y="6"/>
                        </a:lnTo>
                        <a:lnTo>
                          <a:pt x="1" y="6"/>
                        </a:lnTo>
                        <a:lnTo>
                          <a:pt x="1" y="3"/>
                        </a:lnTo>
                        <a:lnTo>
                          <a:pt x="1" y="3"/>
                        </a:lnTo>
                        <a:lnTo>
                          <a:pt x="1" y="4"/>
                        </a:lnTo>
                        <a:lnTo>
                          <a:pt x="2" y="4"/>
                        </a:lnTo>
                        <a:lnTo>
                          <a:pt x="2"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19" name="Freeform 967"/>
                  <p:cNvSpPr>
                    <a:spLocks noEditPoints="1"/>
                  </p:cNvSpPr>
                  <p:nvPr/>
                </p:nvSpPr>
                <p:spPr bwMode="auto">
                  <a:xfrm>
                    <a:off x="3329090" y="4295815"/>
                    <a:ext cx="29890" cy="44835"/>
                  </a:xfrm>
                  <a:custGeom>
                    <a:avLst/>
                    <a:gdLst>
                      <a:gd name="T0" fmla="*/ 4 w 4"/>
                      <a:gd name="T1" fmla="*/ 4 h 6"/>
                      <a:gd name="T2" fmla="*/ 4 w 4"/>
                      <a:gd name="T3" fmla="*/ 1 h 6"/>
                      <a:gd name="T4" fmla="*/ 3 w 4"/>
                      <a:gd name="T5" fmla="*/ 1 h 6"/>
                      <a:gd name="T6" fmla="*/ 3 w 4"/>
                      <a:gd name="T7" fmla="*/ 0 h 6"/>
                      <a:gd name="T8" fmla="*/ 0 w 4"/>
                      <a:gd name="T9" fmla="*/ 0 h 6"/>
                      <a:gd name="T10" fmla="*/ 0 w 4"/>
                      <a:gd name="T11" fmla="*/ 6 h 6"/>
                      <a:gd name="T12" fmla="*/ 0 w 4"/>
                      <a:gd name="T13" fmla="*/ 6 h 6"/>
                      <a:gd name="T14" fmla="*/ 0 w 4"/>
                      <a:gd name="T15" fmla="*/ 4 h 6"/>
                      <a:gd name="T16" fmla="*/ 3 w 4"/>
                      <a:gd name="T17" fmla="*/ 4 h 6"/>
                      <a:gd name="T18" fmla="*/ 3 w 4"/>
                      <a:gd name="T19" fmla="*/ 4 h 6"/>
                      <a:gd name="T20" fmla="*/ 4 w 4"/>
                      <a:gd name="T21" fmla="*/ 4 h 6"/>
                      <a:gd name="T22" fmla="*/ 4 w 4"/>
                      <a:gd name="T23" fmla="*/ 4 h 6"/>
                      <a:gd name="T24" fmla="*/ 3 w 4"/>
                      <a:gd name="T25" fmla="*/ 4 h 6"/>
                      <a:gd name="T26" fmla="*/ 0 w 4"/>
                      <a:gd name="T27" fmla="*/ 4 h 6"/>
                      <a:gd name="T28" fmla="*/ 0 w 4"/>
                      <a:gd name="T29" fmla="*/ 1 h 6"/>
                      <a:gd name="T30" fmla="*/ 3 w 4"/>
                      <a:gd name="T31" fmla="*/ 1 h 6"/>
                      <a:gd name="T32" fmla="*/ 3 w 4"/>
                      <a:gd name="T33" fmla="*/ 4 h 6"/>
                      <a:gd name="T34" fmla="*/ 3 w 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4"/>
                        </a:moveTo>
                        <a:lnTo>
                          <a:pt x="4" y="1"/>
                        </a:lnTo>
                        <a:lnTo>
                          <a:pt x="3" y="1"/>
                        </a:lnTo>
                        <a:lnTo>
                          <a:pt x="3" y="0"/>
                        </a:lnTo>
                        <a:lnTo>
                          <a:pt x="0" y="0"/>
                        </a:lnTo>
                        <a:lnTo>
                          <a:pt x="0" y="6"/>
                        </a:lnTo>
                        <a:lnTo>
                          <a:pt x="0" y="6"/>
                        </a:lnTo>
                        <a:lnTo>
                          <a:pt x="0" y="4"/>
                        </a:lnTo>
                        <a:lnTo>
                          <a:pt x="3" y="4"/>
                        </a:lnTo>
                        <a:lnTo>
                          <a:pt x="3" y="4"/>
                        </a:lnTo>
                        <a:lnTo>
                          <a:pt x="4" y="4"/>
                        </a:lnTo>
                        <a:lnTo>
                          <a:pt x="4"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0" name="Freeform 968"/>
                  <p:cNvSpPr>
                    <a:spLocks/>
                  </p:cNvSpPr>
                  <p:nvPr/>
                </p:nvSpPr>
                <p:spPr bwMode="auto">
                  <a:xfrm>
                    <a:off x="3358980"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1" name="Freeform 969"/>
                  <p:cNvSpPr>
                    <a:spLocks/>
                  </p:cNvSpPr>
                  <p:nvPr/>
                </p:nvSpPr>
                <p:spPr bwMode="auto">
                  <a:xfrm>
                    <a:off x="3396343"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2" name="Freeform 970"/>
                  <p:cNvSpPr>
                    <a:spLocks/>
                  </p:cNvSpPr>
                  <p:nvPr/>
                </p:nvSpPr>
                <p:spPr bwMode="auto">
                  <a:xfrm>
                    <a:off x="3530848" y="4295815"/>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4 h 6"/>
                      <a:gd name="T44" fmla="*/ 3 w 6"/>
                      <a:gd name="T45" fmla="*/ 4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4"/>
                        </a:lnTo>
                        <a:lnTo>
                          <a:pt x="3" y="4"/>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3" name="Freeform 971"/>
                  <p:cNvSpPr>
                    <a:spLocks noEditPoints="1"/>
                  </p:cNvSpPr>
                  <p:nvPr/>
                </p:nvSpPr>
                <p:spPr bwMode="auto">
                  <a:xfrm>
                    <a:off x="3583156" y="4295815"/>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3 h 6"/>
                      <a:gd name="T30" fmla="*/ 0 w 4"/>
                      <a:gd name="T31" fmla="*/ 3 h 6"/>
                      <a:gd name="T32" fmla="*/ 0 w 4"/>
                      <a:gd name="T33" fmla="*/ 1 h 6"/>
                      <a:gd name="T34" fmla="*/ 3 w 4"/>
                      <a:gd name="T35" fmla="*/ 1 h 6"/>
                      <a:gd name="T36" fmla="*/ 3 w 4"/>
                      <a:gd name="T37" fmla="*/ 3 h 6"/>
                      <a:gd name="T38" fmla="*/ 3 w 4"/>
                      <a:gd name="T39" fmla="*/ 3 h 6"/>
                      <a:gd name="T40" fmla="*/ 3 w 4"/>
                      <a:gd name="T41" fmla="*/ 5 h 6"/>
                      <a:gd name="T42" fmla="*/ 0 w 4"/>
                      <a:gd name="T43" fmla="*/ 5 h 6"/>
                      <a:gd name="T44" fmla="*/ 0 w 4"/>
                      <a:gd name="T45" fmla="*/ 4 h 6"/>
                      <a:gd name="T46" fmla="*/ 3 w 4"/>
                      <a:gd name="T47" fmla="*/ 4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4"/>
                        </a:lnTo>
                        <a:lnTo>
                          <a:pt x="3" y="4"/>
                        </a:lnTo>
                        <a:lnTo>
                          <a:pt x="3" y="3"/>
                        </a:lnTo>
                        <a:lnTo>
                          <a:pt x="4" y="3"/>
                        </a:lnTo>
                        <a:lnTo>
                          <a:pt x="4" y="1"/>
                        </a:lnTo>
                        <a:lnTo>
                          <a:pt x="3" y="1"/>
                        </a:lnTo>
                        <a:lnTo>
                          <a:pt x="3" y="0"/>
                        </a:lnTo>
                        <a:lnTo>
                          <a:pt x="0" y="0"/>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4" name="Freeform 972"/>
                  <p:cNvSpPr>
                    <a:spLocks/>
                  </p:cNvSpPr>
                  <p:nvPr/>
                </p:nvSpPr>
                <p:spPr bwMode="auto">
                  <a:xfrm>
                    <a:off x="3613046" y="4295815"/>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3 w 4"/>
                      <a:gd name="T13" fmla="*/ 6 h 6"/>
                      <a:gd name="T14" fmla="*/ 3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3" y="6"/>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5" name="Freeform 973"/>
                  <p:cNvSpPr>
                    <a:spLocks/>
                  </p:cNvSpPr>
                  <p:nvPr/>
                </p:nvSpPr>
                <p:spPr bwMode="auto">
                  <a:xfrm>
                    <a:off x="3650408" y="4295815"/>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6" name="Freeform 974"/>
                  <p:cNvSpPr>
                    <a:spLocks/>
                  </p:cNvSpPr>
                  <p:nvPr/>
                </p:nvSpPr>
                <p:spPr bwMode="auto">
                  <a:xfrm>
                    <a:off x="3687771" y="4295815"/>
                    <a:ext cx="22418" cy="44835"/>
                  </a:xfrm>
                  <a:custGeom>
                    <a:avLst/>
                    <a:gdLst>
                      <a:gd name="T0" fmla="*/ 3 w 3"/>
                      <a:gd name="T1" fmla="*/ 1 h 6"/>
                      <a:gd name="T2" fmla="*/ 3 w 3"/>
                      <a:gd name="T3" fmla="*/ 0 h 6"/>
                      <a:gd name="T4" fmla="*/ 2 w 3"/>
                      <a:gd name="T5" fmla="*/ 0 h 6"/>
                      <a:gd name="T6" fmla="*/ 2 w 3"/>
                      <a:gd name="T7" fmla="*/ 1 h 6"/>
                      <a:gd name="T8" fmla="*/ 1 w 3"/>
                      <a:gd name="T9" fmla="*/ 1 h 6"/>
                      <a:gd name="T10" fmla="*/ 1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1 w 3"/>
                      <a:gd name="T25" fmla="*/ 4 h 6"/>
                      <a:gd name="T26" fmla="*/ 1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1" y="1"/>
                        </a:lnTo>
                        <a:lnTo>
                          <a:pt x="1" y="3"/>
                        </a:lnTo>
                        <a:lnTo>
                          <a:pt x="1" y="3"/>
                        </a:lnTo>
                        <a:lnTo>
                          <a:pt x="1" y="4"/>
                        </a:lnTo>
                        <a:lnTo>
                          <a:pt x="0" y="4"/>
                        </a:lnTo>
                        <a:lnTo>
                          <a:pt x="0" y="6"/>
                        </a:lnTo>
                        <a:lnTo>
                          <a:pt x="1" y="6"/>
                        </a:lnTo>
                        <a:lnTo>
                          <a:pt x="1" y="4"/>
                        </a:lnTo>
                        <a:lnTo>
                          <a:pt x="1" y="4"/>
                        </a:lnTo>
                        <a:lnTo>
                          <a:pt x="1"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7" name="Freeform 975"/>
                  <p:cNvSpPr>
                    <a:spLocks/>
                  </p:cNvSpPr>
                  <p:nvPr/>
                </p:nvSpPr>
                <p:spPr bwMode="auto">
                  <a:xfrm>
                    <a:off x="3717661" y="4295815"/>
                    <a:ext cx="29890" cy="44835"/>
                  </a:xfrm>
                  <a:custGeom>
                    <a:avLst/>
                    <a:gdLst>
                      <a:gd name="T0" fmla="*/ 4 w 4"/>
                      <a:gd name="T1" fmla="*/ 6 h 6"/>
                      <a:gd name="T2" fmla="*/ 4 w 4"/>
                      <a:gd name="T3" fmla="*/ 0 h 6"/>
                      <a:gd name="T4" fmla="*/ 3 w 4"/>
                      <a:gd name="T5" fmla="*/ 0 h 6"/>
                      <a:gd name="T6" fmla="*/ 3 w 4"/>
                      <a:gd name="T7" fmla="*/ 3 h 6"/>
                      <a:gd name="T8" fmla="*/ 0 w 4"/>
                      <a:gd name="T9" fmla="*/ 3 h 6"/>
                      <a:gd name="T10" fmla="*/ 0 w 4"/>
                      <a:gd name="T11" fmla="*/ 0 h 6"/>
                      <a:gd name="T12" fmla="*/ 0 w 4"/>
                      <a:gd name="T13" fmla="*/ 0 h 6"/>
                      <a:gd name="T14" fmla="*/ 0 w 4"/>
                      <a:gd name="T15" fmla="*/ 6 h 6"/>
                      <a:gd name="T16" fmla="*/ 0 w 4"/>
                      <a:gd name="T17" fmla="*/ 6 h 6"/>
                      <a:gd name="T18" fmla="*/ 0 w 4"/>
                      <a:gd name="T19" fmla="*/ 4 h 6"/>
                      <a:gd name="T20" fmla="*/ 3 w 4"/>
                      <a:gd name="T21" fmla="*/ 4 h 6"/>
                      <a:gd name="T22" fmla="*/ 3 w 4"/>
                      <a:gd name="T23" fmla="*/ 6 h 6"/>
                      <a:gd name="T24" fmla="*/ 4 w 4"/>
                      <a:gd name="T25" fmla="*/ 6 h 6"/>
                      <a:gd name="T26" fmla="*/ 4 w 4"/>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6"/>
                        </a:moveTo>
                        <a:lnTo>
                          <a:pt x="4" y="0"/>
                        </a:lnTo>
                        <a:lnTo>
                          <a:pt x="3" y="0"/>
                        </a:lnTo>
                        <a:lnTo>
                          <a:pt x="3" y="3"/>
                        </a:lnTo>
                        <a:lnTo>
                          <a:pt x="0" y="3"/>
                        </a:lnTo>
                        <a:lnTo>
                          <a:pt x="0" y="0"/>
                        </a:lnTo>
                        <a:lnTo>
                          <a:pt x="0" y="0"/>
                        </a:lnTo>
                        <a:lnTo>
                          <a:pt x="0" y="6"/>
                        </a:lnTo>
                        <a:lnTo>
                          <a:pt x="0" y="6"/>
                        </a:lnTo>
                        <a:lnTo>
                          <a:pt x="0"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8" name="Freeform 976"/>
                  <p:cNvSpPr>
                    <a:spLocks noEditPoints="1"/>
                  </p:cNvSpPr>
                  <p:nvPr/>
                </p:nvSpPr>
                <p:spPr bwMode="auto">
                  <a:xfrm>
                    <a:off x="3747551" y="4295815"/>
                    <a:ext cx="29890" cy="44835"/>
                  </a:xfrm>
                  <a:custGeom>
                    <a:avLst/>
                    <a:gdLst>
                      <a:gd name="T0" fmla="*/ 4 w 4"/>
                      <a:gd name="T1" fmla="*/ 6 h 6"/>
                      <a:gd name="T2" fmla="*/ 4 w 4"/>
                      <a:gd name="T3" fmla="*/ 4 h 6"/>
                      <a:gd name="T4" fmla="*/ 4 w 4"/>
                      <a:gd name="T5" fmla="*/ 4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1 w 4"/>
                      <a:gd name="T21" fmla="*/ 6 h 6"/>
                      <a:gd name="T22" fmla="*/ 1 w 4"/>
                      <a:gd name="T23" fmla="*/ 4 h 6"/>
                      <a:gd name="T24" fmla="*/ 3 w 4"/>
                      <a:gd name="T25" fmla="*/ 4 h 6"/>
                      <a:gd name="T26" fmla="*/ 3 w 4"/>
                      <a:gd name="T27" fmla="*/ 4 h 6"/>
                      <a:gd name="T28" fmla="*/ 4 w 4"/>
                      <a:gd name="T29" fmla="*/ 4 h 6"/>
                      <a:gd name="T30" fmla="*/ 4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3"/>
                        </a:lnTo>
                        <a:lnTo>
                          <a:pt x="4" y="3"/>
                        </a:lnTo>
                        <a:lnTo>
                          <a:pt x="4" y="1"/>
                        </a:lnTo>
                        <a:lnTo>
                          <a:pt x="4" y="1"/>
                        </a:lnTo>
                        <a:lnTo>
                          <a:pt x="4" y="0"/>
                        </a:lnTo>
                        <a:lnTo>
                          <a:pt x="0" y="0"/>
                        </a:lnTo>
                        <a:lnTo>
                          <a:pt x="0" y="6"/>
                        </a:lnTo>
                        <a:lnTo>
                          <a:pt x="1" y="6"/>
                        </a:lnTo>
                        <a:lnTo>
                          <a:pt x="1" y="4"/>
                        </a:lnTo>
                        <a:lnTo>
                          <a:pt x="3" y="4"/>
                        </a:lnTo>
                        <a:lnTo>
                          <a:pt x="3" y="4"/>
                        </a:lnTo>
                        <a:lnTo>
                          <a:pt x="4" y="4"/>
                        </a:lnTo>
                        <a:lnTo>
                          <a:pt x="4"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29" name="Freeform 977"/>
                  <p:cNvSpPr>
                    <a:spLocks/>
                  </p:cNvSpPr>
                  <p:nvPr/>
                </p:nvSpPr>
                <p:spPr bwMode="auto">
                  <a:xfrm>
                    <a:off x="3837221" y="4295815"/>
                    <a:ext cx="29890" cy="44835"/>
                  </a:xfrm>
                  <a:custGeom>
                    <a:avLst/>
                    <a:gdLst>
                      <a:gd name="T0" fmla="*/ 4 w 4"/>
                      <a:gd name="T1" fmla="*/ 6 h 6"/>
                      <a:gd name="T2" fmla="*/ 4 w 4"/>
                      <a:gd name="T3" fmla="*/ 5 h 6"/>
                      <a:gd name="T4" fmla="*/ 2 w 4"/>
                      <a:gd name="T5" fmla="*/ 5 h 6"/>
                      <a:gd name="T6" fmla="*/ 2 w 4"/>
                      <a:gd name="T7" fmla="*/ 4 h 6"/>
                      <a:gd name="T8" fmla="*/ 2 w 4"/>
                      <a:gd name="T9" fmla="*/ 4 h 6"/>
                      <a:gd name="T10" fmla="*/ 2 w 4"/>
                      <a:gd name="T11" fmla="*/ 4 h 6"/>
                      <a:gd name="T12" fmla="*/ 3 w 4"/>
                      <a:gd name="T13" fmla="*/ 4 h 6"/>
                      <a:gd name="T14" fmla="*/ 3 w 4"/>
                      <a:gd name="T15" fmla="*/ 3 h 6"/>
                      <a:gd name="T16" fmla="*/ 4 w 4"/>
                      <a:gd name="T17" fmla="*/ 3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3 w 4"/>
                      <a:gd name="T37" fmla="*/ 1 h 6"/>
                      <a:gd name="T38" fmla="*/ 3 w 4"/>
                      <a:gd name="T39" fmla="*/ 3 h 6"/>
                      <a:gd name="T40" fmla="*/ 2 w 4"/>
                      <a:gd name="T41" fmla="*/ 3 h 6"/>
                      <a:gd name="T42" fmla="*/ 2 w 4"/>
                      <a:gd name="T43" fmla="*/ 4 h 6"/>
                      <a:gd name="T44" fmla="*/ 2 w 4"/>
                      <a:gd name="T45" fmla="*/ 4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2" y="4"/>
                        </a:lnTo>
                        <a:lnTo>
                          <a:pt x="2" y="4"/>
                        </a:lnTo>
                        <a:lnTo>
                          <a:pt x="3" y="4"/>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4"/>
                        </a:lnTo>
                        <a:lnTo>
                          <a:pt x="2" y="4"/>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0" name="Freeform 978"/>
                  <p:cNvSpPr>
                    <a:spLocks noEditPoints="1"/>
                  </p:cNvSpPr>
                  <p:nvPr/>
                </p:nvSpPr>
                <p:spPr bwMode="auto">
                  <a:xfrm>
                    <a:off x="3874584" y="4295815"/>
                    <a:ext cx="29890" cy="44835"/>
                  </a:xfrm>
                  <a:custGeom>
                    <a:avLst/>
                    <a:gdLst>
                      <a:gd name="T0" fmla="*/ 4 w 4"/>
                      <a:gd name="T1" fmla="*/ 5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4 w 4"/>
                      <a:gd name="T21" fmla="*/ 6 h 6"/>
                      <a:gd name="T22" fmla="*/ 4 w 4"/>
                      <a:gd name="T23" fmla="*/ 5 h 6"/>
                      <a:gd name="T24" fmla="*/ 4 w 4"/>
                      <a:gd name="T25" fmla="*/ 5 h 6"/>
                      <a:gd name="T26" fmla="*/ 4 w 4"/>
                      <a:gd name="T27" fmla="*/ 5 h 6"/>
                      <a:gd name="T28" fmla="*/ 4 w 4"/>
                      <a:gd name="T29" fmla="*/ 5 h 6"/>
                      <a:gd name="T30" fmla="*/ 1 w 4"/>
                      <a:gd name="T31" fmla="*/ 5 h 6"/>
                      <a:gd name="T32" fmla="*/ 1 w 4"/>
                      <a:gd name="T33" fmla="*/ 1 h 6"/>
                      <a:gd name="T34" fmla="*/ 4 w 4"/>
                      <a:gd name="T35" fmla="*/ 1 h 6"/>
                      <a:gd name="T36" fmla="*/ 4 w 4"/>
                      <a:gd name="T37" fmla="*/ 5 h 6"/>
                      <a:gd name="T38" fmla="*/ 4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4" y="1"/>
                        </a:lnTo>
                        <a:lnTo>
                          <a:pt x="4" y="0"/>
                        </a:lnTo>
                        <a:lnTo>
                          <a:pt x="1" y="0"/>
                        </a:lnTo>
                        <a:lnTo>
                          <a:pt x="1" y="1"/>
                        </a:lnTo>
                        <a:lnTo>
                          <a:pt x="0" y="1"/>
                        </a:lnTo>
                        <a:lnTo>
                          <a:pt x="0" y="5"/>
                        </a:lnTo>
                        <a:lnTo>
                          <a:pt x="1" y="5"/>
                        </a:lnTo>
                        <a:lnTo>
                          <a:pt x="1" y="6"/>
                        </a:lnTo>
                        <a:lnTo>
                          <a:pt x="4" y="6"/>
                        </a:lnTo>
                        <a:lnTo>
                          <a:pt x="4" y="5"/>
                        </a:lnTo>
                        <a:lnTo>
                          <a:pt x="4" y="5"/>
                        </a:lnTo>
                        <a:lnTo>
                          <a:pt x="4" y="5"/>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1" name="Freeform 979"/>
                  <p:cNvSpPr>
                    <a:spLocks/>
                  </p:cNvSpPr>
                  <p:nvPr/>
                </p:nvSpPr>
                <p:spPr bwMode="auto">
                  <a:xfrm>
                    <a:off x="3911947" y="4295815"/>
                    <a:ext cx="29890" cy="44835"/>
                  </a:xfrm>
                  <a:custGeom>
                    <a:avLst/>
                    <a:gdLst>
                      <a:gd name="T0" fmla="*/ 4 w 4"/>
                      <a:gd name="T1" fmla="*/ 5 h 6"/>
                      <a:gd name="T2" fmla="*/ 4 w 4"/>
                      <a:gd name="T3" fmla="*/ 3 h 6"/>
                      <a:gd name="T4" fmla="*/ 3 w 4"/>
                      <a:gd name="T5" fmla="*/ 3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3 h 6"/>
                      <a:gd name="T20" fmla="*/ 3 w 4"/>
                      <a:gd name="T21" fmla="*/ 3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3"/>
                        </a:lnTo>
                        <a:lnTo>
                          <a:pt x="3" y="3"/>
                        </a:lnTo>
                        <a:lnTo>
                          <a:pt x="3" y="2"/>
                        </a:lnTo>
                        <a:lnTo>
                          <a:pt x="1" y="2"/>
                        </a:lnTo>
                        <a:lnTo>
                          <a:pt x="1" y="1"/>
                        </a:lnTo>
                        <a:lnTo>
                          <a:pt x="4" y="1"/>
                        </a:lnTo>
                        <a:lnTo>
                          <a:pt x="4" y="0"/>
                        </a:lnTo>
                        <a:lnTo>
                          <a:pt x="0" y="0"/>
                        </a:lnTo>
                        <a:lnTo>
                          <a:pt x="0"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2" name="Freeform 980"/>
                  <p:cNvSpPr>
                    <a:spLocks noEditPoints="1"/>
                  </p:cNvSpPr>
                  <p:nvPr/>
                </p:nvSpPr>
                <p:spPr bwMode="auto">
                  <a:xfrm>
                    <a:off x="3949309" y="4295815"/>
                    <a:ext cx="37363" cy="44835"/>
                  </a:xfrm>
                  <a:custGeom>
                    <a:avLst/>
                    <a:gdLst>
                      <a:gd name="T0" fmla="*/ 5 w 5"/>
                      <a:gd name="T1" fmla="*/ 4 h 6"/>
                      <a:gd name="T2" fmla="*/ 5 w 5"/>
                      <a:gd name="T3" fmla="*/ 1 h 6"/>
                      <a:gd name="T4" fmla="*/ 3 w 5"/>
                      <a:gd name="T5" fmla="*/ 1 h 6"/>
                      <a:gd name="T6" fmla="*/ 3 w 5"/>
                      <a:gd name="T7" fmla="*/ 0 h 6"/>
                      <a:gd name="T8" fmla="*/ 1 w 5"/>
                      <a:gd name="T9" fmla="*/ 0 h 6"/>
                      <a:gd name="T10" fmla="*/ 1 w 5"/>
                      <a:gd name="T11" fmla="*/ 1 h 6"/>
                      <a:gd name="T12" fmla="*/ 0 w 5"/>
                      <a:gd name="T13" fmla="*/ 1 h 6"/>
                      <a:gd name="T14" fmla="*/ 0 w 5"/>
                      <a:gd name="T15" fmla="*/ 3 h 6"/>
                      <a:gd name="T16" fmla="*/ 1 w 5"/>
                      <a:gd name="T17" fmla="*/ 3 h 6"/>
                      <a:gd name="T18" fmla="*/ 1 w 5"/>
                      <a:gd name="T19" fmla="*/ 4 h 6"/>
                      <a:gd name="T20" fmla="*/ 3 w 5"/>
                      <a:gd name="T21" fmla="*/ 4 h 6"/>
                      <a:gd name="T22" fmla="*/ 3 w 5"/>
                      <a:gd name="T23" fmla="*/ 4 h 6"/>
                      <a:gd name="T24" fmla="*/ 3 w 5"/>
                      <a:gd name="T25" fmla="*/ 4 h 6"/>
                      <a:gd name="T26" fmla="*/ 3 w 5"/>
                      <a:gd name="T27" fmla="*/ 5 h 6"/>
                      <a:gd name="T28" fmla="*/ 1 w 5"/>
                      <a:gd name="T29" fmla="*/ 5 h 6"/>
                      <a:gd name="T30" fmla="*/ 1 w 5"/>
                      <a:gd name="T31" fmla="*/ 6 h 6"/>
                      <a:gd name="T32" fmla="*/ 3 w 5"/>
                      <a:gd name="T33" fmla="*/ 6 h 6"/>
                      <a:gd name="T34" fmla="*/ 3 w 5"/>
                      <a:gd name="T35" fmla="*/ 5 h 6"/>
                      <a:gd name="T36" fmla="*/ 3 w 5"/>
                      <a:gd name="T37" fmla="*/ 5 h 6"/>
                      <a:gd name="T38" fmla="*/ 3 w 5"/>
                      <a:gd name="T39" fmla="*/ 4 h 6"/>
                      <a:gd name="T40" fmla="*/ 5 w 5"/>
                      <a:gd name="T41" fmla="*/ 4 h 6"/>
                      <a:gd name="T42" fmla="*/ 5 w 5"/>
                      <a:gd name="T43" fmla="*/ 4 h 6"/>
                      <a:gd name="T44" fmla="*/ 3 w 5"/>
                      <a:gd name="T45" fmla="*/ 3 h 6"/>
                      <a:gd name="T46" fmla="*/ 1 w 5"/>
                      <a:gd name="T47" fmla="*/ 3 h 6"/>
                      <a:gd name="T48" fmla="*/ 1 w 5"/>
                      <a:gd name="T49" fmla="*/ 1 h 6"/>
                      <a:gd name="T50" fmla="*/ 3 w 5"/>
                      <a:gd name="T51" fmla="*/ 1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1"/>
                        </a:lnTo>
                        <a:lnTo>
                          <a:pt x="3" y="1"/>
                        </a:lnTo>
                        <a:lnTo>
                          <a:pt x="3" y="0"/>
                        </a:lnTo>
                        <a:lnTo>
                          <a:pt x="1" y="0"/>
                        </a:lnTo>
                        <a:lnTo>
                          <a:pt x="1" y="1"/>
                        </a:lnTo>
                        <a:lnTo>
                          <a:pt x="0" y="1"/>
                        </a:lnTo>
                        <a:lnTo>
                          <a:pt x="0" y="3"/>
                        </a:lnTo>
                        <a:lnTo>
                          <a:pt x="1" y="3"/>
                        </a:lnTo>
                        <a:lnTo>
                          <a:pt x="1" y="4"/>
                        </a:lnTo>
                        <a:lnTo>
                          <a:pt x="3" y="4"/>
                        </a:lnTo>
                        <a:lnTo>
                          <a:pt x="3" y="4"/>
                        </a:lnTo>
                        <a:lnTo>
                          <a:pt x="3" y="4"/>
                        </a:lnTo>
                        <a:lnTo>
                          <a:pt x="3" y="5"/>
                        </a:lnTo>
                        <a:lnTo>
                          <a:pt x="1" y="5"/>
                        </a:lnTo>
                        <a:lnTo>
                          <a:pt x="1" y="6"/>
                        </a:lnTo>
                        <a:lnTo>
                          <a:pt x="3" y="6"/>
                        </a:lnTo>
                        <a:lnTo>
                          <a:pt x="3" y="5"/>
                        </a:lnTo>
                        <a:lnTo>
                          <a:pt x="3" y="5"/>
                        </a:lnTo>
                        <a:lnTo>
                          <a:pt x="3" y="4"/>
                        </a:lnTo>
                        <a:lnTo>
                          <a:pt x="5" y="4"/>
                        </a:lnTo>
                        <a:lnTo>
                          <a:pt x="5"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3" name="Freeform 981"/>
                  <p:cNvSpPr>
                    <a:spLocks/>
                  </p:cNvSpPr>
                  <p:nvPr/>
                </p:nvSpPr>
                <p:spPr bwMode="auto">
                  <a:xfrm>
                    <a:off x="3994144" y="4333177"/>
                    <a:ext cx="0" cy="7473"/>
                  </a:xfrm>
                  <a:custGeom>
                    <a:avLst/>
                    <a:gdLst>
                      <a:gd name="T0" fmla="*/ 1 h 1"/>
                      <a:gd name="T1" fmla="*/ 0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0"/>
                        </a:lnTo>
                        <a:lnTo>
                          <a:pt x="0" y="0"/>
                        </a:lnTo>
                        <a:lnTo>
                          <a:pt x="0" y="1"/>
                        </a:lnTo>
                        <a:lnTo>
                          <a:pt x="0" y="1"/>
                        </a:lnTo>
                        <a:lnTo>
                          <a:pt x="0"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4" name="Freeform 982"/>
                  <p:cNvSpPr>
                    <a:spLocks noEditPoints="1"/>
                  </p:cNvSpPr>
                  <p:nvPr/>
                </p:nvSpPr>
                <p:spPr bwMode="auto">
                  <a:xfrm>
                    <a:off x="4001617" y="4295815"/>
                    <a:ext cx="29890" cy="44835"/>
                  </a:xfrm>
                  <a:custGeom>
                    <a:avLst/>
                    <a:gdLst>
                      <a:gd name="T0" fmla="*/ 4 w 4"/>
                      <a:gd name="T1" fmla="*/ 4 h 6"/>
                      <a:gd name="T2" fmla="*/ 4 w 4"/>
                      <a:gd name="T3" fmla="*/ 1 h 6"/>
                      <a:gd name="T4" fmla="*/ 4 w 4"/>
                      <a:gd name="T5" fmla="*/ 1 h 6"/>
                      <a:gd name="T6" fmla="*/ 4 w 4"/>
                      <a:gd name="T7" fmla="*/ 0 h 6"/>
                      <a:gd name="T8" fmla="*/ 1 w 4"/>
                      <a:gd name="T9" fmla="*/ 0 h 6"/>
                      <a:gd name="T10" fmla="*/ 1 w 4"/>
                      <a:gd name="T11" fmla="*/ 1 h 6"/>
                      <a:gd name="T12" fmla="*/ 0 w 4"/>
                      <a:gd name="T13" fmla="*/ 1 h 6"/>
                      <a:gd name="T14" fmla="*/ 0 w 4"/>
                      <a:gd name="T15" fmla="*/ 3 h 6"/>
                      <a:gd name="T16" fmla="*/ 1 w 4"/>
                      <a:gd name="T17" fmla="*/ 3 h 6"/>
                      <a:gd name="T18" fmla="*/ 1 w 4"/>
                      <a:gd name="T19" fmla="*/ 4 h 6"/>
                      <a:gd name="T20" fmla="*/ 4 w 4"/>
                      <a:gd name="T21" fmla="*/ 4 h 6"/>
                      <a:gd name="T22" fmla="*/ 4 w 4"/>
                      <a:gd name="T23" fmla="*/ 4 h 6"/>
                      <a:gd name="T24" fmla="*/ 3 w 4"/>
                      <a:gd name="T25" fmla="*/ 4 h 6"/>
                      <a:gd name="T26" fmla="*/ 3 w 4"/>
                      <a:gd name="T27" fmla="*/ 5 h 6"/>
                      <a:gd name="T28" fmla="*/ 1 w 4"/>
                      <a:gd name="T29" fmla="*/ 5 h 6"/>
                      <a:gd name="T30" fmla="*/ 1 w 4"/>
                      <a:gd name="T31" fmla="*/ 6 h 6"/>
                      <a:gd name="T32" fmla="*/ 3 w 4"/>
                      <a:gd name="T33" fmla="*/ 6 h 6"/>
                      <a:gd name="T34" fmla="*/ 3 w 4"/>
                      <a:gd name="T35" fmla="*/ 5 h 6"/>
                      <a:gd name="T36" fmla="*/ 4 w 4"/>
                      <a:gd name="T37" fmla="*/ 5 h 6"/>
                      <a:gd name="T38" fmla="*/ 4 w 4"/>
                      <a:gd name="T39" fmla="*/ 4 h 6"/>
                      <a:gd name="T40" fmla="*/ 4 w 4"/>
                      <a:gd name="T41" fmla="*/ 4 h 6"/>
                      <a:gd name="T42" fmla="*/ 4 w 4"/>
                      <a:gd name="T43" fmla="*/ 4 h 6"/>
                      <a:gd name="T44" fmla="*/ 3 w 4"/>
                      <a:gd name="T45" fmla="*/ 3 h 6"/>
                      <a:gd name="T46" fmla="*/ 2 w 4"/>
                      <a:gd name="T47" fmla="*/ 3 h 6"/>
                      <a:gd name="T48" fmla="*/ 2 w 4"/>
                      <a:gd name="T49" fmla="*/ 1 h 6"/>
                      <a:gd name="T50" fmla="*/ 3 w 4"/>
                      <a:gd name="T51" fmla="*/ 1 h 6"/>
                      <a:gd name="T52" fmla="*/ 3 w 4"/>
                      <a:gd name="T53" fmla="*/ 3 h 6"/>
                      <a:gd name="T54" fmla="*/ 3 w 4"/>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4"/>
                        </a:moveTo>
                        <a:lnTo>
                          <a:pt x="4" y="1"/>
                        </a:lnTo>
                        <a:lnTo>
                          <a:pt x="4" y="1"/>
                        </a:lnTo>
                        <a:lnTo>
                          <a:pt x="4" y="0"/>
                        </a:lnTo>
                        <a:lnTo>
                          <a:pt x="1" y="0"/>
                        </a:lnTo>
                        <a:lnTo>
                          <a:pt x="1" y="1"/>
                        </a:lnTo>
                        <a:lnTo>
                          <a:pt x="0" y="1"/>
                        </a:lnTo>
                        <a:lnTo>
                          <a:pt x="0" y="3"/>
                        </a:lnTo>
                        <a:lnTo>
                          <a:pt x="1" y="3"/>
                        </a:lnTo>
                        <a:lnTo>
                          <a:pt x="1" y="4"/>
                        </a:lnTo>
                        <a:lnTo>
                          <a:pt x="4" y="4"/>
                        </a:lnTo>
                        <a:lnTo>
                          <a:pt x="4" y="4"/>
                        </a:lnTo>
                        <a:lnTo>
                          <a:pt x="3" y="4"/>
                        </a:lnTo>
                        <a:lnTo>
                          <a:pt x="3" y="5"/>
                        </a:lnTo>
                        <a:lnTo>
                          <a:pt x="1" y="5"/>
                        </a:lnTo>
                        <a:lnTo>
                          <a:pt x="1" y="6"/>
                        </a:lnTo>
                        <a:lnTo>
                          <a:pt x="3" y="6"/>
                        </a:lnTo>
                        <a:lnTo>
                          <a:pt x="3" y="5"/>
                        </a:lnTo>
                        <a:lnTo>
                          <a:pt x="4" y="5"/>
                        </a:lnTo>
                        <a:lnTo>
                          <a:pt x="4" y="4"/>
                        </a:lnTo>
                        <a:lnTo>
                          <a:pt x="4" y="4"/>
                        </a:lnTo>
                        <a:lnTo>
                          <a:pt x="4" y="4"/>
                        </a:lnTo>
                        <a:close/>
                        <a:moveTo>
                          <a:pt x="3" y="3"/>
                        </a:moveTo>
                        <a:lnTo>
                          <a:pt x="2" y="3"/>
                        </a:lnTo>
                        <a:lnTo>
                          <a:pt x="2"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935" name="Freeform 983"/>
                  <p:cNvSpPr>
                    <a:spLocks noEditPoints="1"/>
                  </p:cNvSpPr>
                  <p:nvPr/>
                </p:nvSpPr>
                <p:spPr bwMode="auto">
                  <a:xfrm>
                    <a:off x="4046452" y="4295815"/>
                    <a:ext cx="29890" cy="44835"/>
                  </a:xfrm>
                  <a:custGeom>
                    <a:avLst/>
                    <a:gdLst>
                      <a:gd name="T0" fmla="*/ 4 w 4"/>
                      <a:gd name="T1" fmla="*/ 5 h 6"/>
                      <a:gd name="T2" fmla="*/ 4 w 4"/>
                      <a:gd name="T3" fmla="*/ 4 h 6"/>
                      <a:gd name="T4" fmla="*/ 2 w 4"/>
                      <a:gd name="T5" fmla="*/ 4 h 6"/>
                      <a:gd name="T6" fmla="*/ 2 w 4"/>
                      <a:gd name="T7" fmla="*/ 3 h 6"/>
                      <a:gd name="T8" fmla="*/ 0 w 4"/>
                      <a:gd name="T9" fmla="*/ 3 h 6"/>
                      <a:gd name="T10" fmla="*/ 0 w 4"/>
                      <a:gd name="T11" fmla="*/ 2 h 6"/>
                      <a:gd name="T12" fmla="*/ 1 w 4"/>
                      <a:gd name="T13" fmla="*/ 2 h 6"/>
                      <a:gd name="T14" fmla="*/ 1 w 4"/>
                      <a:gd name="T15" fmla="*/ 1 h 6"/>
                      <a:gd name="T16" fmla="*/ 2 w 4"/>
                      <a:gd name="T17" fmla="*/ 1 h 6"/>
                      <a:gd name="T18" fmla="*/ 2 w 4"/>
                      <a:gd name="T19" fmla="*/ 0 h 6"/>
                      <a:gd name="T20" fmla="*/ 1 w 4"/>
                      <a:gd name="T21" fmla="*/ 0 h 6"/>
                      <a:gd name="T22" fmla="*/ 1 w 4"/>
                      <a:gd name="T23" fmla="*/ 1 h 6"/>
                      <a:gd name="T24" fmla="*/ 0 w 4"/>
                      <a:gd name="T25" fmla="*/ 1 h 6"/>
                      <a:gd name="T26" fmla="*/ 0 w 4"/>
                      <a:gd name="T27" fmla="*/ 2 h 6"/>
                      <a:gd name="T28" fmla="*/ 0 w 4"/>
                      <a:gd name="T29" fmla="*/ 2 h 6"/>
                      <a:gd name="T30" fmla="*/ 0 w 4"/>
                      <a:gd name="T31" fmla="*/ 5 h 6"/>
                      <a:gd name="T32" fmla="*/ 0 w 4"/>
                      <a:gd name="T33" fmla="*/ 5 h 6"/>
                      <a:gd name="T34" fmla="*/ 0 w 4"/>
                      <a:gd name="T35" fmla="*/ 6 h 6"/>
                      <a:gd name="T36" fmla="*/ 2 w 4"/>
                      <a:gd name="T37" fmla="*/ 6 h 6"/>
                      <a:gd name="T38" fmla="*/ 2 w 4"/>
                      <a:gd name="T39" fmla="*/ 5 h 6"/>
                      <a:gd name="T40" fmla="*/ 4 w 4"/>
                      <a:gd name="T41" fmla="*/ 5 h 6"/>
                      <a:gd name="T42" fmla="*/ 4 w 4"/>
                      <a:gd name="T43" fmla="*/ 5 h 6"/>
                      <a:gd name="T44" fmla="*/ 2 w 4"/>
                      <a:gd name="T45" fmla="*/ 5 h 6"/>
                      <a:gd name="T46" fmla="*/ 0 w 4"/>
                      <a:gd name="T47" fmla="*/ 5 h 6"/>
                      <a:gd name="T48" fmla="*/ 0 w 4"/>
                      <a:gd name="T49" fmla="*/ 4 h 6"/>
                      <a:gd name="T50" fmla="*/ 2 w 4"/>
                      <a:gd name="T51" fmla="*/ 4 h 6"/>
                      <a:gd name="T52" fmla="*/ 2 w 4"/>
                      <a:gd name="T53" fmla="*/ 5 h 6"/>
                      <a:gd name="T54" fmla="*/ 2 w 4"/>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6">
                        <a:moveTo>
                          <a:pt x="4" y="5"/>
                        </a:moveTo>
                        <a:lnTo>
                          <a:pt x="4" y="4"/>
                        </a:lnTo>
                        <a:lnTo>
                          <a:pt x="2" y="4"/>
                        </a:lnTo>
                        <a:lnTo>
                          <a:pt x="2" y="3"/>
                        </a:lnTo>
                        <a:lnTo>
                          <a:pt x="0" y="3"/>
                        </a:lnTo>
                        <a:lnTo>
                          <a:pt x="0" y="2"/>
                        </a:lnTo>
                        <a:lnTo>
                          <a:pt x="1" y="2"/>
                        </a:lnTo>
                        <a:lnTo>
                          <a:pt x="1" y="1"/>
                        </a:lnTo>
                        <a:lnTo>
                          <a:pt x="2" y="1"/>
                        </a:lnTo>
                        <a:lnTo>
                          <a:pt x="2" y="0"/>
                        </a:lnTo>
                        <a:lnTo>
                          <a:pt x="1" y="0"/>
                        </a:lnTo>
                        <a:lnTo>
                          <a:pt x="1" y="1"/>
                        </a:lnTo>
                        <a:lnTo>
                          <a:pt x="0" y="1"/>
                        </a:lnTo>
                        <a:lnTo>
                          <a:pt x="0" y="2"/>
                        </a:lnTo>
                        <a:lnTo>
                          <a:pt x="0" y="2"/>
                        </a:lnTo>
                        <a:lnTo>
                          <a:pt x="0" y="5"/>
                        </a:lnTo>
                        <a:lnTo>
                          <a:pt x="0" y="5"/>
                        </a:lnTo>
                        <a:lnTo>
                          <a:pt x="0" y="6"/>
                        </a:lnTo>
                        <a:lnTo>
                          <a:pt x="2" y="6"/>
                        </a:lnTo>
                        <a:lnTo>
                          <a:pt x="2" y="5"/>
                        </a:lnTo>
                        <a:lnTo>
                          <a:pt x="4" y="5"/>
                        </a:lnTo>
                        <a:lnTo>
                          <a:pt x="4" y="5"/>
                        </a:lnTo>
                        <a:close/>
                        <a:moveTo>
                          <a:pt x="2" y="5"/>
                        </a:moveTo>
                        <a:lnTo>
                          <a:pt x="0" y="5"/>
                        </a:lnTo>
                        <a:lnTo>
                          <a:pt x="0" y="4"/>
                        </a:lnTo>
                        <a:lnTo>
                          <a:pt x="2" y="4"/>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627" name="Freeform 985"/>
                <p:cNvSpPr>
                  <a:spLocks noEditPoints="1"/>
                </p:cNvSpPr>
                <p:nvPr/>
              </p:nvSpPr>
              <p:spPr bwMode="auto">
                <a:xfrm>
                  <a:off x="4083816" y="4295813"/>
                  <a:ext cx="29890" cy="44835"/>
                </a:xfrm>
                <a:custGeom>
                  <a:avLst/>
                  <a:gdLst>
                    <a:gd name="T0" fmla="*/ 4 w 4"/>
                    <a:gd name="T1" fmla="*/ 5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1 h 6"/>
                    <a:gd name="T20" fmla="*/ 0 w 4"/>
                    <a:gd name="T21" fmla="*/ 1 h 6"/>
                    <a:gd name="T22" fmla="*/ 0 w 4"/>
                    <a:gd name="T23" fmla="*/ 3 h 6"/>
                    <a:gd name="T24" fmla="*/ 0 w 4"/>
                    <a:gd name="T25" fmla="*/ 3 h 6"/>
                    <a:gd name="T26" fmla="*/ 0 w 4"/>
                    <a:gd name="T27" fmla="*/ 4 h 6"/>
                    <a:gd name="T28" fmla="*/ 0 w 4"/>
                    <a:gd name="T29" fmla="*/ 4 h 6"/>
                    <a:gd name="T30" fmla="*/ 0 w 4"/>
                    <a:gd name="T31" fmla="*/ 5 h 6"/>
                    <a:gd name="T32" fmla="*/ 0 w 4"/>
                    <a:gd name="T33" fmla="*/ 5 h 6"/>
                    <a:gd name="T34" fmla="*/ 0 w 4"/>
                    <a:gd name="T35" fmla="*/ 6 h 6"/>
                    <a:gd name="T36" fmla="*/ 3 w 4"/>
                    <a:gd name="T37" fmla="*/ 6 h 6"/>
                    <a:gd name="T38" fmla="*/ 3 w 4"/>
                    <a:gd name="T39" fmla="*/ 5 h 6"/>
                    <a:gd name="T40" fmla="*/ 4 w 4"/>
                    <a:gd name="T41" fmla="*/ 5 h 6"/>
                    <a:gd name="T42" fmla="*/ 4 w 4"/>
                    <a:gd name="T43" fmla="*/ 5 h 6"/>
                    <a:gd name="T44" fmla="*/ 3 w 4"/>
                    <a:gd name="T45" fmla="*/ 3 h 6"/>
                    <a:gd name="T46" fmla="*/ 0 w 4"/>
                    <a:gd name="T47" fmla="*/ 3 h 6"/>
                    <a:gd name="T48" fmla="*/ 0 w 4"/>
                    <a:gd name="T49" fmla="*/ 1 h 6"/>
                    <a:gd name="T50" fmla="*/ 3 w 4"/>
                    <a:gd name="T51" fmla="*/ 1 h 6"/>
                    <a:gd name="T52" fmla="*/ 3 w 4"/>
                    <a:gd name="T53" fmla="*/ 3 h 6"/>
                    <a:gd name="T54" fmla="*/ 3 w 4"/>
                    <a:gd name="T55" fmla="*/ 3 h 6"/>
                    <a:gd name="T56" fmla="*/ 3 w 4"/>
                    <a:gd name="T57" fmla="*/ 5 h 6"/>
                    <a:gd name="T58" fmla="*/ 0 w 4"/>
                    <a:gd name="T59" fmla="*/ 5 h 6"/>
                    <a:gd name="T60" fmla="*/ 0 w 4"/>
                    <a:gd name="T61" fmla="*/ 4 h 6"/>
                    <a:gd name="T62" fmla="*/ 3 w 4"/>
                    <a:gd name="T63" fmla="*/ 4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4"/>
                      </a:lnTo>
                      <a:lnTo>
                        <a:pt x="3" y="4"/>
                      </a:lnTo>
                      <a:lnTo>
                        <a:pt x="3" y="3"/>
                      </a:lnTo>
                      <a:lnTo>
                        <a:pt x="4" y="3"/>
                      </a:lnTo>
                      <a:lnTo>
                        <a:pt x="4" y="1"/>
                      </a:lnTo>
                      <a:lnTo>
                        <a:pt x="3" y="1"/>
                      </a:lnTo>
                      <a:lnTo>
                        <a:pt x="3" y="0"/>
                      </a:lnTo>
                      <a:lnTo>
                        <a:pt x="0" y="0"/>
                      </a:lnTo>
                      <a:lnTo>
                        <a:pt x="0" y="1"/>
                      </a:lnTo>
                      <a:lnTo>
                        <a:pt x="0" y="1"/>
                      </a:lnTo>
                      <a:lnTo>
                        <a:pt x="0" y="3"/>
                      </a:lnTo>
                      <a:lnTo>
                        <a:pt x="0" y="3"/>
                      </a:lnTo>
                      <a:lnTo>
                        <a:pt x="0" y="4"/>
                      </a:lnTo>
                      <a:lnTo>
                        <a:pt x="0" y="4"/>
                      </a:lnTo>
                      <a:lnTo>
                        <a:pt x="0" y="5"/>
                      </a:lnTo>
                      <a:lnTo>
                        <a:pt x="0" y="5"/>
                      </a:lnTo>
                      <a:lnTo>
                        <a:pt x="0" y="6"/>
                      </a:lnTo>
                      <a:lnTo>
                        <a:pt x="3" y="6"/>
                      </a:lnTo>
                      <a:lnTo>
                        <a:pt x="3" y="5"/>
                      </a:lnTo>
                      <a:lnTo>
                        <a:pt x="4" y="5"/>
                      </a:lnTo>
                      <a:lnTo>
                        <a:pt x="4" y="5"/>
                      </a:lnTo>
                      <a:close/>
                      <a:moveTo>
                        <a:pt x="3" y="3"/>
                      </a:moveTo>
                      <a:lnTo>
                        <a:pt x="0" y="3"/>
                      </a:lnTo>
                      <a:lnTo>
                        <a:pt x="0" y="1"/>
                      </a:lnTo>
                      <a:lnTo>
                        <a:pt x="3" y="1"/>
                      </a:lnTo>
                      <a:lnTo>
                        <a:pt x="3" y="3"/>
                      </a:lnTo>
                      <a:lnTo>
                        <a:pt x="3" y="3"/>
                      </a:lnTo>
                      <a:close/>
                      <a:moveTo>
                        <a:pt x="3" y="5"/>
                      </a:moveTo>
                      <a:lnTo>
                        <a:pt x="0" y="5"/>
                      </a:lnTo>
                      <a:lnTo>
                        <a:pt x="0" y="4"/>
                      </a:lnTo>
                      <a:lnTo>
                        <a:pt x="3" y="4"/>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8" name="Freeform 986"/>
                <p:cNvSpPr>
                  <a:spLocks/>
                </p:cNvSpPr>
                <p:nvPr/>
              </p:nvSpPr>
              <p:spPr bwMode="auto">
                <a:xfrm>
                  <a:off x="4838538" y="2599549"/>
                  <a:ext cx="14945" cy="37365"/>
                </a:xfrm>
                <a:custGeom>
                  <a:avLst/>
                  <a:gdLst>
                    <a:gd name="T0" fmla="*/ 2 w 2"/>
                    <a:gd name="T1" fmla="*/ 5 h 5"/>
                    <a:gd name="T2" fmla="*/ 2 w 2"/>
                    <a:gd name="T3" fmla="*/ 0 h 5"/>
                    <a:gd name="T4" fmla="*/ 2 w 2"/>
                    <a:gd name="T5" fmla="*/ 0 h 5"/>
                    <a:gd name="T6" fmla="*/ 2 w 2"/>
                    <a:gd name="T7" fmla="*/ 1 h 5"/>
                    <a:gd name="T8" fmla="*/ 1 w 2"/>
                    <a:gd name="T9" fmla="*/ 1 h 5"/>
                    <a:gd name="T10" fmla="*/ 1 w 2"/>
                    <a:gd name="T11" fmla="*/ 2 h 5"/>
                    <a:gd name="T12" fmla="*/ 0 w 2"/>
                    <a:gd name="T13" fmla="*/ 2 h 5"/>
                    <a:gd name="T14" fmla="*/ 0 w 2"/>
                    <a:gd name="T15" fmla="*/ 3 h 5"/>
                    <a:gd name="T16" fmla="*/ 1 w 2"/>
                    <a:gd name="T17" fmla="*/ 3 h 5"/>
                    <a:gd name="T18" fmla="*/ 1 w 2"/>
                    <a:gd name="T19" fmla="*/ 2 h 5"/>
                    <a:gd name="T20" fmla="*/ 2 w 2"/>
                    <a:gd name="T21" fmla="*/ 2 h 5"/>
                    <a:gd name="T22" fmla="*/ 2 w 2"/>
                    <a:gd name="T23" fmla="*/ 5 h 5"/>
                    <a:gd name="T24" fmla="*/ 2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lnTo>
                        <a:pt x="2" y="0"/>
                      </a:lnTo>
                      <a:lnTo>
                        <a:pt x="2" y="0"/>
                      </a:lnTo>
                      <a:lnTo>
                        <a:pt x="2" y="1"/>
                      </a:lnTo>
                      <a:lnTo>
                        <a:pt x="1" y="1"/>
                      </a:lnTo>
                      <a:lnTo>
                        <a:pt x="1" y="2"/>
                      </a:lnTo>
                      <a:lnTo>
                        <a:pt x="0" y="2"/>
                      </a:lnTo>
                      <a:lnTo>
                        <a:pt x="0" y="3"/>
                      </a:lnTo>
                      <a:lnTo>
                        <a:pt x="1" y="3"/>
                      </a:lnTo>
                      <a:lnTo>
                        <a:pt x="1" y="2"/>
                      </a:lnTo>
                      <a:lnTo>
                        <a:pt x="2" y="2"/>
                      </a:lnTo>
                      <a:lnTo>
                        <a:pt x="2" y="5"/>
                      </a:lnTo>
                      <a:lnTo>
                        <a:pt x="2" y="5"/>
                      </a:lnTo>
                      <a:lnTo>
                        <a:pt x="2"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29" name="Freeform 987"/>
                <p:cNvSpPr>
                  <a:spLocks/>
                </p:cNvSpPr>
                <p:nvPr/>
              </p:nvSpPr>
              <p:spPr bwMode="auto">
                <a:xfrm>
                  <a:off x="4860958" y="2599549"/>
                  <a:ext cx="29890" cy="37365"/>
                </a:xfrm>
                <a:custGeom>
                  <a:avLst/>
                  <a:gdLst>
                    <a:gd name="T0" fmla="*/ 4 w 4"/>
                    <a:gd name="T1" fmla="*/ 5 h 5"/>
                    <a:gd name="T2" fmla="*/ 4 w 4"/>
                    <a:gd name="T3" fmla="*/ 3 h 5"/>
                    <a:gd name="T4" fmla="*/ 3 w 4"/>
                    <a:gd name="T5" fmla="*/ 3 h 5"/>
                    <a:gd name="T6" fmla="*/ 3 w 4"/>
                    <a:gd name="T7" fmla="*/ 3 h 5"/>
                    <a:gd name="T8" fmla="*/ 3 w 4"/>
                    <a:gd name="T9" fmla="*/ 3 h 5"/>
                    <a:gd name="T10" fmla="*/ 3 w 4"/>
                    <a:gd name="T11" fmla="*/ 2 h 5"/>
                    <a:gd name="T12" fmla="*/ 3 w 4"/>
                    <a:gd name="T13" fmla="*/ 2 h 5"/>
                    <a:gd name="T14" fmla="*/ 3 w 4"/>
                    <a:gd name="T15" fmla="*/ 1 h 5"/>
                    <a:gd name="T16" fmla="*/ 4 w 4"/>
                    <a:gd name="T17" fmla="*/ 1 h 5"/>
                    <a:gd name="T18" fmla="*/ 4 w 4"/>
                    <a:gd name="T19" fmla="*/ 0 h 5"/>
                    <a:gd name="T20" fmla="*/ 0 w 4"/>
                    <a:gd name="T21" fmla="*/ 0 h 5"/>
                    <a:gd name="T22" fmla="*/ 0 w 4"/>
                    <a:gd name="T23" fmla="*/ 1 h 5"/>
                    <a:gd name="T24" fmla="*/ 3 w 4"/>
                    <a:gd name="T25" fmla="*/ 1 h 5"/>
                    <a:gd name="T26" fmla="*/ 3 w 4"/>
                    <a:gd name="T27" fmla="*/ 2 h 5"/>
                    <a:gd name="T28" fmla="*/ 2 w 4"/>
                    <a:gd name="T29" fmla="*/ 2 h 5"/>
                    <a:gd name="T30" fmla="*/ 2 w 4"/>
                    <a:gd name="T31" fmla="*/ 3 h 5"/>
                    <a:gd name="T32" fmla="*/ 1 w 4"/>
                    <a:gd name="T33" fmla="*/ 3 h 5"/>
                    <a:gd name="T34" fmla="*/ 1 w 4"/>
                    <a:gd name="T35" fmla="*/ 3 h 5"/>
                    <a:gd name="T36" fmla="*/ 3 w 4"/>
                    <a:gd name="T37" fmla="*/ 3 h 5"/>
                    <a:gd name="T38" fmla="*/ 3 w 4"/>
                    <a:gd name="T39" fmla="*/ 5 h 5"/>
                    <a:gd name="T40" fmla="*/ 1 w 4"/>
                    <a:gd name="T41" fmla="*/ 5 h 5"/>
                    <a:gd name="T42" fmla="*/ 1 w 4"/>
                    <a:gd name="T43" fmla="*/ 4 h 5"/>
                    <a:gd name="T44" fmla="*/ 0 w 4"/>
                    <a:gd name="T45" fmla="*/ 4 h 5"/>
                    <a:gd name="T46" fmla="*/ 0 w 4"/>
                    <a:gd name="T47" fmla="*/ 5 h 5"/>
                    <a:gd name="T48" fmla="*/ 1 w 4"/>
                    <a:gd name="T49" fmla="*/ 5 h 5"/>
                    <a:gd name="T50" fmla="*/ 1 w 4"/>
                    <a:gd name="T51" fmla="*/ 5 h 5"/>
                    <a:gd name="T52" fmla="*/ 3 w 4"/>
                    <a:gd name="T53" fmla="*/ 5 h 5"/>
                    <a:gd name="T54" fmla="*/ 3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3"/>
                      </a:lnTo>
                      <a:lnTo>
                        <a:pt x="3" y="3"/>
                      </a:lnTo>
                      <a:lnTo>
                        <a:pt x="3" y="3"/>
                      </a:lnTo>
                      <a:lnTo>
                        <a:pt x="3" y="3"/>
                      </a:lnTo>
                      <a:lnTo>
                        <a:pt x="3" y="2"/>
                      </a:lnTo>
                      <a:lnTo>
                        <a:pt x="3" y="2"/>
                      </a:lnTo>
                      <a:lnTo>
                        <a:pt x="3" y="1"/>
                      </a:lnTo>
                      <a:lnTo>
                        <a:pt x="4" y="1"/>
                      </a:lnTo>
                      <a:lnTo>
                        <a:pt x="4" y="0"/>
                      </a:lnTo>
                      <a:lnTo>
                        <a:pt x="0" y="0"/>
                      </a:lnTo>
                      <a:lnTo>
                        <a:pt x="0" y="1"/>
                      </a:lnTo>
                      <a:lnTo>
                        <a:pt x="3" y="1"/>
                      </a:lnTo>
                      <a:lnTo>
                        <a:pt x="3" y="2"/>
                      </a:lnTo>
                      <a:lnTo>
                        <a:pt x="2" y="2"/>
                      </a:lnTo>
                      <a:lnTo>
                        <a:pt x="2" y="3"/>
                      </a:lnTo>
                      <a:lnTo>
                        <a:pt x="1" y="3"/>
                      </a:lnTo>
                      <a:lnTo>
                        <a:pt x="1" y="3"/>
                      </a:lnTo>
                      <a:lnTo>
                        <a:pt x="3" y="3"/>
                      </a:lnTo>
                      <a:lnTo>
                        <a:pt x="3" y="5"/>
                      </a:lnTo>
                      <a:lnTo>
                        <a:pt x="1" y="5"/>
                      </a:lnTo>
                      <a:lnTo>
                        <a:pt x="1" y="4"/>
                      </a:lnTo>
                      <a:lnTo>
                        <a:pt x="0" y="4"/>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0" name="Freeform 988"/>
                <p:cNvSpPr>
                  <a:spLocks/>
                </p:cNvSpPr>
                <p:nvPr/>
              </p:nvSpPr>
              <p:spPr bwMode="auto">
                <a:xfrm>
                  <a:off x="4898318" y="2599549"/>
                  <a:ext cx="29890" cy="37365"/>
                </a:xfrm>
                <a:custGeom>
                  <a:avLst/>
                  <a:gdLst>
                    <a:gd name="T0" fmla="*/ 4 w 4"/>
                    <a:gd name="T1" fmla="*/ 5 h 5"/>
                    <a:gd name="T2" fmla="*/ 4 w 4"/>
                    <a:gd name="T3" fmla="*/ 5 h 5"/>
                    <a:gd name="T4" fmla="*/ 2 w 4"/>
                    <a:gd name="T5" fmla="*/ 5 h 5"/>
                    <a:gd name="T6" fmla="*/ 2 w 4"/>
                    <a:gd name="T7" fmla="*/ 4 h 5"/>
                    <a:gd name="T8" fmla="*/ 2 w 4"/>
                    <a:gd name="T9" fmla="*/ 4 h 5"/>
                    <a:gd name="T10" fmla="*/ 2 w 4"/>
                    <a:gd name="T11" fmla="*/ 3 h 5"/>
                    <a:gd name="T12" fmla="*/ 3 w 4"/>
                    <a:gd name="T13" fmla="*/ 3 h 5"/>
                    <a:gd name="T14" fmla="*/ 3 w 4"/>
                    <a:gd name="T15" fmla="*/ 3 h 5"/>
                    <a:gd name="T16" fmla="*/ 4 w 4"/>
                    <a:gd name="T17" fmla="*/ 3 h 5"/>
                    <a:gd name="T18" fmla="*/ 4 w 4"/>
                    <a:gd name="T19" fmla="*/ 1 h 5"/>
                    <a:gd name="T20" fmla="*/ 3 w 4"/>
                    <a:gd name="T21" fmla="*/ 1 h 5"/>
                    <a:gd name="T22" fmla="*/ 3 w 4"/>
                    <a:gd name="T23" fmla="*/ 0 h 5"/>
                    <a:gd name="T24" fmla="*/ 1 w 4"/>
                    <a:gd name="T25" fmla="*/ 0 h 5"/>
                    <a:gd name="T26" fmla="*/ 1 w 4"/>
                    <a:gd name="T27" fmla="*/ 1 h 5"/>
                    <a:gd name="T28" fmla="*/ 0 w 4"/>
                    <a:gd name="T29" fmla="*/ 1 h 5"/>
                    <a:gd name="T30" fmla="*/ 0 w 4"/>
                    <a:gd name="T31" fmla="*/ 2 h 5"/>
                    <a:gd name="T32" fmla="*/ 1 w 4"/>
                    <a:gd name="T33" fmla="*/ 2 h 5"/>
                    <a:gd name="T34" fmla="*/ 1 w 4"/>
                    <a:gd name="T35" fmla="*/ 1 h 5"/>
                    <a:gd name="T36" fmla="*/ 3 w 4"/>
                    <a:gd name="T37" fmla="*/ 1 h 5"/>
                    <a:gd name="T38" fmla="*/ 3 w 4"/>
                    <a:gd name="T39" fmla="*/ 3 h 5"/>
                    <a:gd name="T40" fmla="*/ 2 w 4"/>
                    <a:gd name="T41" fmla="*/ 3 h 5"/>
                    <a:gd name="T42" fmla="*/ 2 w 4"/>
                    <a:gd name="T43" fmla="*/ 3 h 5"/>
                    <a:gd name="T44" fmla="*/ 2 w 4"/>
                    <a:gd name="T45" fmla="*/ 3 h 5"/>
                    <a:gd name="T46" fmla="*/ 2 w 4"/>
                    <a:gd name="T47" fmla="*/ 4 h 5"/>
                    <a:gd name="T48" fmla="*/ 1 w 4"/>
                    <a:gd name="T49" fmla="*/ 4 h 5"/>
                    <a:gd name="T50" fmla="*/ 1 w 4"/>
                    <a:gd name="T51" fmla="*/ 5 h 5"/>
                    <a:gd name="T52" fmla="*/ 0 w 4"/>
                    <a:gd name="T53" fmla="*/ 5 h 5"/>
                    <a:gd name="T54" fmla="*/ 0 w 4"/>
                    <a:gd name="T55" fmla="*/ 5 h 5"/>
                    <a:gd name="T56" fmla="*/ 4 w 4"/>
                    <a:gd name="T57" fmla="*/ 5 h 5"/>
                    <a:gd name="T58" fmla="*/ 4 w 4"/>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5"/>
                      </a:moveTo>
                      <a:lnTo>
                        <a:pt x="4" y="5"/>
                      </a:lnTo>
                      <a:lnTo>
                        <a:pt x="2" y="5"/>
                      </a:lnTo>
                      <a:lnTo>
                        <a:pt x="2" y="4"/>
                      </a:lnTo>
                      <a:lnTo>
                        <a:pt x="2" y="4"/>
                      </a:lnTo>
                      <a:lnTo>
                        <a:pt x="2" y="3"/>
                      </a:lnTo>
                      <a:lnTo>
                        <a:pt x="3" y="3"/>
                      </a:lnTo>
                      <a:lnTo>
                        <a:pt x="3" y="3"/>
                      </a:lnTo>
                      <a:lnTo>
                        <a:pt x="4" y="3"/>
                      </a:lnTo>
                      <a:lnTo>
                        <a:pt x="4" y="1"/>
                      </a:lnTo>
                      <a:lnTo>
                        <a:pt x="3" y="1"/>
                      </a:lnTo>
                      <a:lnTo>
                        <a:pt x="3" y="0"/>
                      </a:lnTo>
                      <a:lnTo>
                        <a:pt x="1" y="0"/>
                      </a:lnTo>
                      <a:lnTo>
                        <a:pt x="1" y="1"/>
                      </a:lnTo>
                      <a:lnTo>
                        <a:pt x="0" y="1"/>
                      </a:lnTo>
                      <a:lnTo>
                        <a:pt x="0" y="2"/>
                      </a:lnTo>
                      <a:lnTo>
                        <a:pt x="1" y="2"/>
                      </a:lnTo>
                      <a:lnTo>
                        <a:pt x="1" y="1"/>
                      </a:lnTo>
                      <a:lnTo>
                        <a:pt x="3" y="1"/>
                      </a:lnTo>
                      <a:lnTo>
                        <a:pt x="3" y="3"/>
                      </a:lnTo>
                      <a:lnTo>
                        <a:pt x="2" y="3"/>
                      </a:lnTo>
                      <a:lnTo>
                        <a:pt x="2" y="3"/>
                      </a:lnTo>
                      <a:lnTo>
                        <a:pt x="2" y="3"/>
                      </a:lnTo>
                      <a:lnTo>
                        <a:pt x="2" y="4"/>
                      </a:lnTo>
                      <a:lnTo>
                        <a:pt x="1" y="4"/>
                      </a:lnTo>
                      <a:lnTo>
                        <a:pt x="1" y="5"/>
                      </a:lnTo>
                      <a:lnTo>
                        <a:pt x="0" y="5"/>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1" name="Freeform 989"/>
                <p:cNvSpPr>
                  <a:spLocks noEditPoints="1"/>
                </p:cNvSpPr>
                <p:nvPr/>
              </p:nvSpPr>
              <p:spPr bwMode="auto">
                <a:xfrm>
                  <a:off x="4935683" y="2599549"/>
                  <a:ext cx="29890" cy="37365"/>
                </a:xfrm>
                <a:custGeom>
                  <a:avLst/>
                  <a:gdLst>
                    <a:gd name="T0" fmla="*/ 4 w 4"/>
                    <a:gd name="T1" fmla="*/ 4 h 5"/>
                    <a:gd name="T2" fmla="*/ 4 w 4"/>
                    <a:gd name="T3" fmla="*/ 1 h 5"/>
                    <a:gd name="T4" fmla="*/ 3 w 4"/>
                    <a:gd name="T5" fmla="*/ 1 h 5"/>
                    <a:gd name="T6" fmla="*/ 3 w 4"/>
                    <a:gd name="T7" fmla="*/ 0 h 5"/>
                    <a:gd name="T8" fmla="*/ 0 w 4"/>
                    <a:gd name="T9" fmla="*/ 0 h 5"/>
                    <a:gd name="T10" fmla="*/ 0 w 4"/>
                    <a:gd name="T11" fmla="*/ 1 h 5"/>
                    <a:gd name="T12" fmla="*/ 0 w 4"/>
                    <a:gd name="T13" fmla="*/ 1 h 5"/>
                    <a:gd name="T14" fmla="*/ 0 w 4"/>
                    <a:gd name="T15" fmla="*/ 3 h 5"/>
                    <a:gd name="T16" fmla="*/ 0 w 4"/>
                    <a:gd name="T17" fmla="*/ 3 h 5"/>
                    <a:gd name="T18" fmla="*/ 0 w 4"/>
                    <a:gd name="T19" fmla="*/ 3 h 5"/>
                    <a:gd name="T20" fmla="*/ 3 w 4"/>
                    <a:gd name="T21" fmla="*/ 3 h 5"/>
                    <a:gd name="T22" fmla="*/ 3 w 4"/>
                    <a:gd name="T23" fmla="*/ 4 h 5"/>
                    <a:gd name="T24" fmla="*/ 2 w 4"/>
                    <a:gd name="T25" fmla="*/ 4 h 5"/>
                    <a:gd name="T26" fmla="*/ 2 w 4"/>
                    <a:gd name="T27" fmla="*/ 5 h 5"/>
                    <a:gd name="T28" fmla="*/ 0 w 4"/>
                    <a:gd name="T29" fmla="*/ 5 h 5"/>
                    <a:gd name="T30" fmla="*/ 0 w 4"/>
                    <a:gd name="T31" fmla="*/ 5 h 5"/>
                    <a:gd name="T32" fmla="*/ 2 w 4"/>
                    <a:gd name="T33" fmla="*/ 5 h 5"/>
                    <a:gd name="T34" fmla="*/ 2 w 4"/>
                    <a:gd name="T35" fmla="*/ 5 h 5"/>
                    <a:gd name="T36" fmla="*/ 3 w 4"/>
                    <a:gd name="T37" fmla="*/ 5 h 5"/>
                    <a:gd name="T38" fmla="*/ 3 w 4"/>
                    <a:gd name="T39" fmla="*/ 4 h 5"/>
                    <a:gd name="T40" fmla="*/ 4 w 4"/>
                    <a:gd name="T41" fmla="*/ 4 h 5"/>
                    <a:gd name="T42" fmla="*/ 4 w 4"/>
                    <a:gd name="T43" fmla="*/ 4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4" y="4"/>
                      </a:moveTo>
                      <a:lnTo>
                        <a:pt x="4" y="1"/>
                      </a:lnTo>
                      <a:lnTo>
                        <a:pt x="3" y="1"/>
                      </a:lnTo>
                      <a:lnTo>
                        <a:pt x="3" y="0"/>
                      </a:lnTo>
                      <a:lnTo>
                        <a:pt x="0" y="0"/>
                      </a:lnTo>
                      <a:lnTo>
                        <a:pt x="0" y="1"/>
                      </a:lnTo>
                      <a:lnTo>
                        <a:pt x="0" y="1"/>
                      </a:lnTo>
                      <a:lnTo>
                        <a:pt x="0" y="3"/>
                      </a:lnTo>
                      <a:lnTo>
                        <a:pt x="0" y="3"/>
                      </a:lnTo>
                      <a:lnTo>
                        <a:pt x="0" y="3"/>
                      </a:lnTo>
                      <a:lnTo>
                        <a:pt x="3" y="3"/>
                      </a:lnTo>
                      <a:lnTo>
                        <a:pt x="3" y="4"/>
                      </a:lnTo>
                      <a:lnTo>
                        <a:pt x="2" y="4"/>
                      </a:lnTo>
                      <a:lnTo>
                        <a:pt x="2" y="5"/>
                      </a:lnTo>
                      <a:lnTo>
                        <a:pt x="0" y="5"/>
                      </a:lnTo>
                      <a:lnTo>
                        <a:pt x="0" y="5"/>
                      </a:lnTo>
                      <a:lnTo>
                        <a:pt x="2" y="5"/>
                      </a:lnTo>
                      <a:lnTo>
                        <a:pt x="2" y="5"/>
                      </a:lnTo>
                      <a:lnTo>
                        <a:pt x="3" y="5"/>
                      </a:lnTo>
                      <a:lnTo>
                        <a:pt x="3" y="4"/>
                      </a:lnTo>
                      <a:lnTo>
                        <a:pt x="4" y="4"/>
                      </a:lnTo>
                      <a:lnTo>
                        <a:pt x="4" y="4"/>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2" name="Freeform 990"/>
                <p:cNvSpPr>
                  <a:spLocks/>
                </p:cNvSpPr>
                <p:nvPr/>
              </p:nvSpPr>
              <p:spPr bwMode="auto">
                <a:xfrm>
                  <a:off x="4965573" y="2636914"/>
                  <a:ext cx="747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0" y="0"/>
                      </a:lnTo>
                      <a:lnTo>
                        <a:pt x="0" y="0"/>
                      </a:lnTo>
                      <a:lnTo>
                        <a:pt x="1" y="0"/>
                      </a:lnTo>
                      <a:lnTo>
                        <a:pt x="1" y="0"/>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33" name="Freeform 991"/>
                <p:cNvSpPr>
                  <a:spLocks noEditPoints="1"/>
                </p:cNvSpPr>
                <p:nvPr/>
              </p:nvSpPr>
              <p:spPr bwMode="auto">
                <a:xfrm>
                  <a:off x="4980518" y="2599549"/>
                  <a:ext cx="37365" cy="37365"/>
                </a:xfrm>
                <a:custGeom>
                  <a:avLst/>
                  <a:gdLst>
                    <a:gd name="T0" fmla="*/ 5 w 5"/>
                    <a:gd name="T1" fmla="*/ 4 h 5"/>
                    <a:gd name="T2" fmla="*/ 5 w 5"/>
                    <a:gd name="T3" fmla="*/ 3 h 5"/>
                    <a:gd name="T4" fmla="*/ 4 w 5"/>
                    <a:gd name="T5" fmla="*/ 3 h 5"/>
                    <a:gd name="T6" fmla="*/ 4 w 5"/>
                    <a:gd name="T7" fmla="*/ 0 h 5"/>
                    <a:gd name="T8" fmla="*/ 3 w 5"/>
                    <a:gd name="T9" fmla="*/ 0 h 5"/>
                    <a:gd name="T10" fmla="*/ 3 w 5"/>
                    <a:gd name="T11" fmla="*/ 1 h 5"/>
                    <a:gd name="T12" fmla="*/ 2 w 5"/>
                    <a:gd name="T13" fmla="*/ 1 h 5"/>
                    <a:gd name="T14" fmla="*/ 2 w 5"/>
                    <a:gd name="T15" fmla="*/ 2 h 5"/>
                    <a:gd name="T16" fmla="*/ 2 w 5"/>
                    <a:gd name="T17" fmla="*/ 2 h 5"/>
                    <a:gd name="T18" fmla="*/ 2 w 5"/>
                    <a:gd name="T19" fmla="*/ 3 h 5"/>
                    <a:gd name="T20" fmla="*/ 1 w 5"/>
                    <a:gd name="T21" fmla="*/ 3 h 5"/>
                    <a:gd name="T22" fmla="*/ 1 w 5"/>
                    <a:gd name="T23" fmla="*/ 3 h 5"/>
                    <a:gd name="T24" fmla="*/ 0 w 5"/>
                    <a:gd name="T25" fmla="*/ 3 h 5"/>
                    <a:gd name="T26" fmla="*/ 0 w 5"/>
                    <a:gd name="T27" fmla="*/ 4 h 5"/>
                    <a:gd name="T28" fmla="*/ 3 w 5"/>
                    <a:gd name="T29" fmla="*/ 4 h 5"/>
                    <a:gd name="T30" fmla="*/ 3 w 5"/>
                    <a:gd name="T31" fmla="*/ 5 h 5"/>
                    <a:gd name="T32" fmla="*/ 4 w 5"/>
                    <a:gd name="T33" fmla="*/ 5 h 5"/>
                    <a:gd name="T34" fmla="*/ 4 w 5"/>
                    <a:gd name="T35" fmla="*/ 4 h 5"/>
                    <a:gd name="T36" fmla="*/ 5 w 5"/>
                    <a:gd name="T37" fmla="*/ 4 h 5"/>
                    <a:gd name="T38" fmla="*/ 5 w 5"/>
                    <a:gd name="T39" fmla="*/ 4 h 5"/>
                    <a:gd name="T40" fmla="*/ 3 w 5"/>
                    <a:gd name="T41" fmla="*/ 3 h 5"/>
                    <a:gd name="T42" fmla="*/ 2 w 5"/>
                    <a:gd name="T43" fmla="*/ 3 h 5"/>
                    <a:gd name="T44" fmla="*/ 2 w 5"/>
                    <a:gd name="T45" fmla="*/ 3 h 5"/>
                    <a:gd name="T46" fmla="*/ 2 w 5"/>
                    <a:gd name="T47" fmla="*/ 3 h 5"/>
                    <a:gd name="T48" fmla="*/ 2 w 5"/>
                    <a:gd name="T49" fmla="*/ 2 h 5"/>
                    <a:gd name="T50" fmla="*/ 3 w 5"/>
                    <a:gd name="T51" fmla="*/ 2 h 5"/>
                    <a:gd name="T52" fmla="*/ 3 w 5"/>
                    <a:gd name="T53" fmla="*/ 3 h 5"/>
                    <a:gd name="T54" fmla="*/ 3 w 5"/>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5">
                      <a:moveTo>
                        <a:pt x="5" y="4"/>
                      </a:moveTo>
                      <a:lnTo>
                        <a:pt x="5" y="3"/>
                      </a:lnTo>
                      <a:lnTo>
                        <a:pt x="4" y="3"/>
                      </a:lnTo>
                      <a:lnTo>
                        <a:pt x="4" y="0"/>
                      </a:lnTo>
                      <a:lnTo>
                        <a:pt x="3" y="0"/>
                      </a:lnTo>
                      <a:lnTo>
                        <a:pt x="3" y="1"/>
                      </a:lnTo>
                      <a:lnTo>
                        <a:pt x="2" y="1"/>
                      </a:lnTo>
                      <a:lnTo>
                        <a:pt x="2" y="2"/>
                      </a:lnTo>
                      <a:lnTo>
                        <a:pt x="2" y="2"/>
                      </a:lnTo>
                      <a:lnTo>
                        <a:pt x="2" y="3"/>
                      </a:lnTo>
                      <a:lnTo>
                        <a:pt x="1" y="3"/>
                      </a:lnTo>
                      <a:lnTo>
                        <a:pt x="1" y="3"/>
                      </a:lnTo>
                      <a:lnTo>
                        <a:pt x="0" y="3"/>
                      </a:lnTo>
                      <a:lnTo>
                        <a:pt x="0" y="4"/>
                      </a:lnTo>
                      <a:lnTo>
                        <a:pt x="3" y="4"/>
                      </a:lnTo>
                      <a:lnTo>
                        <a:pt x="3" y="5"/>
                      </a:lnTo>
                      <a:lnTo>
                        <a:pt x="4" y="5"/>
                      </a:lnTo>
                      <a:lnTo>
                        <a:pt x="4" y="4"/>
                      </a:lnTo>
                      <a:lnTo>
                        <a:pt x="5" y="4"/>
                      </a:lnTo>
                      <a:lnTo>
                        <a:pt x="5" y="4"/>
                      </a:lnTo>
                      <a:close/>
                      <a:moveTo>
                        <a:pt x="3" y="3"/>
                      </a:moveTo>
                      <a:lnTo>
                        <a:pt x="2" y="3"/>
                      </a:lnTo>
                      <a:lnTo>
                        <a:pt x="2" y="3"/>
                      </a:lnTo>
                      <a:lnTo>
                        <a:pt x="2" y="3"/>
                      </a:lnTo>
                      <a:lnTo>
                        <a:pt x="2"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4" name="Freeform 992"/>
                <p:cNvSpPr>
                  <a:spLocks/>
                </p:cNvSpPr>
                <p:nvPr/>
              </p:nvSpPr>
              <p:spPr bwMode="auto">
                <a:xfrm>
                  <a:off x="5025353" y="2599549"/>
                  <a:ext cx="22420" cy="37365"/>
                </a:xfrm>
                <a:custGeom>
                  <a:avLst/>
                  <a:gdLst>
                    <a:gd name="T0" fmla="*/ 3 w 3"/>
                    <a:gd name="T1" fmla="*/ 5 h 5"/>
                    <a:gd name="T2" fmla="*/ 3 w 3"/>
                    <a:gd name="T3" fmla="*/ 3 h 5"/>
                    <a:gd name="T4" fmla="*/ 3 w 3"/>
                    <a:gd name="T5" fmla="*/ 3 h 5"/>
                    <a:gd name="T6" fmla="*/ 3 w 3"/>
                    <a:gd name="T7" fmla="*/ 2 h 5"/>
                    <a:gd name="T8" fmla="*/ 0 w 3"/>
                    <a:gd name="T9" fmla="*/ 2 h 5"/>
                    <a:gd name="T10" fmla="*/ 0 w 3"/>
                    <a:gd name="T11" fmla="*/ 1 h 5"/>
                    <a:gd name="T12" fmla="*/ 3 w 3"/>
                    <a:gd name="T13" fmla="*/ 1 h 5"/>
                    <a:gd name="T14" fmla="*/ 3 w 3"/>
                    <a:gd name="T15" fmla="*/ 0 h 5"/>
                    <a:gd name="T16" fmla="*/ 0 w 3"/>
                    <a:gd name="T17" fmla="*/ 0 h 5"/>
                    <a:gd name="T18" fmla="*/ 0 w 3"/>
                    <a:gd name="T19" fmla="*/ 3 h 5"/>
                    <a:gd name="T20" fmla="*/ 3 w 3"/>
                    <a:gd name="T21" fmla="*/ 3 h 5"/>
                    <a:gd name="T22" fmla="*/ 3 w 3"/>
                    <a:gd name="T23" fmla="*/ 5 h 5"/>
                    <a:gd name="T24" fmla="*/ 0 w 3"/>
                    <a:gd name="T25" fmla="*/ 5 h 5"/>
                    <a:gd name="T26" fmla="*/ 0 w 3"/>
                    <a:gd name="T27" fmla="*/ 4 h 5"/>
                    <a:gd name="T28" fmla="*/ 0 w 3"/>
                    <a:gd name="T29" fmla="*/ 4 h 5"/>
                    <a:gd name="T30" fmla="*/ 0 w 3"/>
                    <a:gd name="T31" fmla="*/ 5 h 5"/>
                    <a:gd name="T32" fmla="*/ 0 w 3"/>
                    <a:gd name="T33" fmla="*/ 5 h 5"/>
                    <a:gd name="T34" fmla="*/ 0 w 3"/>
                    <a:gd name="T35" fmla="*/ 5 h 5"/>
                    <a:gd name="T36" fmla="*/ 3 w 3"/>
                    <a:gd name="T37" fmla="*/ 5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3"/>
                      </a:lnTo>
                      <a:lnTo>
                        <a:pt x="3" y="3"/>
                      </a:lnTo>
                      <a:lnTo>
                        <a:pt x="3" y="2"/>
                      </a:lnTo>
                      <a:lnTo>
                        <a:pt x="0" y="2"/>
                      </a:lnTo>
                      <a:lnTo>
                        <a:pt x="0" y="1"/>
                      </a:lnTo>
                      <a:lnTo>
                        <a:pt x="3" y="1"/>
                      </a:lnTo>
                      <a:lnTo>
                        <a:pt x="3" y="0"/>
                      </a:lnTo>
                      <a:lnTo>
                        <a:pt x="0" y="0"/>
                      </a:lnTo>
                      <a:lnTo>
                        <a:pt x="0" y="3"/>
                      </a:lnTo>
                      <a:lnTo>
                        <a:pt x="3" y="3"/>
                      </a:lnTo>
                      <a:lnTo>
                        <a:pt x="3" y="5"/>
                      </a:lnTo>
                      <a:lnTo>
                        <a:pt x="0" y="5"/>
                      </a:lnTo>
                      <a:lnTo>
                        <a:pt x="0" y="4"/>
                      </a:lnTo>
                      <a:lnTo>
                        <a:pt x="0" y="4"/>
                      </a:lnTo>
                      <a:lnTo>
                        <a:pt x="0" y="5"/>
                      </a:lnTo>
                      <a:lnTo>
                        <a:pt x="0" y="5"/>
                      </a:lnTo>
                      <a:lnTo>
                        <a:pt x="0" y="5"/>
                      </a:lnTo>
                      <a:lnTo>
                        <a:pt x="3" y="5"/>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5" name="Freeform 993"/>
                <p:cNvSpPr>
                  <a:spLocks noEditPoints="1"/>
                </p:cNvSpPr>
                <p:nvPr/>
              </p:nvSpPr>
              <p:spPr bwMode="auto">
                <a:xfrm>
                  <a:off x="5055243" y="2599549"/>
                  <a:ext cx="29890" cy="37365"/>
                </a:xfrm>
                <a:custGeom>
                  <a:avLst/>
                  <a:gdLst>
                    <a:gd name="T0" fmla="*/ 4 w 4"/>
                    <a:gd name="T1" fmla="*/ 5 h 5"/>
                    <a:gd name="T2" fmla="*/ 4 w 4"/>
                    <a:gd name="T3" fmla="*/ 3 h 5"/>
                    <a:gd name="T4" fmla="*/ 3 w 4"/>
                    <a:gd name="T5" fmla="*/ 3 h 5"/>
                    <a:gd name="T6" fmla="*/ 3 w 4"/>
                    <a:gd name="T7" fmla="*/ 3 h 5"/>
                    <a:gd name="T8" fmla="*/ 4 w 4"/>
                    <a:gd name="T9" fmla="*/ 3 h 5"/>
                    <a:gd name="T10" fmla="*/ 4 w 4"/>
                    <a:gd name="T11" fmla="*/ 1 h 5"/>
                    <a:gd name="T12" fmla="*/ 3 w 4"/>
                    <a:gd name="T13" fmla="*/ 1 h 5"/>
                    <a:gd name="T14" fmla="*/ 3 w 4"/>
                    <a:gd name="T15" fmla="*/ 0 h 5"/>
                    <a:gd name="T16" fmla="*/ 1 w 4"/>
                    <a:gd name="T17" fmla="*/ 0 h 5"/>
                    <a:gd name="T18" fmla="*/ 1 w 4"/>
                    <a:gd name="T19" fmla="*/ 1 h 5"/>
                    <a:gd name="T20" fmla="*/ 0 w 4"/>
                    <a:gd name="T21" fmla="*/ 1 h 5"/>
                    <a:gd name="T22" fmla="*/ 0 w 4"/>
                    <a:gd name="T23" fmla="*/ 3 h 5"/>
                    <a:gd name="T24" fmla="*/ 1 w 4"/>
                    <a:gd name="T25" fmla="*/ 3 h 5"/>
                    <a:gd name="T26" fmla="*/ 1 w 4"/>
                    <a:gd name="T27" fmla="*/ 3 h 5"/>
                    <a:gd name="T28" fmla="*/ 0 w 4"/>
                    <a:gd name="T29" fmla="*/ 3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 name="T44" fmla="*/ 3 w 4"/>
                    <a:gd name="T45" fmla="*/ 3 h 5"/>
                    <a:gd name="T46" fmla="*/ 1 w 4"/>
                    <a:gd name="T47" fmla="*/ 3 h 5"/>
                    <a:gd name="T48" fmla="*/ 1 w 4"/>
                    <a:gd name="T49" fmla="*/ 1 h 5"/>
                    <a:gd name="T50" fmla="*/ 3 w 4"/>
                    <a:gd name="T51" fmla="*/ 1 h 5"/>
                    <a:gd name="T52" fmla="*/ 3 w 4"/>
                    <a:gd name="T53" fmla="*/ 3 h 5"/>
                    <a:gd name="T54" fmla="*/ 3 w 4"/>
                    <a:gd name="T55" fmla="*/ 3 h 5"/>
                    <a:gd name="T56" fmla="*/ 3 w 4"/>
                    <a:gd name="T57" fmla="*/ 5 h 5"/>
                    <a:gd name="T58" fmla="*/ 1 w 4"/>
                    <a:gd name="T59" fmla="*/ 5 h 5"/>
                    <a:gd name="T60" fmla="*/ 1 w 4"/>
                    <a:gd name="T61" fmla="*/ 3 h 5"/>
                    <a:gd name="T62" fmla="*/ 3 w 4"/>
                    <a:gd name="T63" fmla="*/ 3 h 5"/>
                    <a:gd name="T64" fmla="*/ 3 w 4"/>
                    <a:gd name="T65" fmla="*/ 5 h 5"/>
                    <a:gd name="T66" fmla="*/ 3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3"/>
                      </a:lnTo>
                      <a:lnTo>
                        <a:pt x="3" y="3"/>
                      </a:lnTo>
                      <a:lnTo>
                        <a:pt x="3" y="3"/>
                      </a:lnTo>
                      <a:lnTo>
                        <a:pt x="4" y="3"/>
                      </a:lnTo>
                      <a:lnTo>
                        <a:pt x="4" y="1"/>
                      </a:lnTo>
                      <a:lnTo>
                        <a:pt x="3" y="1"/>
                      </a:lnTo>
                      <a:lnTo>
                        <a:pt x="3" y="0"/>
                      </a:lnTo>
                      <a:lnTo>
                        <a:pt x="1" y="0"/>
                      </a:lnTo>
                      <a:lnTo>
                        <a:pt x="1" y="1"/>
                      </a:lnTo>
                      <a:lnTo>
                        <a:pt x="0" y="1"/>
                      </a:lnTo>
                      <a:lnTo>
                        <a:pt x="0" y="3"/>
                      </a:lnTo>
                      <a:lnTo>
                        <a:pt x="1" y="3"/>
                      </a:lnTo>
                      <a:lnTo>
                        <a:pt x="1" y="3"/>
                      </a:lnTo>
                      <a:lnTo>
                        <a:pt x="0" y="3"/>
                      </a:lnTo>
                      <a:lnTo>
                        <a:pt x="0" y="5"/>
                      </a:lnTo>
                      <a:lnTo>
                        <a:pt x="1" y="5"/>
                      </a:lnTo>
                      <a:lnTo>
                        <a:pt x="1" y="5"/>
                      </a:lnTo>
                      <a:lnTo>
                        <a:pt x="3" y="5"/>
                      </a:lnTo>
                      <a:lnTo>
                        <a:pt x="3" y="5"/>
                      </a:lnTo>
                      <a:lnTo>
                        <a:pt x="4" y="5"/>
                      </a:lnTo>
                      <a:lnTo>
                        <a:pt x="4" y="5"/>
                      </a:lnTo>
                      <a:close/>
                      <a:moveTo>
                        <a:pt x="3" y="3"/>
                      </a:moveTo>
                      <a:lnTo>
                        <a:pt x="1" y="3"/>
                      </a:lnTo>
                      <a:lnTo>
                        <a:pt x="1" y="1"/>
                      </a:lnTo>
                      <a:lnTo>
                        <a:pt x="3" y="1"/>
                      </a:lnTo>
                      <a:lnTo>
                        <a:pt x="3" y="3"/>
                      </a:lnTo>
                      <a:lnTo>
                        <a:pt x="3" y="3"/>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6" name="Freeform 994"/>
                <p:cNvSpPr>
                  <a:spLocks/>
                </p:cNvSpPr>
                <p:nvPr/>
              </p:nvSpPr>
              <p:spPr bwMode="auto">
                <a:xfrm>
                  <a:off x="4577002" y="2607024"/>
                  <a:ext cx="29890" cy="37365"/>
                </a:xfrm>
                <a:custGeom>
                  <a:avLst/>
                  <a:gdLst>
                    <a:gd name="T0" fmla="*/ 4 w 4"/>
                    <a:gd name="T1" fmla="*/ 5 h 5"/>
                    <a:gd name="T2" fmla="*/ 4 w 4"/>
                    <a:gd name="T3" fmla="*/ 4 h 5"/>
                    <a:gd name="T4" fmla="*/ 3 w 4"/>
                    <a:gd name="T5" fmla="*/ 4 h 5"/>
                    <a:gd name="T6" fmla="*/ 3 w 4"/>
                    <a:gd name="T7" fmla="*/ 3 h 5"/>
                    <a:gd name="T8" fmla="*/ 2 w 4"/>
                    <a:gd name="T9" fmla="*/ 3 h 5"/>
                    <a:gd name="T10" fmla="*/ 2 w 4"/>
                    <a:gd name="T11" fmla="*/ 3 h 5"/>
                    <a:gd name="T12" fmla="*/ 1 w 4"/>
                    <a:gd name="T13" fmla="*/ 3 h 5"/>
                    <a:gd name="T14" fmla="*/ 1 w 4"/>
                    <a:gd name="T15" fmla="*/ 2 h 5"/>
                    <a:gd name="T16" fmla="*/ 2 w 4"/>
                    <a:gd name="T17" fmla="*/ 2 h 5"/>
                    <a:gd name="T18" fmla="*/ 2 w 4"/>
                    <a:gd name="T19" fmla="*/ 1 h 5"/>
                    <a:gd name="T20" fmla="*/ 3 w 4"/>
                    <a:gd name="T21" fmla="*/ 1 h 5"/>
                    <a:gd name="T22" fmla="*/ 3 w 4"/>
                    <a:gd name="T23" fmla="*/ 0 h 5"/>
                    <a:gd name="T24" fmla="*/ 4 w 4"/>
                    <a:gd name="T25" fmla="*/ 0 h 5"/>
                    <a:gd name="T26" fmla="*/ 4 w 4"/>
                    <a:gd name="T27" fmla="*/ 0 h 5"/>
                    <a:gd name="T28" fmla="*/ 3 w 4"/>
                    <a:gd name="T29" fmla="*/ 0 h 5"/>
                    <a:gd name="T30" fmla="*/ 3 w 4"/>
                    <a:gd name="T31" fmla="*/ 0 h 5"/>
                    <a:gd name="T32" fmla="*/ 2 w 4"/>
                    <a:gd name="T33" fmla="*/ 0 h 5"/>
                    <a:gd name="T34" fmla="*/ 2 w 4"/>
                    <a:gd name="T35" fmla="*/ 1 h 5"/>
                    <a:gd name="T36" fmla="*/ 1 w 4"/>
                    <a:gd name="T37" fmla="*/ 1 h 5"/>
                    <a:gd name="T38" fmla="*/ 1 w 4"/>
                    <a:gd name="T39" fmla="*/ 2 h 5"/>
                    <a:gd name="T40" fmla="*/ 0 w 4"/>
                    <a:gd name="T41" fmla="*/ 2 h 5"/>
                    <a:gd name="T42" fmla="*/ 0 w 4"/>
                    <a:gd name="T43" fmla="*/ 0 h 5"/>
                    <a:gd name="T44" fmla="*/ 0 w 4"/>
                    <a:gd name="T45" fmla="*/ 0 h 5"/>
                    <a:gd name="T46" fmla="*/ 0 w 4"/>
                    <a:gd name="T47" fmla="*/ 5 h 5"/>
                    <a:gd name="T48" fmla="*/ 0 w 4"/>
                    <a:gd name="T49" fmla="*/ 5 h 5"/>
                    <a:gd name="T50" fmla="*/ 0 w 4"/>
                    <a:gd name="T51" fmla="*/ 3 h 5"/>
                    <a:gd name="T52" fmla="*/ 1 w 4"/>
                    <a:gd name="T53" fmla="*/ 3 h 5"/>
                    <a:gd name="T54" fmla="*/ 1 w 4"/>
                    <a:gd name="T55" fmla="*/ 3 h 5"/>
                    <a:gd name="T56" fmla="*/ 2 w 4"/>
                    <a:gd name="T57" fmla="*/ 3 h 5"/>
                    <a:gd name="T58" fmla="*/ 2 w 4"/>
                    <a:gd name="T59" fmla="*/ 4 h 5"/>
                    <a:gd name="T60" fmla="*/ 3 w 4"/>
                    <a:gd name="T61" fmla="*/ 4 h 5"/>
                    <a:gd name="T62" fmla="*/ 3 w 4"/>
                    <a:gd name="T63" fmla="*/ 5 h 5"/>
                    <a:gd name="T64" fmla="*/ 4 w 4"/>
                    <a:gd name="T65" fmla="*/ 5 h 5"/>
                    <a:gd name="T66" fmla="*/ 4 w 4"/>
                    <a:gd name="T6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5">
                      <a:moveTo>
                        <a:pt x="4" y="5"/>
                      </a:moveTo>
                      <a:lnTo>
                        <a:pt x="4" y="4"/>
                      </a:lnTo>
                      <a:lnTo>
                        <a:pt x="3" y="4"/>
                      </a:lnTo>
                      <a:lnTo>
                        <a:pt x="3" y="3"/>
                      </a:lnTo>
                      <a:lnTo>
                        <a:pt x="2" y="3"/>
                      </a:lnTo>
                      <a:lnTo>
                        <a:pt x="2" y="3"/>
                      </a:lnTo>
                      <a:lnTo>
                        <a:pt x="1" y="3"/>
                      </a:lnTo>
                      <a:lnTo>
                        <a:pt x="1" y="2"/>
                      </a:lnTo>
                      <a:lnTo>
                        <a:pt x="2" y="2"/>
                      </a:lnTo>
                      <a:lnTo>
                        <a:pt x="2" y="1"/>
                      </a:lnTo>
                      <a:lnTo>
                        <a:pt x="3" y="1"/>
                      </a:lnTo>
                      <a:lnTo>
                        <a:pt x="3" y="0"/>
                      </a:lnTo>
                      <a:lnTo>
                        <a:pt x="4" y="0"/>
                      </a:lnTo>
                      <a:lnTo>
                        <a:pt x="4" y="0"/>
                      </a:lnTo>
                      <a:lnTo>
                        <a:pt x="3" y="0"/>
                      </a:lnTo>
                      <a:lnTo>
                        <a:pt x="3" y="0"/>
                      </a:lnTo>
                      <a:lnTo>
                        <a:pt x="2" y="0"/>
                      </a:lnTo>
                      <a:lnTo>
                        <a:pt x="2" y="1"/>
                      </a:lnTo>
                      <a:lnTo>
                        <a:pt x="1" y="1"/>
                      </a:lnTo>
                      <a:lnTo>
                        <a:pt x="1" y="2"/>
                      </a:lnTo>
                      <a:lnTo>
                        <a:pt x="0" y="2"/>
                      </a:lnTo>
                      <a:lnTo>
                        <a:pt x="0" y="0"/>
                      </a:lnTo>
                      <a:lnTo>
                        <a:pt x="0" y="0"/>
                      </a:lnTo>
                      <a:lnTo>
                        <a:pt x="0" y="5"/>
                      </a:lnTo>
                      <a:lnTo>
                        <a:pt x="0" y="5"/>
                      </a:lnTo>
                      <a:lnTo>
                        <a:pt x="0" y="3"/>
                      </a:lnTo>
                      <a:lnTo>
                        <a:pt x="1" y="3"/>
                      </a:lnTo>
                      <a:lnTo>
                        <a:pt x="1"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7" name="Freeform 995"/>
                <p:cNvSpPr>
                  <a:spLocks/>
                </p:cNvSpPr>
                <p:nvPr/>
              </p:nvSpPr>
              <p:spPr bwMode="auto">
                <a:xfrm>
                  <a:off x="4614362" y="2607024"/>
                  <a:ext cx="22420" cy="37365"/>
                </a:xfrm>
                <a:custGeom>
                  <a:avLst/>
                  <a:gdLst>
                    <a:gd name="T0" fmla="*/ 3 w 3"/>
                    <a:gd name="T1" fmla="*/ 5 h 5"/>
                    <a:gd name="T2" fmla="*/ 3 w 3"/>
                    <a:gd name="T3" fmla="*/ 4 h 5"/>
                    <a:gd name="T4" fmla="*/ 0 w 3"/>
                    <a:gd name="T5" fmla="*/ 4 h 5"/>
                    <a:gd name="T6" fmla="*/ 0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0" y="4"/>
                      </a:lnTo>
                      <a:lnTo>
                        <a:pt x="0"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8" name="Freeform 996"/>
                <p:cNvSpPr>
                  <a:spLocks noEditPoints="1"/>
                </p:cNvSpPr>
                <p:nvPr/>
              </p:nvSpPr>
              <p:spPr bwMode="auto">
                <a:xfrm>
                  <a:off x="4644252" y="2607024"/>
                  <a:ext cx="29890" cy="37365"/>
                </a:xfrm>
                <a:custGeom>
                  <a:avLst/>
                  <a:gdLst>
                    <a:gd name="T0" fmla="*/ 4 w 4"/>
                    <a:gd name="T1" fmla="*/ 4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3 w 4"/>
                    <a:gd name="T21" fmla="*/ 5 h 5"/>
                    <a:gd name="T22" fmla="*/ 3 w 4"/>
                    <a:gd name="T23" fmla="*/ 4 h 5"/>
                    <a:gd name="T24" fmla="*/ 4 w 4"/>
                    <a:gd name="T25" fmla="*/ 4 h 5"/>
                    <a:gd name="T26" fmla="*/ 4 w 4"/>
                    <a:gd name="T27" fmla="*/ 4 h 5"/>
                    <a:gd name="T28" fmla="*/ 3 w 4"/>
                    <a:gd name="T29" fmla="*/ 2 h 5"/>
                    <a:gd name="T30" fmla="*/ 1 w 4"/>
                    <a:gd name="T31" fmla="*/ 2 h 5"/>
                    <a:gd name="T32" fmla="*/ 1 w 4"/>
                    <a:gd name="T33" fmla="*/ 0 h 5"/>
                    <a:gd name="T34" fmla="*/ 3 w 4"/>
                    <a:gd name="T35" fmla="*/ 0 h 5"/>
                    <a:gd name="T36" fmla="*/ 3 w 4"/>
                    <a:gd name="T37" fmla="*/ 2 h 5"/>
                    <a:gd name="T38" fmla="*/ 3 w 4"/>
                    <a:gd name="T39" fmla="*/ 2 h 5"/>
                    <a:gd name="T40" fmla="*/ 3 w 4"/>
                    <a:gd name="T41" fmla="*/ 4 h 5"/>
                    <a:gd name="T42" fmla="*/ 1 w 4"/>
                    <a:gd name="T43" fmla="*/ 4 h 5"/>
                    <a:gd name="T44" fmla="*/ 1 w 4"/>
                    <a:gd name="T45" fmla="*/ 3 h 5"/>
                    <a:gd name="T46" fmla="*/ 3 w 4"/>
                    <a:gd name="T47" fmla="*/ 3 h 5"/>
                    <a:gd name="T48" fmla="*/ 3 w 4"/>
                    <a:gd name="T49" fmla="*/ 4 h 5"/>
                    <a:gd name="T50" fmla="*/ 3 w 4"/>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4" y="4"/>
                      </a:moveTo>
                      <a:lnTo>
                        <a:pt x="4" y="3"/>
                      </a:lnTo>
                      <a:lnTo>
                        <a:pt x="3" y="3"/>
                      </a:lnTo>
                      <a:lnTo>
                        <a:pt x="3" y="2"/>
                      </a:lnTo>
                      <a:lnTo>
                        <a:pt x="4" y="2"/>
                      </a:lnTo>
                      <a:lnTo>
                        <a:pt x="4" y="0"/>
                      </a:lnTo>
                      <a:lnTo>
                        <a:pt x="3" y="0"/>
                      </a:lnTo>
                      <a:lnTo>
                        <a:pt x="3" y="0"/>
                      </a:lnTo>
                      <a:lnTo>
                        <a:pt x="0" y="0"/>
                      </a:lnTo>
                      <a:lnTo>
                        <a:pt x="0" y="5"/>
                      </a:lnTo>
                      <a:lnTo>
                        <a:pt x="3" y="5"/>
                      </a:lnTo>
                      <a:lnTo>
                        <a:pt x="3" y="4"/>
                      </a:lnTo>
                      <a:lnTo>
                        <a:pt x="4" y="4"/>
                      </a:lnTo>
                      <a:lnTo>
                        <a:pt x="4" y="4"/>
                      </a:lnTo>
                      <a:close/>
                      <a:moveTo>
                        <a:pt x="3" y="2"/>
                      </a:moveTo>
                      <a:lnTo>
                        <a:pt x="1" y="2"/>
                      </a:lnTo>
                      <a:lnTo>
                        <a:pt x="1" y="0"/>
                      </a:lnTo>
                      <a:lnTo>
                        <a:pt x="3" y="0"/>
                      </a:lnTo>
                      <a:lnTo>
                        <a:pt x="3" y="2"/>
                      </a:lnTo>
                      <a:lnTo>
                        <a:pt x="3" y="2"/>
                      </a:lnTo>
                      <a:close/>
                      <a:moveTo>
                        <a:pt x="3" y="4"/>
                      </a:moveTo>
                      <a:lnTo>
                        <a:pt x="1" y="4"/>
                      </a:lnTo>
                      <a:lnTo>
                        <a:pt x="1" y="3"/>
                      </a:lnTo>
                      <a:lnTo>
                        <a:pt x="3" y="3"/>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39" name="Freeform 997"/>
                <p:cNvSpPr>
                  <a:spLocks/>
                </p:cNvSpPr>
                <p:nvPr/>
              </p:nvSpPr>
              <p:spPr bwMode="auto">
                <a:xfrm>
                  <a:off x="4681617" y="2599549"/>
                  <a:ext cx="22420" cy="44835"/>
                </a:xfrm>
                <a:custGeom>
                  <a:avLst/>
                  <a:gdLst>
                    <a:gd name="T0" fmla="*/ 3 w 3"/>
                    <a:gd name="T1" fmla="*/ 1 h 6"/>
                    <a:gd name="T2" fmla="*/ 3 w 3"/>
                    <a:gd name="T3" fmla="*/ 0 h 6"/>
                    <a:gd name="T4" fmla="*/ 2 w 3"/>
                    <a:gd name="T5" fmla="*/ 0 h 6"/>
                    <a:gd name="T6" fmla="*/ 2 w 3"/>
                    <a:gd name="T7" fmla="*/ 1 h 6"/>
                    <a:gd name="T8" fmla="*/ 2 w 3"/>
                    <a:gd name="T9" fmla="*/ 1 h 6"/>
                    <a:gd name="T10" fmla="*/ 2 w 3"/>
                    <a:gd name="T11" fmla="*/ 3 h 6"/>
                    <a:gd name="T12" fmla="*/ 1 w 3"/>
                    <a:gd name="T13" fmla="*/ 3 h 6"/>
                    <a:gd name="T14" fmla="*/ 1 w 3"/>
                    <a:gd name="T15" fmla="*/ 4 h 6"/>
                    <a:gd name="T16" fmla="*/ 0 w 3"/>
                    <a:gd name="T17" fmla="*/ 4 h 6"/>
                    <a:gd name="T18" fmla="*/ 0 w 3"/>
                    <a:gd name="T19" fmla="*/ 6 h 6"/>
                    <a:gd name="T20" fmla="*/ 1 w 3"/>
                    <a:gd name="T21" fmla="*/ 6 h 6"/>
                    <a:gd name="T22" fmla="*/ 1 w 3"/>
                    <a:gd name="T23" fmla="*/ 4 h 6"/>
                    <a:gd name="T24" fmla="*/ 2 w 3"/>
                    <a:gd name="T25" fmla="*/ 4 h 6"/>
                    <a:gd name="T26" fmla="*/ 2 w 3"/>
                    <a:gd name="T27" fmla="*/ 3 h 6"/>
                    <a:gd name="T28" fmla="*/ 2 w 3"/>
                    <a:gd name="T29" fmla="*/ 3 h 6"/>
                    <a:gd name="T30" fmla="*/ 2 w 3"/>
                    <a:gd name="T31" fmla="*/ 1 h 6"/>
                    <a:gd name="T32" fmla="*/ 3 w 3"/>
                    <a:gd name="T33" fmla="*/ 1 h 6"/>
                    <a:gd name="T34" fmla="*/ 3 w 3"/>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6">
                      <a:moveTo>
                        <a:pt x="3" y="1"/>
                      </a:moveTo>
                      <a:lnTo>
                        <a:pt x="3" y="0"/>
                      </a:lnTo>
                      <a:lnTo>
                        <a:pt x="2" y="0"/>
                      </a:lnTo>
                      <a:lnTo>
                        <a:pt x="2" y="1"/>
                      </a:lnTo>
                      <a:lnTo>
                        <a:pt x="2" y="1"/>
                      </a:lnTo>
                      <a:lnTo>
                        <a:pt x="2" y="3"/>
                      </a:lnTo>
                      <a:lnTo>
                        <a:pt x="1" y="3"/>
                      </a:lnTo>
                      <a:lnTo>
                        <a:pt x="1" y="4"/>
                      </a:lnTo>
                      <a:lnTo>
                        <a:pt x="0" y="4"/>
                      </a:lnTo>
                      <a:lnTo>
                        <a:pt x="0" y="6"/>
                      </a:lnTo>
                      <a:lnTo>
                        <a:pt x="1" y="6"/>
                      </a:lnTo>
                      <a:lnTo>
                        <a:pt x="1" y="4"/>
                      </a:lnTo>
                      <a:lnTo>
                        <a:pt x="2" y="4"/>
                      </a:lnTo>
                      <a:lnTo>
                        <a:pt x="2" y="3"/>
                      </a:lnTo>
                      <a:lnTo>
                        <a:pt x="2" y="3"/>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0" name="Freeform 998"/>
                <p:cNvSpPr>
                  <a:spLocks/>
                </p:cNvSpPr>
                <p:nvPr/>
              </p:nvSpPr>
              <p:spPr bwMode="auto">
                <a:xfrm>
                  <a:off x="4718978" y="2607024"/>
                  <a:ext cx="22420" cy="37365"/>
                </a:xfrm>
                <a:custGeom>
                  <a:avLst/>
                  <a:gdLst>
                    <a:gd name="T0" fmla="*/ 3 w 3"/>
                    <a:gd name="T1" fmla="*/ 5 h 5"/>
                    <a:gd name="T2" fmla="*/ 3 w 3"/>
                    <a:gd name="T3" fmla="*/ 0 h 5"/>
                    <a:gd name="T4" fmla="*/ 3 w 3"/>
                    <a:gd name="T5" fmla="*/ 0 h 5"/>
                    <a:gd name="T6" fmla="*/ 3 w 3"/>
                    <a:gd name="T7" fmla="*/ 2 h 5"/>
                    <a:gd name="T8" fmla="*/ 0 w 3"/>
                    <a:gd name="T9" fmla="*/ 2 h 5"/>
                    <a:gd name="T10" fmla="*/ 0 w 3"/>
                    <a:gd name="T11" fmla="*/ 0 h 5"/>
                    <a:gd name="T12" fmla="*/ 0 w 3"/>
                    <a:gd name="T13" fmla="*/ 0 h 5"/>
                    <a:gd name="T14" fmla="*/ 0 w 3"/>
                    <a:gd name="T15" fmla="*/ 5 h 5"/>
                    <a:gd name="T16" fmla="*/ 0 w 3"/>
                    <a:gd name="T17" fmla="*/ 5 h 5"/>
                    <a:gd name="T18" fmla="*/ 0 w 3"/>
                    <a:gd name="T19" fmla="*/ 3 h 5"/>
                    <a:gd name="T20" fmla="*/ 3 w 3"/>
                    <a:gd name="T21" fmla="*/ 3 h 5"/>
                    <a:gd name="T22" fmla="*/ 3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0"/>
                      </a:lnTo>
                      <a:lnTo>
                        <a:pt x="3" y="0"/>
                      </a:lnTo>
                      <a:lnTo>
                        <a:pt x="3" y="2"/>
                      </a:lnTo>
                      <a:lnTo>
                        <a:pt x="0" y="2"/>
                      </a:lnTo>
                      <a:lnTo>
                        <a:pt x="0" y="0"/>
                      </a:lnTo>
                      <a:lnTo>
                        <a:pt x="0" y="0"/>
                      </a:lnTo>
                      <a:lnTo>
                        <a:pt x="0" y="5"/>
                      </a:lnTo>
                      <a:lnTo>
                        <a:pt x="0" y="5"/>
                      </a:lnTo>
                      <a:lnTo>
                        <a:pt x="0" y="3"/>
                      </a:lnTo>
                      <a:lnTo>
                        <a:pt x="3" y="3"/>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1" name="Freeform 999"/>
                <p:cNvSpPr>
                  <a:spLocks noEditPoints="1"/>
                </p:cNvSpPr>
                <p:nvPr/>
              </p:nvSpPr>
              <p:spPr bwMode="auto">
                <a:xfrm>
                  <a:off x="4748868" y="2607024"/>
                  <a:ext cx="29890" cy="37365"/>
                </a:xfrm>
                <a:custGeom>
                  <a:avLst/>
                  <a:gdLst>
                    <a:gd name="T0" fmla="*/ 4 w 4"/>
                    <a:gd name="T1" fmla="*/ 5 h 5"/>
                    <a:gd name="T2" fmla="*/ 4 w 4"/>
                    <a:gd name="T3" fmla="*/ 3 h 5"/>
                    <a:gd name="T4" fmla="*/ 4 w 4"/>
                    <a:gd name="T5" fmla="*/ 3 h 5"/>
                    <a:gd name="T6" fmla="*/ 4 w 4"/>
                    <a:gd name="T7" fmla="*/ 2 h 5"/>
                    <a:gd name="T8" fmla="*/ 4 w 4"/>
                    <a:gd name="T9" fmla="*/ 2 h 5"/>
                    <a:gd name="T10" fmla="*/ 4 w 4"/>
                    <a:gd name="T11" fmla="*/ 0 h 5"/>
                    <a:gd name="T12" fmla="*/ 4 w 4"/>
                    <a:gd name="T13" fmla="*/ 0 h 5"/>
                    <a:gd name="T14" fmla="*/ 4 w 4"/>
                    <a:gd name="T15" fmla="*/ 0 h 5"/>
                    <a:gd name="T16" fmla="*/ 0 w 4"/>
                    <a:gd name="T17" fmla="*/ 0 h 5"/>
                    <a:gd name="T18" fmla="*/ 0 w 4"/>
                    <a:gd name="T19" fmla="*/ 5 h 5"/>
                    <a:gd name="T20" fmla="*/ 2 w 4"/>
                    <a:gd name="T21" fmla="*/ 5 h 5"/>
                    <a:gd name="T22" fmla="*/ 2 w 4"/>
                    <a:gd name="T23" fmla="*/ 3 h 5"/>
                    <a:gd name="T24" fmla="*/ 3 w 4"/>
                    <a:gd name="T25" fmla="*/ 3 h 5"/>
                    <a:gd name="T26" fmla="*/ 3 w 4"/>
                    <a:gd name="T27" fmla="*/ 3 h 5"/>
                    <a:gd name="T28" fmla="*/ 4 w 4"/>
                    <a:gd name="T29" fmla="*/ 3 h 5"/>
                    <a:gd name="T30" fmla="*/ 4 w 4"/>
                    <a:gd name="T31" fmla="*/ 5 h 5"/>
                    <a:gd name="T32" fmla="*/ 4 w 4"/>
                    <a:gd name="T33" fmla="*/ 5 h 5"/>
                    <a:gd name="T34" fmla="*/ 4 w 4"/>
                    <a:gd name="T35" fmla="*/ 5 h 5"/>
                    <a:gd name="T36" fmla="*/ 4 w 4"/>
                    <a:gd name="T37" fmla="*/ 2 h 5"/>
                    <a:gd name="T38" fmla="*/ 2 w 4"/>
                    <a:gd name="T39" fmla="*/ 2 h 5"/>
                    <a:gd name="T40" fmla="*/ 2 w 4"/>
                    <a:gd name="T41" fmla="*/ 0 h 5"/>
                    <a:gd name="T42" fmla="*/ 4 w 4"/>
                    <a:gd name="T43" fmla="*/ 0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4" y="3"/>
                      </a:lnTo>
                      <a:lnTo>
                        <a:pt x="4" y="2"/>
                      </a:lnTo>
                      <a:lnTo>
                        <a:pt x="4" y="2"/>
                      </a:lnTo>
                      <a:lnTo>
                        <a:pt x="4" y="0"/>
                      </a:lnTo>
                      <a:lnTo>
                        <a:pt x="4" y="0"/>
                      </a:lnTo>
                      <a:lnTo>
                        <a:pt x="4" y="0"/>
                      </a:lnTo>
                      <a:lnTo>
                        <a:pt x="0" y="0"/>
                      </a:lnTo>
                      <a:lnTo>
                        <a:pt x="0" y="5"/>
                      </a:lnTo>
                      <a:lnTo>
                        <a:pt x="2" y="5"/>
                      </a:lnTo>
                      <a:lnTo>
                        <a:pt x="2" y="3"/>
                      </a:lnTo>
                      <a:lnTo>
                        <a:pt x="3" y="3"/>
                      </a:lnTo>
                      <a:lnTo>
                        <a:pt x="3" y="3"/>
                      </a:lnTo>
                      <a:lnTo>
                        <a:pt x="4" y="3"/>
                      </a:lnTo>
                      <a:lnTo>
                        <a:pt x="4" y="5"/>
                      </a:lnTo>
                      <a:lnTo>
                        <a:pt x="4" y="5"/>
                      </a:lnTo>
                      <a:lnTo>
                        <a:pt x="4" y="5"/>
                      </a:lnTo>
                      <a:close/>
                      <a:moveTo>
                        <a:pt x="4" y="2"/>
                      </a:moveTo>
                      <a:lnTo>
                        <a:pt x="2" y="2"/>
                      </a:lnTo>
                      <a:lnTo>
                        <a:pt x="2" y="0"/>
                      </a:lnTo>
                      <a:lnTo>
                        <a:pt x="4" y="0"/>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2" name="Freeform 1000"/>
                <p:cNvSpPr>
                  <a:spLocks/>
                </p:cNvSpPr>
                <p:nvPr/>
              </p:nvSpPr>
              <p:spPr bwMode="auto">
                <a:xfrm>
                  <a:off x="4838538" y="2748999"/>
                  <a:ext cx="14945" cy="44835"/>
                </a:xfrm>
                <a:custGeom>
                  <a:avLst/>
                  <a:gdLst>
                    <a:gd name="T0" fmla="*/ 2 w 2"/>
                    <a:gd name="T1" fmla="*/ 6 h 6"/>
                    <a:gd name="T2" fmla="*/ 2 w 2"/>
                    <a:gd name="T3" fmla="*/ 0 h 6"/>
                    <a:gd name="T4" fmla="*/ 2 w 2"/>
                    <a:gd name="T5" fmla="*/ 0 h 6"/>
                    <a:gd name="T6" fmla="*/ 2 w 2"/>
                    <a:gd name="T7" fmla="*/ 1 h 6"/>
                    <a:gd name="T8" fmla="*/ 1 w 2"/>
                    <a:gd name="T9" fmla="*/ 1 h 6"/>
                    <a:gd name="T10" fmla="*/ 1 w 2"/>
                    <a:gd name="T11" fmla="*/ 2 h 6"/>
                    <a:gd name="T12" fmla="*/ 0 w 2"/>
                    <a:gd name="T13" fmla="*/ 2 h 6"/>
                    <a:gd name="T14" fmla="*/ 0 w 2"/>
                    <a:gd name="T15" fmla="*/ 2 h 6"/>
                    <a:gd name="T16" fmla="*/ 1 w 2"/>
                    <a:gd name="T17" fmla="*/ 2 h 6"/>
                    <a:gd name="T18" fmla="*/ 1 w 2"/>
                    <a:gd name="T19" fmla="*/ 2 h 6"/>
                    <a:gd name="T20" fmla="*/ 2 w 2"/>
                    <a:gd name="T21" fmla="*/ 2 h 6"/>
                    <a:gd name="T22" fmla="*/ 2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0"/>
                      </a:lnTo>
                      <a:lnTo>
                        <a:pt x="2" y="0"/>
                      </a:lnTo>
                      <a:lnTo>
                        <a:pt x="2" y="1"/>
                      </a:lnTo>
                      <a:lnTo>
                        <a:pt x="1" y="1"/>
                      </a:lnTo>
                      <a:lnTo>
                        <a:pt x="1" y="2"/>
                      </a:lnTo>
                      <a:lnTo>
                        <a:pt x="0" y="2"/>
                      </a:lnTo>
                      <a:lnTo>
                        <a:pt x="0" y="2"/>
                      </a:lnTo>
                      <a:lnTo>
                        <a:pt x="1" y="2"/>
                      </a:lnTo>
                      <a:lnTo>
                        <a:pt x="1" y="2"/>
                      </a:lnTo>
                      <a:lnTo>
                        <a:pt x="2" y="2"/>
                      </a:lnTo>
                      <a:lnTo>
                        <a:pt x="2"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3" name="Freeform 1001"/>
                <p:cNvSpPr>
                  <a:spLocks noEditPoints="1"/>
                </p:cNvSpPr>
                <p:nvPr/>
              </p:nvSpPr>
              <p:spPr bwMode="auto">
                <a:xfrm>
                  <a:off x="4860958" y="2748999"/>
                  <a:ext cx="37365" cy="44835"/>
                </a:xfrm>
                <a:custGeom>
                  <a:avLst/>
                  <a:gdLst>
                    <a:gd name="T0" fmla="*/ 5 w 5"/>
                    <a:gd name="T1" fmla="*/ 4 h 6"/>
                    <a:gd name="T2" fmla="*/ 5 w 5"/>
                    <a:gd name="T3" fmla="*/ 3 h 6"/>
                    <a:gd name="T4" fmla="*/ 4 w 5"/>
                    <a:gd name="T5" fmla="*/ 3 h 6"/>
                    <a:gd name="T6" fmla="*/ 4 w 5"/>
                    <a:gd name="T7" fmla="*/ 0 h 6"/>
                    <a:gd name="T8" fmla="*/ 3 w 5"/>
                    <a:gd name="T9" fmla="*/ 0 h 6"/>
                    <a:gd name="T10" fmla="*/ 3 w 5"/>
                    <a:gd name="T11" fmla="*/ 1 h 6"/>
                    <a:gd name="T12" fmla="*/ 3 w 5"/>
                    <a:gd name="T13" fmla="*/ 1 h 6"/>
                    <a:gd name="T14" fmla="*/ 3 w 5"/>
                    <a:gd name="T15" fmla="*/ 2 h 6"/>
                    <a:gd name="T16" fmla="*/ 2 w 5"/>
                    <a:gd name="T17" fmla="*/ 2 h 6"/>
                    <a:gd name="T18" fmla="*/ 2 w 5"/>
                    <a:gd name="T19" fmla="*/ 2 h 6"/>
                    <a:gd name="T20" fmla="*/ 1 w 5"/>
                    <a:gd name="T21" fmla="*/ 2 h 6"/>
                    <a:gd name="T22" fmla="*/ 1 w 5"/>
                    <a:gd name="T23" fmla="*/ 3 h 6"/>
                    <a:gd name="T24" fmla="*/ 0 w 5"/>
                    <a:gd name="T25" fmla="*/ 3 h 6"/>
                    <a:gd name="T26" fmla="*/ 0 w 5"/>
                    <a:gd name="T27" fmla="*/ 4 h 6"/>
                    <a:gd name="T28" fmla="*/ 3 w 5"/>
                    <a:gd name="T29" fmla="*/ 4 h 6"/>
                    <a:gd name="T30" fmla="*/ 3 w 5"/>
                    <a:gd name="T31" fmla="*/ 6 h 6"/>
                    <a:gd name="T32" fmla="*/ 4 w 5"/>
                    <a:gd name="T33" fmla="*/ 6 h 6"/>
                    <a:gd name="T34" fmla="*/ 4 w 5"/>
                    <a:gd name="T35" fmla="*/ 4 h 6"/>
                    <a:gd name="T36" fmla="*/ 5 w 5"/>
                    <a:gd name="T37" fmla="*/ 4 h 6"/>
                    <a:gd name="T38" fmla="*/ 5 w 5"/>
                    <a:gd name="T39" fmla="*/ 4 h 6"/>
                    <a:gd name="T40" fmla="*/ 3 w 5"/>
                    <a:gd name="T41" fmla="*/ 3 h 6"/>
                    <a:gd name="T42" fmla="*/ 2 w 5"/>
                    <a:gd name="T43" fmla="*/ 3 h 6"/>
                    <a:gd name="T44" fmla="*/ 2 w 5"/>
                    <a:gd name="T45" fmla="*/ 2 h 6"/>
                    <a:gd name="T46" fmla="*/ 3 w 5"/>
                    <a:gd name="T47" fmla="*/ 2 h 6"/>
                    <a:gd name="T48" fmla="*/ 3 w 5"/>
                    <a:gd name="T49" fmla="*/ 2 h 6"/>
                    <a:gd name="T50" fmla="*/ 3 w 5"/>
                    <a:gd name="T51" fmla="*/ 2 h 6"/>
                    <a:gd name="T52" fmla="*/ 3 w 5"/>
                    <a:gd name="T53" fmla="*/ 3 h 6"/>
                    <a:gd name="T54" fmla="*/ 3 w 5"/>
                    <a:gd name="T5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6">
                      <a:moveTo>
                        <a:pt x="5" y="4"/>
                      </a:moveTo>
                      <a:lnTo>
                        <a:pt x="5" y="3"/>
                      </a:lnTo>
                      <a:lnTo>
                        <a:pt x="4" y="3"/>
                      </a:lnTo>
                      <a:lnTo>
                        <a:pt x="4" y="0"/>
                      </a:lnTo>
                      <a:lnTo>
                        <a:pt x="3" y="0"/>
                      </a:lnTo>
                      <a:lnTo>
                        <a:pt x="3" y="1"/>
                      </a:lnTo>
                      <a:lnTo>
                        <a:pt x="3" y="1"/>
                      </a:lnTo>
                      <a:lnTo>
                        <a:pt x="3" y="2"/>
                      </a:lnTo>
                      <a:lnTo>
                        <a:pt x="2" y="2"/>
                      </a:lnTo>
                      <a:lnTo>
                        <a:pt x="2" y="2"/>
                      </a:lnTo>
                      <a:lnTo>
                        <a:pt x="1" y="2"/>
                      </a:lnTo>
                      <a:lnTo>
                        <a:pt x="1" y="3"/>
                      </a:lnTo>
                      <a:lnTo>
                        <a:pt x="0" y="3"/>
                      </a:lnTo>
                      <a:lnTo>
                        <a:pt x="0" y="4"/>
                      </a:lnTo>
                      <a:lnTo>
                        <a:pt x="3" y="4"/>
                      </a:lnTo>
                      <a:lnTo>
                        <a:pt x="3" y="6"/>
                      </a:lnTo>
                      <a:lnTo>
                        <a:pt x="4" y="6"/>
                      </a:lnTo>
                      <a:lnTo>
                        <a:pt x="4" y="4"/>
                      </a:lnTo>
                      <a:lnTo>
                        <a:pt x="5" y="4"/>
                      </a:lnTo>
                      <a:lnTo>
                        <a:pt x="5" y="4"/>
                      </a:lnTo>
                      <a:close/>
                      <a:moveTo>
                        <a:pt x="3" y="3"/>
                      </a:moveTo>
                      <a:lnTo>
                        <a:pt x="2" y="3"/>
                      </a:lnTo>
                      <a:lnTo>
                        <a:pt x="2" y="2"/>
                      </a:lnTo>
                      <a:lnTo>
                        <a:pt x="3" y="2"/>
                      </a:lnTo>
                      <a:lnTo>
                        <a:pt x="3" y="2"/>
                      </a:lnTo>
                      <a:lnTo>
                        <a:pt x="3" y="2"/>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4" name="Freeform 1002"/>
                <p:cNvSpPr>
                  <a:spLocks noEditPoints="1"/>
                </p:cNvSpPr>
                <p:nvPr/>
              </p:nvSpPr>
              <p:spPr bwMode="auto">
                <a:xfrm>
                  <a:off x="4905793"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2 h 6"/>
                    <a:gd name="T24" fmla="*/ 1 w 4"/>
                    <a:gd name="T25" fmla="*/ 2 h 6"/>
                    <a:gd name="T26" fmla="*/ 1 w 4"/>
                    <a:gd name="T27" fmla="*/ 3 h 6"/>
                    <a:gd name="T28" fmla="*/ 0 w 4"/>
                    <a:gd name="T29" fmla="*/ 3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 name="T44" fmla="*/ 3 w 4"/>
                    <a:gd name="T45" fmla="*/ 2 h 6"/>
                    <a:gd name="T46" fmla="*/ 1 w 4"/>
                    <a:gd name="T47" fmla="*/ 2 h 6"/>
                    <a:gd name="T48" fmla="*/ 1 w 4"/>
                    <a:gd name="T49" fmla="*/ 1 h 6"/>
                    <a:gd name="T50" fmla="*/ 3 w 4"/>
                    <a:gd name="T51" fmla="*/ 1 h 6"/>
                    <a:gd name="T52" fmla="*/ 3 w 4"/>
                    <a:gd name="T53" fmla="*/ 2 h 6"/>
                    <a:gd name="T54" fmla="*/ 3 w 4"/>
                    <a:gd name="T55" fmla="*/ 2 h 6"/>
                    <a:gd name="T56" fmla="*/ 3 w 4"/>
                    <a:gd name="T57" fmla="*/ 5 h 6"/>
                    <a:gd name="T58" fmla="*/ 1 w 4"/>
                    <a:gd name="T59" fmla="*/ 5 h 6"/>
                    <a:gd name="T60" fmla="*/ 1 w 4"/>
                    <a:gd name="T61" fmla="*/ 3 h 6"/>
                    <a:gd name="T62" fmla="*/ 3 w 4"/>
                    <a:gd name="T63" fmla="*/ 3 h 6"/>
                    <a:gd name="T64" fmla="*/ 3 w 4"/>
                    <a:gd name="T65" fmla="*/ 5 h 6"/>
                    <a:gd name="T66" fmla="*/ 3 w 4"/>
                    <a:gd name="T6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5"/>
                      </a:moveTo>
                      <a:lnTo>
                        <a:pt x="4" y="3"/>
                      </a:lnTo>
                      <a:lnTo>
                        <a:pt x="3" y="3"/>
                      </a:lnTo>
                      <a:lnTo>
                        <a:pt x="3" y="2"/>
                      </a:lnTo>
                      <a:lnTo>
                        <a:pt x="4" y="2"/>
                      </a:lnTo>
                      <a:lnTo>
                        <a:pt x="4" y="1"/>
                      </a:lnTo>
                      <a:lnTo>
                        <a:pt x="3" y="1"/>
                      </a:lnTo>
                      <a:lnTo>
                        <a:pt x="3" y="0"/>
                      </a:lnTo>
                      <a:lnTo>
                        <a:pt x="1" y="0"/>
                      </a:lnTo>
                      <a:lnTo>
                        <a:pt x="1" y="1"/>
                      </a:lnTo>
                      <a:lnTo>
                        <a:pt x="0" y="1"/>
                      </a:lnTo>
                      <a:lnTo>
                        <a:pt x="0" y="2"/>
                      </a:lnTo>
                      <a:lnTo>
                        <a:pt x="1" y="2"/>
                      </a:lnTo>
                      <a:lnTo>
                        <a:pt x="1" y="3"/>
                      </a:lnTo>
                      <a:lnTo>
                        <a:pt x="0" y="3"/>
                      </a:lnTo>
                      <a:lnTo>
                        <a:pt x="0" y="5"/>
                      </a:lnTo>
                      <a:lnTo>
                        <a:pt x="1" y="5"/>
                      </a:lnTo>
                      <a:lnTo>
                        <a:pt x="1"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5" name="Freeform 1003"/>
                <p:cNvSpPr>
                  <a:spLocks/>
                </p:cNvSpPr>
                <p:nvPr/>
              </p:nvSpPr>
              <p:spPr bwMode="auto">
                <a:xfrm>
                  <a:off x="4935683" y="2748999"/>
                  <a:ext cx="29890" cy="44835"/>
                </a:xfrm>
                <a:custGeom>
                  <a:avLst/>
                  <a:gdLst>
                    <a:gd name="T0" fmla="*/ 4 w 4"/>
                    <a:gd name="T1" fmla="*/ 6 h 6"/>
                    <a:gd name="T2" fmla="*/ 4 w 4"/>
                    <a:gd name="T3" fmla="*/ 5 h 6"/>
                    <a:gd name="T4" fmla="*/ 2 w 4"/>
                    <a:gd name="T5" fmla="*/ 5 h 6"/>
                    <a:gd name="T6" fmla="*/ 2 w 4"/>
                    <a:gd name="T7" fmla="*/ 4 h 6"/>
                    <a:gd name="T8" fmla="*/ 3 w 4"/>
                    <a:gd name="T9" fmla="*/ 4 h 6"/>
                    <a:gd name="T10" fmla="*/ 3 w 4"/>
                    <a:gd name="T11" fmla="*/ 3 h 6"/>
                    <a:gd name="T12" fmla="*/ 4 w 4"/>
                    <a:gd name="T13" fmla="*/ 3 h 6"/>
                    <a:gd name="T14" fmla="*/ 4 w 4"/>
                    <a:gd name="T15" fmla="*/ 2 h 6"/>
                    <a:gd name="T16" fmla="*/ 4 w 4"/>
                    <a:gd name="T17" fmla="*/ 2 h 6"/>
                    <a:gd name="T18" fmla="*/ 4 w 4"/>
                    <a:gd name="T19" fmla="*/ 1 h 6"/>
                    <a:gd name="T20" fmla="*/ 4 w 4"/>
                    <a:gd name="T21" fmla="*/ 1 h 6"/>
                    <a:gd name="T22" fmla="*/ 4 w 4"/>
                    <a:gd name="T23" fmla="*/ 0 h 6"/>
                    <a:gd name="T24" fmla="*/ 1 w 4"/>
                    <a:gd name="T25" fmla="*/ 0 h 6"/>
                    <a:gd name="T26" fmla="*/ 1 w 4"/>
                    <a:gd name="T27" fmla="*/ 1 h 6"/>
                    <a:gd name="T28" fmla="*/ 0 w 4"/>
                    <a:gd name="T29" fmla="*/ 1 h 6"/>
                    <a:gd name="T30" fmla="*/ 0 w 4"/>
                    <a:gd name="T31" fmla="*/ 2 h 6"/>
                    <a:gd name="T32" fmla="*/ 1 w 4"/>
                    <a:gd name="T33" fmla="*/ 2 h 6"/>
                    <a:gd name="T34" fmla="*/ 1 w 4"/>
                    <a:gd name="T35" fmla="*/ 1 h 6"/>
                    <a:gd name="T36" fmla="*/ 4 w 4"/>
                    <a:gd name="T37" fmla="*/ 1 h 6"/>
                    <a:gd name="T38" fmla="*/ 4 w 4"/>
                    <a:gd name="T39" fmla="*/ 2 h 6"/>
                    <a:gd name="T40" fmla="*/ 3 w 4"/>
                    <a:gd name="T41" fmla="*/ 2 h 6"/>
                    <a:gd name="T42" fmla="*/ 3 w 4"/>
                    <a:gd name="T43" fmla="*/ 3 h 6"/>
                    <a:gd name="T44" fmla="*/ 2 w 4"/>
                    <a:gd name="T45" fmla="*/ 3 h 6"/>
                    <a:gd name="T46" fmla="*/ 2 w 4"/>
                    <a:gd name="T47" fmla="*/ 4 h 6"/>
                    <a:gd name="T48" fmla="*/ 1 w 4"/>
                    <a:gd name="T49" fmla="*/ 4 h 6"/>
                    <a:gd name="T50" fmla="*/ 1 w 4"/>
                    <a:gd name="T51" fmla="*/ 5 h 6"/>
                    <a:gd name="T52" fmla="*/ 0 w 4"/>
                    <a:gd name="T53" fmla="*/ 5 h 6"/>
                    <a:gd name="T54" fmla="*/ 0 w 4"/>
                    <a:gd name="T55" fmla="*/ 6 h 6"/>
                    <a:gd name="T56" fmla="*/ 4 w 4"/>
                    <a:gd name="T57" fmla="*/ 6 h 6"/>
                    <a:gd name="T58" fmla="*/ 4 w 4"/>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6"/>
                      </a:moveTo>
                      <a:lnTo>
                        <a:pt x="4" y="5"/>
                      </a:lnTo>
                      <a:lnTo>
                        <a:pt x="2" y="5"/>
                      </a:lnTo>
                      <a:lnTo>
                        <a:pt x="2" y="4"/>
                      </a:lnTo>
                      <a:lnTo>
                        <a:pt x="3" y="4"/>
                      </a:lnTo>
                      <a:lnTo>
                        <a:pt x="3" y="3"/>
                      </a:lnTo>
                      <a:lnTo>
                        <a:pt x="4" y="3"/>
                      </a:lnTo>
                      <a:lnTo>
                        <a:pt x="4" y="2"/>
                      </a:lnTo>
                      <a:lnTo>
                        <a:pt x="4" y="2"/>
                      </a:lnTo>
                      <a:lnTo>
                        <a:pt x="4" y="1"/>
                      </a:lnTo>
                      <a:lnTo>
                        <a:pt x="4" y="1"/>
                      </a:lnTo>
                      <a:lnTo>
                        <a:pt x="4" y="0"/>
                      </a:lnTo>
                      <a:lnTo>
                        <a:pt x="1" y="0"/>
                      </a:lnTo>
                      <a:lnTo>
                        <a:pt x="1" y="1"/>
                      </a:lnTo>
                      <a:lnTo>
                        <a:pt x="0" y="1"/>
                      </a:lnTo>
                      <a:lnTo>
                        <a:pt x="0" y="2"/>
                      </a:lnTo>
                      <a:lnTo>
                        <a:pt x="1" y="2"/>
                      </a:lnTo>
                      <a:lnTo>
                        <a:pt x="1" y="1"/>
                      </a:lnTo>
                      <a:lnTo>
                        <a:pt x="4" y="1"/>
                      </a:lnTo>
                      <a:lnTo>
                        <a:pt x="4" y="2"/>
                      </a:lnTo>
                      <a:lnTo>
                        <a:pt x="3" y="2"/>
                      </a:lnTo>
                      <a:lnTo>
                        <a:pt x="3" y="3"/>
                      </a:lnTo>
                      <a:lnTo>
                        <a:pt x="2" y="3"/>
                      </a:lnTo>
                      <a:lnTo>
                        <a:pt x="2" y="4"/>
                      </a:lnTo>
                      <a:lnTo>
                        <a:pt x="1" y="4"/>
                      </a:lnTo>
                      <a:lnTo>
                        <a:pt x="1" y="5"/>
                      </a:lnTo>
                      <a:lnTo>
                        <a:pt x="0" y="5"/>
                      </a:lnTo>
                      <a:lnTo>
                        <a:pt x="0"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6" name="Freeform 1004"/>
                <p:cNvSpPr>
                  <a:spLocks/>
                </p:cNvSpPr>
                <p:nvPr/>
              </p:nvSpPr>
              <p:spPr bwMode="auto">
                <a:xfrm>
                  <a:off x="4973043" y="2786364"/>
                  <a:ext cx="7475" cy="7475"/>
                </a:xfrm>
                <a:custGeom>
                  <a:avLst/>
                  <a:gdLst>
                    <a:gd name="T0" fmla="*/ 1 w 1"/>
                    <a:gd name="T1" fmla="*/ 1 h 1"/>
                    <a:gd name="T2" fmla="*/ 1 w 1"/>
                    <a:gd name="T3" fmla="*/ 0 h 1"/>
                    <a:gd name="T4" fmla="*/ 0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0"/>
                      </a:lnTo>
                      <a:lnTo>
                        <a:pt x="0" y="0"/>
                      </a:lnTo>
                      <a:lnTo>
                        <a:pt x="0" y="1"/>
                      </a:lnTo>
                      <a:lnTo>
                        <a:pt x="1" y="1"/>
                      </a:lnTo>
                      <a:lnTo>
                        <a:pt x="1"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7" name="Freeform 1005"/>
                <p:cNvSpPr>
                  <a:spLocks/>
                </p:cNvSpPr>
                <p:nvPr/>
              </p:nvSpPr>
              <p:spPr bwMode="auto">
                <a:xfrm>
                  <a:off x="4987988" y="2748999"/>
                  <a:ext cx="29890" cy="44835"/>
                </a:xfrm>
                <a:custGeom>
                  <a:avLst/>
                  <a:gdLst>
                    <a:gd name="T0" fmla="*/ 4 w 4"/>
                    <a:gd name="T1" fmla="*/ 5 h 6"/>
                    <a:gd name="T2" fmla="*/ 4 w 4"/>
                    <a:gd name="T3" fmla="*/ 2 h 6"/>
                    <a:gd name="T4" fmla="*/ 3 w 4"/>
                    <a:gd name="T5" fmla="*/ 2 h 6"/>
                    <a:gd name="T6" fmla="*/ 3 w 4"/>
                    <a:gd name="T7" fmla="*/ 2 h 6"/>
                    <a:gd name="T8" fmla="*/ 1 w 4"/>
                    <a:gd name="T9" fmla="*/ 2 h 6"/>
                    <a:gd name="T10" fmla="*/ 1 w 4"/>
                    <a:gd name="T11" fmla="*/ 1 h 6"/>
                    <a:gd name="T12" fmla="*/ 4 w 4"/>
                    <a:gd name="T13" fmla="*/ 1 h 6"/>
                    <a:gd name="T14" fmla="*/ 4 w 4"/>
                    <a:gd name="T15" fmla="*/ 0 h 6"/>
                    <a:gd name="T16" fmla="*/ 0 w 4"/>
                    <a:gd name="T17" fmla="*/ 0 h 6"/>
                    <a:gd name="T18" fmla="*/ 0 w 4"/>
                    <a:gd name="T19" fmla="*/ 2 h 6"/>
                    <a:gd name="T20" fmla="*/ 3 w 4"/>
                    <a:gd name="T21" fmla="*/ 2 h 6"/>
                    <a:gd name="T22" fmla="*/ 3 w 4"/>
                    <a:gd name="T23" fmla="*/ 5 h 6"/>
                    <a:gd name="T24" fmla="*/ 1 w 4"/>
                    <a:gd name="T25" fmla="*/ 5 h 6"/>
                    <a:gd name="T26" fmla="*/ 1 w 4"/>
                    <a:gd name="T27" fmla="*/ 4 h 6"/>
                    <a:gd name="T28" fmla="*/ 0 w 4"/>
                    <a:gd name="T29" fmla="*/ 4 h 6"/>
                    <a:gd name="T30" fmla="*/ 0 w 4"/>
                    <a:gd name="T31" fmla="*/ 5 h 6"/>
                    <a:gd name="T32" fmla="*/ 1 w 4"/>
                    <a:gd name="T33" fmla="*/ 5 h 6"/>
                    <a:gd name="T34" fmla="*/ 1 w 4"/>
                    <a:gd name="T35" fmla="*/ 6 h 6"/>
                    <a:gd name="T36" fmla="*/ 3 w 4"/>
                    <a:gd name="T37" fmla="*/ 6 h 6"/>
                    <a:gd name="T38" fmla="*/ 3 w 4"/>
                    <a:gd name="T39" fmla="*/ 5 h 6"/>
                    <a:gd name="T40" fmla="*/ 4 w 4"/>
                    <a:gd name="T41" fmla="*/ 5 h 6"/>
                    <a:gd name="T42" fmla="*/ 4 w 4"/>
                    <a:gd name="T4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5"/>
                      </a:moveTo>
                      <a:lnTo>
                        <a:pt x="4" y="2"/>
                      </a:lnTo>
                      <a:lnTo>
                        <a:pt x="3" y="2"/>
                      </a:lnTo>
                      <a:lnTo>
                        <a:pt x="3" y="2"/>
                      </a:lnTo>
                      <a:lnTo>
                        <a:pt x="1" y="2"/>
                      </a:lnTo>
                      <a:lnTo>
                        <a:pt x="1" y="1"/>
                      </a:lnTo>
                      <a:lnTo>
                        <a:pt x="4" y="1"/>
                      </a:lnTo>
                      <a:lnTo>
                        <a:pt x="4" y="0"/>
                      </a:lnTo>
                      <a:lnTo>
                        <a:pt x="0" y="0"/>
                      </a:lnTo>
                      <a:lnTo>
                        <a:pt x="0" y="2"/>
                      </a:lnTo>
                      <a:lnTo>
                        <a:pt x="3" y="2"/>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8" name="Freeform 1006"/>
                <p:cNvSpPr>
                  <a:spLocks noEditPoints="1"/>
                </p:cNvSpPr>
                <p:nvPr/>
              </p:nvSpPr>
              <p:spPr bwMode="auto">
                <a:xfrm>
                  <a:off x="5025353" y="2748999"/>
                  <a:ext cx="22420" cy="44835"/>
                </a:xfrm>
                <a:custGeom>
                  <a:avLst/>
                  <a:gdLst>
                    <a:gd name="T0" fmla="*/ 3 w 3"/>
                    <a:gd name="T1" fmla="*/ 4 h 6"/>
                    <a:gd name="T2" fmla="*/ 3 w 3"/>
                    <a:gd name="T3" fmla="*/ 1 h 6"/>
                    <a:gd name="T4" fmla="*/ 3 w 3"/>
                    <a:gd name="T5" fmla="*/ 1 h 6"/>
                    <a:gd name="T6" fmla="*/ 3 w 3"/>
                    <a:gd name="T7" fmla="*/ 0 h 6"/>
                    <a:gd name="T8" fmla="*/ 0 w 3"/>
                    <a:gd name="T9" fmla="*/ 0 h 6"/>
                    <a:gd name="T10" fmla="*/ 0 w 3"/>
                    <a:gd name="T11" fmla="*/ 1 h 6"/>
                    <a:gd name="T12" fmla="*/ 0 w 3"/>
                    <a:gd name="T13" fmla="*/ 1 h 6"/>
                    <a:gd name="T14" fmla="*/ 0 w 3"/>
                    <a:gd name="T15" fmla="*/ 2 h 6"/>
                    <a:gd name="T16" fmla="*/ 0 w 3"/>
                    <a:gd name="T17" fmla="*/ 2 h 6"/>
                    <a:gd name="T18" fmla="*/ 0 w 3"/>
                    <a:gd name="T19" fmla="*/ 3 h 6"/>
                    <a:gd name="T20" fmla="*/ 3 w 3"/>
                    <a:gd name="T21" fmla="*/ 3 h 6"/>
                    <a:gd name="T22" fmla="*/ 3 w 3"/>
                    <a:gd name="T23" fmla="*/ 4 h 6"/>
                    <a:gd name="T24" fmla="*/ 2 w 3"/>
                    <a:gd name="T25" fmla="*/ 4 h 6"/>
                    <a:gd name="T26" fmla="*/ 2 w 3"/>
                    <a:gd name="T27" fmla="*/ 5 h 6"/>
                    <a:gd name="T28" fmla="*/ 0 w 3"/>
                    <a:gd name="T29" fmla="*/ 5 h 6"/>
                    <a:gd name="T30" fmla="*/ 0 w 3"/>
                    <a:gd name="T31" fmla="*/ 6 h 6"/>
                    <a:gd name="T32" fmla="*/ 2 w 3"/>
                    <a:gd name="T33" fmla="*/ 6 h 6"/>
                    <a:gd name="T34" fmla="*/ 2 w 3"/>
                    <a:gd name="T35" fmla="*/ 5 h 6"/>
                    <a:gd name="T36" fmla="*/ 3 w 3"/>
                    <a:gd name="T37" fmla="*/ 5 h 6"/>
                    <a:gd name="T38" fmla="*/ 3 w 3"/>
                    <a:gd name="T39" fmla="*/ 4 h 6"/>
                    <a:gd name="T40" fmla="*/ 3 w 3"/>
                    <a:gd name="T41" fmla="*/ 4 h 6"/>
                    <a:gd name="T42" fmla="*/ 3 w 3"/>
                    <a:gd name="T43" fmla="*/ 4 h 6"/>
                    <a:gd name="T44" fmla="*/ 3 w 3"/>
                    <a:gd name="T45" fmla="*/ 2 h 6"/>
                    <a:gd name="T46" fmla="*/ 0 w 3"/>
                    <a:gd name="T47" fmla="*/ 2 h 6"/>
                    <a:gd name="T48" fmla="*/ 0 w 3"/>
                    <a:gd name="T49" fmla="*/ 1 h 6"/>
                    <a:gd name="T50" fmla="*/ 3 w 3"/>
                    <a:gd name="T51" fmla="*/ 1 h 6"/>
                    <a:gd name="T52" fmla="*/ 3 w 3"/>
                    <a:gd name="T53" fmla="*/ 2 h 6"/>
                    <a:gd name="T54" fmla="*/ 3 w 3"/>
                    <a:gd name="T5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6">
                      <a:moveTo>
                        <a:pt x="3" y="4"/>
                      </a:moveTo>
                      <a:lnTo>
                        <a:pt x="3" y="1"/>
                      </a:lnTo>
                      <a:lnTo>
                        <a:pt x="3" y="1"/>
                      </a:lnTo>
                      <a:lnTo>
                        <a:pt x="3" y="0"/>
                      </a:lnTo>
                      <a:lnTo>
                        <a:pt x="0" y="0"/>
                      </a:lnTo>
                      <a:lnTo>
                        <a:pt x="0" y="1"/>
                      </a:lnTo>
                      <a:lnTo>
                        <a:pt x="0" y="1"/>
                      </a:lnTo>
                      <a:lnTo>
                        <a:pt x="0" y="2"/>
                      </a:lnTo>
                      <a:lnTo>
                        <a:pt x="0" y="2"/>
                      </a:lnTo>
                      <a:lnTo>
                        <a:pt x="0" y="3"/>
                      </a:lnTo>
                      <a:lnTo>
                        <a:pt x="3" y="3"/>
                      </a:lnTo>
                      <a:lnTo>
                        <a:pt x="3" y="4"/>
                      </a:lnTo>
                      <a:lnTo>
                        <a:pt x="2" y="4"/>
                      </a:lnTo>
                      <a:lnTo>
                        <a:pt x="2" y="5"/>
                      </a:lnTo>
                      <a:lnTo>
                        <a:pt x="0" y="5"/>
                      </a:lnTo>
                      <a:lnTo>
                        <a:pt x="0" y="6"/>
                      </a:lnTo>
                      <a:lnTo>
                        <a:pt x="2" y="6"/>
                      </a:lnTo>
                      <a:lnTo>
                        <a:pt x="2" y="5"/>
                      </a:lnTo>
                      <a:lnTo>
                        <a:pt x="3" y="5"/>
                      </a:lnTo>
                      <a:lnTo>
                        <a:pt x="3" y="4"/>
                      </a:lnTo>
                      <a:lnTo>
                        <a:pt x="3" y="4"/>
                      </a:lnTo>
                      <a:lnTo>
                        <a:pt x="3" y="4"/>
                      </a:lnTo>
                      <a:close/>
                      <a:moveTo>
                        <a:pt x="3" y="2"/>
                      </a:moveTo>
                      <a:lnTo>
                        <a:pt x="0" y="2"/>
                      </a:lnTo>
                      <a:lnTo>
                        <a:pt x="0"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49" name="Freeform 1007"/>
                <p:cNvSpPr>
                  <a:spLocks/>
                </p:cNvSpPr>
                <p:nvPr/>
              </p:nvSpPr>
              <p:spPr bwMode="auto">
                <a:xfrm>
                  <a:off x="5055243" y="2748999"/>
                  <a:ext cx="29890" cy="44835"/>
                </a:xfrm>
                <a:custGeom>
                  <a:avLst/>
                  <a:gdLst>
                    <a:gd name="T0" fmla="*/ 4 w 4"/>
                    <a:gd name="T1" fmla="*/ 2 h 6"/>
                    <a:gd name="T2" fmla="*/ 4 w 4"/>
                    <a:gd name="T3" fmla="*/ 0 h 6"/>
                    <a:gd name="T4" fmla="*/ 0 w 4"/>
                    <a:gd name="T5" fmla="*/ 0 h 6"/>
                    <a:gd name="T6" fmla="*/ 0 w 4"/>
                    <a:gd name="T7" fmla="*/ 1 h 6"/>
                    <a:gd name="T8" fmla="*/ 3 w 4"/>
                    <a:gd name="T9" fmla="*/ 1 h 6"/>
                    <a:gd name="T10" fmla="*/ 3 w 4"/>
                    <a:gd name="T11" fmla="*/ 2 h 6"/>
                    <a:gd name="T12" fmla="*/ 3 w 4"/>
                    <a:gd name="T13" fmla="*/ 2 h 6"/>
                    <a:gd name="T14" fmla="*/ 3 w 4"/>
                    <a:gd name="T15" fmla="*/ 4 h 6"/>
                    <a:gd name="T16" fmla="*/ 2 w 4"/>
                    <a:gd name="T17" fmla="*/ 4 h 6"/>
                    <a:gd name="T18" fmla="*/ 2 w 4"/>
                    <a:gd name="T19" fmla="*/ 6 h 6"/>
                    <a:gd name="T20" fmla="*/ 3 w 4"/>
                    <a:gd name="T21" fmla="*/ 6 h 6"/>
                    <a:gd name="T22" fmla="*/ 3 w 4"/>
                    <a:gd name="T23" fmla="*/ 4 h 6"/>
                    <a:gd name="T24" fmla="*/ 3 w 4"/>
                    <a:gd name="T25" fmla="*/ 4 h 6"/>
                    <a:gd name="T26" fmla="*/ 3 w 4"/>
                    <a:gd name="T27" fmla="*/ 2 h 6"/>
                    <a:gd name="T28" fmla="*/ 4 w 4"/>
                    <a:gd name="T29" fmla="*/ 2 h 6"/>
                    <a:gd name="T30" fmla="*/ 4 w 4"/>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6">
                      <a:moveTo>
                        <a:pt x="4" y="2"/>
                      </a:moveTo>
                      <a:lnTo>
                        <a:pt x="4" y="0"/>
                      </a:lnTo>
                      <a:lnTo>
                        <a:pt x="0" y="0"/>
                      </a:lnTo>
                      <a:lnTo>
                        <a:pt x="0" y="1"/>
                      </a:lnTo>
                      <a:lnTo>
                        <a:pt x="3" y="1"/>
                      </a:lnTo>
                      <a:lnTo>
                        <a:pt x="3" y="2"/>
                      </a:lnTo>
                      <a:lnTo>
                        <a:pt x="3" y="2"/>
                      </a:lnTo>
                      <a:lnTo>
                        <a:pt x="3" y="4"/>
                      </a:lnTo>
                      <a:lnTo>
                        <a:pt x="2" y="4"/>
                      </a:lnTo>
                      <a:lnTo>
                        <a:pt x="2" y="6"/>
                      </a:lnTo>
                      <a:lnTo>
                        <a:pt x="3" y="6"/>
                      </a:lnTo>
                      <a:lnTo>
                        <a:pt x="3" y="4"/>
                      </a:lnTo>
                      <a:lnTo>
                        <a:pt x="3" y="4"/>
                      </a:lnTo>
                      <a:lnTo>
                        <a:pt x="3" y="2"/>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0" name="Freeform 1008"/>
                <p:cNvSpPr>
                  <a:spLocks/>
                </p:cNvSpPr>
                <p:nvPr/>
              </p:nvSpPr>
              <p:spPr bwMode="auto">
                <a:xfrm>
                  <a:off x="4577002" y="2748999"/>
                  <a:ext cx="29890" cy="44835"/>
                </a:xfrm>
                <a:custGeom>
                  <a:avLst/>
                  <a:gdLst>
                    <a:gd name="T0" fmla="*/ 4 w 4"/>
                    <a:gd name="T1" fmla="*/ 6 h 6"/>
                    <a:gd name="T2" fmla="*/ 4 w 4"/>
                    <a:gd name="T3" fmla="*/ 5 h 6"/>
                    <a:gd name="T4" fmla="*/ 3 w 4"/>
                    <a:gd name="T5" fmla="*/ 5 h 6"/>
                    <a:gd name="T6" fmla="*/ 3 w 4"/>
                    <a:gd name="T7" fmla="*/ 4 h 6"/>
                    <a:gd name="T8" fmla="*/ 2 w 4"/>
                    <a:gd name="T9" fmla="*/ 4 h 6"/>
                    <a:gd name="T10" fmla="*/ 2 w 4"/>
                    <a:gd name="T11" fmla="*/ 3 h 6"/>
                    <a:gd name="T12" fmla="*/ 1 w 4"/>
                    <a:gd name="T13" fmla="*/ 3 h 6"/>
                    <a:gd name="T14" fmla="*/ 1 w 4"/>
                    <a:gd name="T15" fmla="*/ 2 h 6"/>
                    <a:gd name="T16" fmla="*/ 2 w 4"/>
                    <a:gd name="T17" fmla="*/ 2 h 6"/>
                    <a:gd name="T18" fmla="*/ 2 w 4"/>
                    <a:gd name="T19" fmla="*/ 2 h 6"/>
                    <a:gd name="T20" fmla="*/ 3 w 4"/>
                    <a:gd name="T21" fmla="*/ 2 h 6"/>
                    <a:gd name="T22" fmla="*/ 3 w 4"/>
                    <a:gd name="T23" fmla="*/ 1 h 6"/>
                    <a:gd name="T24" fmla="*/ 4 w 4"/>
                    <a:gd name="T25" fmla="*/ 1 h 6"/>
                    <a:gd name="T26" fmla="*/ 4 w 4"/>
                    <a:gd name="T27" fmla="*/ 0 h 6"/>
                    <a:gd name="T28" fmla="*/ 3 w 4"/>
                    <a:gd name="T29" fmla="*/ 0 h 6"/>
                    <a:gd name="T30" fmla="*/ 3 w 4"/>
                    <a:gd name="T31" fmla="*/ 1 h 6"/>
                    <a:gd name="T32" fmla="*/ 2 w 4"/>
                    <a:gd name="T33" fmla="*/ 1 h 6"/>
                    <a:gd name="T34" fmla="*/ 2 w 4"/>
                    <a:gd name="T35" fmla="*/ 2 h 6"/>
                    <a:gd name="T36" fmla="*/ 1 w 4"/>
                    <a:gd name="T37" fmla="*/ 2 h 6"/>
                    <a:gd name="T38" fmla="*/ 1 w 4"/>
                    <a:gd name="T39" fmla="*/ 2 h 6"/>
                    <a:gd name="T40" fmla="*/ 0 w 4"/>
                    <a:gd name="T41" fmla="*/ 2 h 6"/>
                    <a:gd name="T42" fmla="*/ 0 w 4"/>
                    <a:gd name="T43" fmla="*/ 0 h 6"/>
                    <a:gd name="T44" fmla="*/ 0 w 4"/>
                    <a:gd name="T45" fmla="*/ 0 h 6"/>
                    <a:gd name="T46" fmla="*/ 0 w 4"/>
                    <a:gd name="T47" fmla="*/ 6 h 6"/>
                    <a:gd name="T48" fmla="*/ 0 w 4"/>
                    <a:gd name="T49" fmla="*/ 6 h 6"/>
                    <a:gd name="T50" fmla="*/ 0 w 4"/>
                    <a:gd name="T51" fmla="*/ 3 h 6"/>
                    <a:gd name="T52" fmla="*/ 1 w 4"/>
                    <a:gd name="T53" fmla="*/ 3 h 6"/>
                    <a:gd name="T54" fmla="*/ 1 w 4"/>
                    <a:gd name="T55" fmla="*/ 4 h 6"/>
                    <a:gd name="T56" fmla="*/ 2 w 4"/>
                    <a:gd name="T57" fmla="*/ 4 h 6"/>
                    <a:gd name="T58" fmla="*/ 2 w 4"/>
                    <a:gd name="T59" fmla="*/ 5 h 6"/>
                    <a:gd name="T60" fmla="*/ 3 w 4"/>
                    <a:gd name="T61" fmla="*/ 5 h 6"/>
                    <a:gd name="T62" fmla="*/ 3 w 4"/>
                    <a:gd name="T63" fmla="*/ 6 h 6"/>
                    <a:gd name="T64" fmla="*/ 4 w 4"/>
                    <a:gd name="T65" fmla="*/ 6 h 6"/>
                    <a:gd name="T66" fmla="*/ 4 w 4"/>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6">
                      <a:moveTo>
                        <a:pt x="4" y="6"/>
                      </a:moveTo>
                      <a:lnTo>
                        <a:pt x="4" y="5"/>
                      </a:lnTo>
                      <a:lnTo>
                        <a:pt x="3" y="5"/>
                      </a:lnTo>
                      <a:lnTo>
                        <a:pt x="3" y="4"/>
                      </a:lnTo>
                      <a:lnTo>
                        <a:pt x="2" y="4"/>
                      </a:lnTo>
                      <a:lnTo>
                        <a:pt x="2" y="3"/>
                      </a:lnTo>
                      <a:lnTo>
                        <a:pt x="1" y="3"/>
                      </a:lnTo>
                      <a:lnTo>
                        <a:pt x="1" y="2"/>
                      </a:lnTo>
                      <a:lnTo>
                        <a:pt x="2" y="2"/>
                      </a:lnTo>
                      <a:lnTo>
                        <a:pt x="2" y="2"/>
                      </a:lnTo>
                      <a:lnTo>
                        <a:pt x="3" y="2"/>
                      </a:lnTo>
                      <a:lnTo>
                        <a:pt x="3" y="1"/>
                      </a:lnTo>
                      <a:lnTo>
                        <a:pt x="4" y="1"/>
                      </a:lnTo>
                      <a:lnTo>
                        <a:pt x="4" y="0"/>
                      </a:lnTo>
                      <a:lnTo>
                        <a:pt x="3" y="0"/>
                      </a:lnTo>
                      <a:lnTo>
                        <a:pt x="3" y="1"/>
                      </a:lnTo>
                      <a:lnTo>
                        <a:pt x="2" y="1"/>
                      </a:lnTo>
                      <a:lnTo>
                        <a:pt x="2" y="2"/>
                      </a:lnTo>
                      <a:lnTo>
                        <a:pt x="1" y="2"/>
                      </a:lnTo>
                      <a:lnTo>
                        <a:pt x="1" y="2"/>
                      </a:lnTo>
                      <a:lnTo>
                        <a:pt x="0" y="2"/>
                      </a:lnTo>
                      <a:lnTo>
                        <a:pt x="0" y="0"/>
                      </a:lnTo>
                      <a:lnTo>
                        <a:pt x="0" y="0"/>
                      </a:lnTo>
                      <a:lnTo>
                        <a:pt x="0" y="6"/>
                      </a:lnTo>
                      <a:lnTo>
                        <a:pt x="0" y="6"/>
                      </a:lnTo>
                      <a:lnTo>
                        <a:pt x="0" y="3"/>
                      </a:lnTo>
                      <a:lnTo>
                        <a:pt x="1" y="3"/>
                      </a:lnTo>
                      <a:lnTo>
                        <a:pt x="1" y="4"/>
                      </a:lnTo>
                      <a:lnTo>
                        <a:pt x="2" y="4"/>
                      </a:lnTo>
                      <a:lnTo>
                        <a:pt x="2" y="5"/>
                      </a:lnTo>
                      <a:lnTo>
                        <a:pt x="3" y="5"/>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1" name="Freeform 1009"/>
                <p:cNvSpPr>
                  <a:spLocks/>
                </p:cNvSpPr>
                <p:nvPr/>
              </p:nvSpPr>
              <p:spPr bwMode="auto">
                <a:xfrm>
                  <a:off x="4614362" y="2748999"/>
                  <a:ext cx="22420" cy="44835"/>
                </a:xfrm>
                <a:custGeom>
                  <a:avLst/>
                  <a:gdLst>
                    <a:gd name="T0" fmla="*/ 3 w 3"/>
                    <a:gd name="T1" fmla="*/ 6 h 6"/>
                    <a:gd name="T2" fmla="*/ 3 w 3"/>
                    <a:gd name="T3" fmla="*/ 5 h 6"/>
                    <a:gd name="T4" fmla="*/ 0 w 3"/>
                    <a:gd name="T5" fmla="*/ 5 h 6"/>
                    <a:gd name="T6" fmla="*/ 0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0" y="5"/>
                      </a:lnTo>
                      <a:lnTo>
                        <a:pt x="0"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2" name="Freeform 1010"/>
                <p:cNvSpPr>
                  <a:spLocks noEditPoints="1"/>
                </p:cNvSpPr>
                <p:nvPr/>
              </p:nvSpPr>
              <p:spPr bwMode="auto">
                <a:xfrm>
                  <a:off x="4644252" y="2748999"/>
                  <a:ext cx="29890" cy="44835"/>
                </a:xfrm>
                <a:custGeom>
                  <a:avLst/>
                  <a:gdLst>
                    <a:gd name="T0" fmla="*/ 4 w 4"/>
                    <a:gd name="T1" fmla="*/ 5 h 6"/>
                    <a:gd name="T2" fmla="*/ 4 w 4"/>
                    <a:gd name="T3" fmla="*/ 3 h 6"/>
                    <a:gd name="T4" fmla="*/ 3 w 4"/>
                    <a:gd name="T5" fmla="*/ 3 h 6"/>
                    <a:gd name="T6" fmla="*/ 3 w 4"/>
                    <a:gd name="T7" fmla="*/ 2 h 6"/>
                    <a:gd name="T8" fmla="*/ 4 w 4"/>
                    <a:gd name="T9" fmla="*/ 2 h 6"/>
                    <a:gd name="T10" fmla="*/ 4 w 4"/>
                    <a:gd name="T11" fmla="*/ 1 h 6"/>
                    <a:gd name="T12" fmla="*/ 3 w 4"/>
                    <a:gd name="T13" fmla="*/ 1 h 6"/>
                    <a:gd name="T14" fmla="*/ 3 w 4"/>
                    <a:gd name="T15" fmla="*/ 0 h 6"/>
                    <a:gd name="T16" fmla="*/ 0 w 4"/>
                    <a:gd name="T17" fmla="*/ 0 h 6"/>
                    <a:gd name="T18" fmla="*/ 0 w 4"/>
                    <a:gd name="T19" fmla="*/ 6 h 6"/>
                    <a:gd name="T20" fmla="*/ 3 w 4"/>
                    <a:gd name="T21" fmla="*/ 6 h 6"/>
                    <a:gd name="T22" fmla="*/ 3 w 4"/>
                    <a:gd name="T23" fmla="*/ 5 h 6"/>
                    <a:gd name="T24" fmla="*/ 4 w 4"/>
                    <a:gd name="T25" fmla="*/ 5 h 6"/>
                    <a:gd name="T26" fmla="*/ 4 w 4"/>
                    <a:gd name="T27" fmla="*/ 5 h 6"/>
                    <a:gd name="T28" fmla="*/ 3 w 4"/>
                    <a:gd name="T29" fmla="*/ 2 h 6"/>
                    <a:gd name="T30" fmla="*/ 1 w 4"/>
                    <a:gd name="T31" fmla="*/ 2 h 6"/>
                    <a:gd name="T32" fmla="*/ 1 w 4"/>
                    <a:gd name="T33" fmla="*/ 1 h 6"/>
                    <a:gd name="T34" fmla="*/ 3 w 4"/>
                    <a:gd name="T35" fmla="*/ 1 h 6"/>
                    <a:gd name="T36" fmla="*/ 3 w 4"/>
                    <a:gd name="T37" fmla="*/ 2 h 6"/>
                    <a:gd name="T38" fmla="*/ 3 w 4"/>
                    <a:gd name="T39" fmla="*/ 2 h 6"/>
                    <a:gd name="T40" fmla="*/ 3 w 4"/>
                    <a:gd name="T41" fmla="*/ 5 h 6"/>
                    <a:gd name="T42" fmla="*/ 1 w 4"/>
                    <a:gd name="T43" fmla="*/ 5 h 6"/>
                    <a:gd name="T44" fmla="*/ 1 w 4"/>
                    <a:gd name="T45" fmla="*/ 3 h 6"/>
                    <a:gd name="T46" fmla="*/ 3 w 4"/>
                    <a:gd name="T47" fmla="*/ 3 h 6"/>
                    <a:gd name="T48" fmla="*/ 3 w 4"/>
                    <a:gd name="T49" fmla="*/ 5 h 6"/>
                    <a:gd name="T50" fmla="*/ 3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3" y="3"/>
                      </a:lnTo>
                      <a:lnTo>
                        <a:pt x="3" y="2"/>
                      </a:lnTo>
                      <a:lnTo>
                        <a:pt x="4" y="2"/>
                      </a:lnTo>
                      <a:lnTo>
                        <a:pt x="4" y="1"/>
                      </a:lnTo>
                      <a:lnTo>
                        <a:pt x="3" y="1"/>
                      </a:lnTo>
                      <a:lnTo>
                        <a:pt x="3" y="0"/>
                      </a:lnTo>
                      <a:lnTo>
                        <a:pt x="0" y="0"/>
                      </a:lnTo>
                      <a:lnTo>
                        <a:pt x="0" y="6"/>
                      </a:lnTo>
                      <a:lnTo>
                        <a:pt x="3" y="6"/>
                      </a:lnTo>
                      <a:lnTo>
                        <a:pt x="3" y="5"/>
                      </a:lnTo>
                      <a:lnTo>
                        <a:pt x="4" y="5"/>
                      </a:lnTo>
                      <a:lnTo>
                        <a:pt x="4" y="5"/>
                      </a:lnTo>
                      <a:close/>
                      <a:moveTo>
                        <a:pt x="3" y="2"/>
                      </a:moveTo>
                      <a:lnTo>
                        <a:pt x="1" y="2"/>
                      </a:lnTo>
                      <a:lnTo>
                        <a:pt x="1" y="1"/>
                      </a:lnTo>
                      <a:lnTo>
                        <a:pt x="3" y="1"/>
                      </a:lnTo>
                      <a:lnTo>
                        <a:pt x="3" y="2"/>
                      </a:lnTo>
                      <a:lnTo>
                        <a:pt x="3" y="2"/>
                      </a:lnTo>
                      <a:close/>
                      <a:moveTo>
                        <a:pt x="3" y="5"/>
                      </a:moveTo>
                      <a:lnTo>
                        <a:pt x="1" y="5"/>
                      </a:lnTo>
                      <a:lnTo>
                        <a:pt x="1" y="3"/>
                      </a:lnTo>
                      <a:lnTo>
                        <a:pt x="3" y="3"/>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3" name="Freeform 1011"/>
                <p:cNvSpPr>
                  <a:spLocks/>
                </p:cNvSpPr>
                <p:nvPr/>
              </p:nvSpPr>
              <p:spPr bwMode="auto">
                <a:xfrm>
                  <a:off x="4681617" y="2741529"/>
                  <a:ext cx="22420" cy="52310"/>
                </a:xfrm>
                <a:custGeom>
                  <a:avLst/>
                  <a:gdLst>
                    <a:gd name="T0" fmla="*/ 3 w 3"/>
                    <a:gd name="T1" fmla="*/ 2 h 7"/>
                    <a:gd name="T2" fmla="*/ 3 w 3"/>
                    <a:gd name="T3" fmla="*/ 0 h 7"/>
                    <a:gd name="T4" fmla="*/ 2 w 3"/>
                    <a:gd name="T5" fmla="*/ 0 h 7"/>
                    <a:gd name="T6" fmla="*/ 2 w 3"/>
                    <a:gd name="T7" fmla="*/ 2 h 7"/>
                    <a:gd name="T8" fmla="*/ 2 w 3"/>
                    <a:gd name="T9" fmla="*/ 2 h 7"/>
                    <a:gd name="T10" fmla="*/ 2 w 3"/>
                    <a:gd name="T11" fmla="*/ 3 h 7"/>
                    <a:gd name="T12" fmla="*/ 1 w 3"/>
                    <a:gd name="T13" fmla="*/ 3 h 7"/>
                    <a:gd name="T14" fmla="*/ 1 w 3"/>
                    <a:gd name="T15" fmla="*/ 5 h 7"/>
                    <a:gd name="T16" fmla="*/ 0 w 3"/>
                    <a:gd name="T17" fmla="*/ 5 h 7"/>
                    <a:gd name="T18" fmla="*/ 0 w 3"/>
                    <a:gd name="T19" fmla="*/ 7 h 7"/>
                    <a:gd name="T20" fmla="*/ 1 w 3"/>
                    <a:gd name="T21" fmla="*/ 7 h 7"/>
                    <a:gd name="T22" fmla="*/ 1 w 3"/>
                    <a:gd name="T23" fmla="*/ 5 h 7"/>
                    <a:gd name="T24" fmla="*/ 2 w 3"/>
                    <a:gd name="T25" fmla="*/ 5 h 7"/>
                    <a:gd name="T26" fmla="*/ 2 w 3"/>
                    <a:gd name="T27" fmla="*/ 3 h 7"/>
                    <a:gd name="T28" fmla="*/ 2 w 3"/>
                    <a:gd name="T29" fmla="*/ 3 h 7"/>
                    <a:gd name="T30" fmla="*/ 2 w 3"/>
                    <a:gd name="T31" fmla="*/ 2 h 7"/>
                    <a:gd name="T32" fmla="*/ 3 w 3"/>
                    <a:gd name="T33" fmla="*/ 2 h 7"/>
                    <a:gd name="T34" fmla="*/ 3 w 3"/>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7">
                      <a:moveTo>
                        <a:pt x="3" y="2"/>
                      </a:moveTo>
                      <a:lnTo>
                        <a:pt x="3" y="0"/>
                      </a:lnTo>
                      <a:lnTo>
                        <a:pt x="2" y="0"/>
                      </a:lnTo>
                      <a:lnTo>
                        <a:pt x="2" y="2"/>
                      </a:lnTo>
                      <a:lnTo>
                        <a:pt x="2" y="2"/>
                      </a:lnTo>
                      <a:lnTo>
                        <a:pt x="2" y="3"/>
                      </a:lnTo>
                      <a:lnTo>
                        <a:pt x="1" y="3"/>
                      </a:lnTo>
                      <a:lnTo>
                        <a:pt x="1" y="5"/>
                      </a:lnTo>
                      <a:lnTo>
                        <a:pt x="0" y="5"/>
                      </a:lnTo>
                      <a:lnTo>
                        <a:pt x="0" y="7"/>
                      </a:lnTo>
                      <a:lnTo>
                        <a:pt x="1" y="7"/>
                      </a:lnTo>
                      <a:lnTo>
                        <a:pt x="1" y="5"/>
                      </a:lnTo>
                      <a:lnTo>
                        <a:pt x="2" y="5"/>
                      </a:lnTo>
                      <a:lnTo>
                        <a:pt x="2" y="3"/>
                      </a:lnTo>
                      <a:lnTo>
                        <a:pt x="2" y="3"/>
                      </a:lnTo>
                      <a:lnTo>
                        <a:pt x="2"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4" name="Freeform 1012"/>
                <p:cNvSpPr>
                  <a:spLocks/>
                </p:cNvSpPr>
                <p:nvPr/>
              </p:nvSpPr>
              <p:spPr bwMode="auto">
                <a:xfrm>
                  <a:off x="4718978" y="2748999"/>
                  <a:ext cx="22420" cy="44835"/>
                </a:xfrm>
                <a:custGeom>
                  <a:avLst/>
                  <a:gdLst>
                    <a:gd name="T0" fmla="*/ 3 w 3"/>
                    <a:gd name="T1" fmla="*/ 6 h 6"/>
                    <a:gd name="T2" fmla="*/ 3 w 3"/>
                    <a:gd name="T3" fmla="*/ 0 h 6"/>
                    <a:gd name="T4" fmla="*/ 3 w 3"/>
                    <a:gd name="T5" fmla="*/ 0 h 6"/>
                    <a:gd name="T6" fmla="*/ 3 w 3"/>
                    <a:gd name="T7" fmla="*/ 2 h 6"/>
                    <a:gd name="T8" fmla="*/ 0 w 3"/>
                    <a:gd name="T9" fmla="*/ 2 h 6"/>
                    <a:gd name="T10" fmla="*/ 0 w 3"/>
                    <a:gd name="T11" fmla="*/ 0 h 6"/>
                    <a:gd name="T12" fmla="*/ 0 w 3"/>
                    <a:gd name="T13" fmla="*/ 0 h 6"/>
                    <a:gd name="T14" fmla="*/ 0 w 3"/>
                    <a:gd name="T15" fmla="*/ 6 h 6"/>
                    <a:gd name="T16" fmla="*/ 0 w 3"/>
                    <a:gd name="T17" fmla="*/ 6 h 6"/>
                    <a:gd name="T18" fmla="*/ 0 w 3"/>
                    <a:gd name="T19" fmla="*/ 3 h 6"/>
                    <a:gd name="T20" fmla="*/ 3 w 3"/>
                    <a:gd name="T21" fmla="*/ 3 h 6"/>
                    <a:gd name="T22" fmla="*/ 3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0"/>
                      </a:lnTo>
                      <a:lnTo>
                        <a:pt x="3" y="0"/>
                      </a:lnTo>
                      <a:lnTo>
                        <a:pt x="3" y="2"/>
                      </a:lnTo>
                      <a:lnTo>
                        <a:pt x="0" y="2"/>
                      </a:lnTo>
                      <a:lnTo>
                        <a:pt x="0" y="0"/>
                      </a:lnTo>
                      <a:lnTo>
                        <a:pt x="0" y="0"/>
                      </a:lnTo>
                      <a:lnTo>
                        <a:pt x="0" y="6"/>
                      </a:lnTo>
                      <a:lnTo>
                        <a:pt x="0" y="6"/>
                      </a:lnTo>
                      <a:lnTo>
                        <a:pt x="0" y="3"/>
                      </a:lnTo>
                      <a:lnTo>
                        <a:pt x="3" y="3"/>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5" name="Freeform 1013"/>
                <p:cNvSpPr>
                  <a:spLocks noEditPoints="1"/>
                </p:cNvSpPr>
                <p:nvPr/>
              </p:nvSpPr>
              <p:spPr bwMode="auto">
                <a:xfrm>
                  <a:off x="4748868" y="2748999"/>
                  <a:ext cx="29890" cy="44835"/>
                </a:xfrm>
                <a:custGeom>
                  <a:avLst/>
                  <a:gdLst>
                    <a:gd name="T0" fmla="*/ 4 w 4"/>
                    <a:gd name="T1" fmla="*/ 6 h 6"/>
                    <a:gd name="T2" fmla="*/ 4 w 4"/>
                    <a:gd name="T3" fmla="*/ 4 h 6"/>
                    <a:gd name="T4" fmla="*/ 4 w 4"/>
                    <a:gd name="T5" fmla="*/ 4 h 6"/>
                    <a:gd name="T6" fmla="*/ 4 w 4"/>
                    <a:gd name="T7" fmla="*/ 2 h 6"/>
                    <a:gd name="T8" fmla="*/ 4 w 4"/>
                    <a:gd name="T9" fmla="*/ 2 h 6"/>
                    <a:gd name="T10" fmla="*/ 4 w 4"/>
                    <a:gd name="T11" fmla="*/ 1 h 6"/>
                    <a:gd name="T12" fmla="*/ 4 w 4"/>
                    <a:gd name="T13" fmla="*/ 1 h 6"/>
                    <a:gd name="T14" fmla="*/ 4 w 4"/>
                    <a:gd name="T15" fmla="*/ 0 h 6"/>
                    <a:gd name="T16" fmla="*/ 0 w 4"/>
                    <a:gd name="T17" fmla="*/ 0 h 6"/>
                    <a:gd name="T18" fmla="*/ 0 w 4"/>
                    <a:gd name="T19" fmla="*/ 6 h 6"/>
                    <a:gd name="T20" fmla="*/ 2 w 4"/>
                    <a:gd name="T21" fmla="*/ 6 h 6"/>
                    <a:gd name="T22" fmla="*/ 2 w 4"/>
                    <a:gd name="T23" fmla="*/ 3 h 6"/>
                    <a:gd name="T24" fmla="*/ 3 w 4"/>
                    <a:gd name="T25" fmla="*/ 3 h 6"/>
                    <a:gd name="T26" fmla="*/ 3 w 4"/>
                    <a:gd name="T27" fmla="*/ 4 h 6"/>
                    <a:gd name="T28" fmla="*/ 4 w 4"/>
                    <a:gd name="T29" fmla="*/ 4 h 6"/>
                    <a:gd name="T30" fmla="*/ 4 w 4"/>
                    <a:gd name="T31" fmla="*/ 6 h 6"/>
                    <a:gd name="T32" fmla="*/ 4 w 4"/>
                    <a:gd name="T33" fmla="*/ 6 h 6"/>
                    <a:gd name="T34" fmla="*/ 4 w 4"/>
                    <a:gd name="T35" fmla="*/ 6 h 6"/>
                    <a:gd name="T36" fmla="*/ 4 w 4"/>
                    <a:gd name="T37" fmla="*/ 2 h 6"/>
                    <a:gd name="T38" fmla="*/ 2 w 4"/>
                    <a:gd name="T39" fmla="*/ 2 h 6"/>
                    <a:gd name="T40" fmla="*/ 2 w 4"/>
                    <a:gd name="T41" fmla="*/ 1 h 6"/>
                    <a:gd name="T42" fmla="*/ 4 w 4"/>
                    <a:gd name="T43" fmla="*/ 1 h 6"/>
                    <a:gd name="T44" fmla="*/ 4 w 4"/>
                    <a:gd name="T45" fmla="*/ 2 h 6"/>
                    <a:gd name="T46" fmla="*/ 4 w 4"/>
                    <a:gd name="T4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4" y="4"/>
                      </a:lnTo>
                      <a:lnTo>
                        <a:pt x="4" y="2"/>
                      </a:lnTo>
                      <a:lnTo>
                        <a:pt x="4" y="2"/>
                      </a:lnTo>
                      <a:lnTo>
                        <a:pt x="4" y="1"/>
                      </a:lnTo>
                      <a:lnTo>
                        <a:pt x="4" y="1"/>
                      </a:lnTo>
                      <a:lnTo>
                        <a:pt x="4" y="0"/>
                      </a:lnTo>
                      <a:lnTo>
                        <a:pt x="0" y="0"/>
                      </a:lnTo>
                      <a:lnTo>
                        <a:pt x="0" y="6"/>
                      </a:lnTo>
                      <a:lnTo>
                        <a:pt x="2" y="6"/>
                      </a:lnTo>
                      <a:lnTo>
                        <a:pt x="2" y="3"/>
                      </a:lnTo>
                      <a:lnTo>
                        <a:pt x="3" y="3"/>
                      </a:lnTo>
                      <a:lnTo>
                        <a:pt x="3" y="4"/>
                      </a:lnTo>
                      <a:lnTo>
                        <a:pt x="4" y="4"/>
                      </a:lnTo>
                      <a:lnTo>
                        <a:pt x="4" y="6"/>
                      </a:lnTo>
                      <a:lnTo>
                        <a:pt x="4" y="6"/>
                      </a:lnTo>
                      <a:lnTo>
                        <a:pt x="4" y="6"/>
                      </a:lnTo>
                      <a:close/>
                      <a:moveTo>
                        <a:pt x="4" y="2"/>
                      </a:moveTo>
                      <a:lnTo>
                        <a:pt x="2" y="2"/>
                      </a:lnTo>
                      <a:lnTo>
                        <a:pt x="2"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6" name="Freeform 1014"/>
                <p:cNvSpPr>
                  <a:spLocks noEditPoints="1"/>
                </p:cNvSpPr>
                <p:nvPr/>
              </p:nvSpPr>
              <p:spPr bwMode="auto">
                <a:xfrm>
                  <a:off x="1737446" y="2599549"/>
                  <a:ext cx="3915598" cy="2734941"/>
                </a:xfrm>
                <a:custGeom>
                  <a:avLst/>
                  <a:gdLst>
                    <a:gd name="T0" fmla="*/ 348 w 524"/>
                    <a:gd name="T1" fmla="*/ 103 h 366"/>
                    <a:gd name="T2" fmla="*/ 325 w 524"/>
                    <a:gd name="T3" fmla="*/ 111 h 366"/>
                    <a:gd name="T4" fmla="*/ 348 w 524"/>
                    <a:gd name="T5" fmla="*/ 93 h 366"/>
                    <a:gd name="T6" fmla="*/ 325 w 524"/>
                    <a:gd name="T7" fmla="*/ 101 h 366"/>
                    <a:gd name="T8" fmla="*/ 348 w 524"/>
                    <a:gd name="T9" fmla="*/ 84 h 366"/>
                    <a:gd name="T10" fmla="*/ 325 w 524"/>
                    <a:gd name="T11" fmla="*/ 91 h 366"/>
                    <a:gd name="T12" fmla="*/ 155 w 524"/>
                    <a:gd name="T13" fmla="*/ 257 h 366"/>
                    <a:gd name="T14" fmla="*/ 110 w 524"/>
                    <a:gd name="T15" fmla="*/ 265 h 366"/>
                    <a:gd name="T16" fmla="*/ 355 w 524"/>
                    <a:gd name="T17" fmla="*/ 19 h 366"/>
                    <a:gd name="T18" fmla="*/ 310 w 524"/>
                    <a:gd name="T19" fmla="*/ 27 h 366"/>
                    <a:gd name="T20" fmla="*/ 355 w 524"/>
                    <a:gd name="T21" fmla="*/ 0 h 366"/>
                    <a:gd name="T22" fmla="*/ 310 w 524"/>
                    <a:gd name="T23" fmla="*/ 7 h 366"/>
                    <a:gd name="T24" fmla="*/ 262 w 524"/>
                    <a:gd name="T25" fmla="*/ 19 h 366"/>
                    <a:gd name="T26" fmla="*/ 217 w 524"/>
                    <a:gd name="T27" fmla="*/ 27 h 366"/>
                    <a:gd name="T28" fmla="*/ 262 w 524"/>
                    <a:gd name="T29" fmla="*/ 0 h 366"/>
                    <a:gd name="T30" fmla="*/ 217 w 524"/>
                    <a:gd name="T31" fmla="*/ 7 h 366"/>
                    <a:gd name="T32" fmla="*/ 524 w 524"/>
                    <a:gd name="T33" fmla="*/ 143 h 366"/>
                    <a:gd name="T34" fmla="*/ 478 w 524"/>
                    <a:gd name="T35" fmla="*/ 150 h 366"/>
                    <a:gd name="T36" fmla="*/ 524 w 524"/>
                    <a:gd name="T37" fmla="*/ 197 h 366"/>
                    <a:gd name="T38" fmla="*/ 478 w 524"/>
                    <a:gd name="T39" fmla="*/ 205 h 366"/>
                    <a:gd name="T40" fmla="*/ 524 w 524"/>
                    <a:gd name="T41" fmla="*/ 187 h 366"/>
                    <a:gd name="T42" fmla="*/ 478 w 524"/>
                    <a:gd name="T43" fmla="*/ 195 h 366"/>
                    <a:gd name="T44" fmla="*/ 322 w 524"/>
                    <a:gd name="T45" fmla="*/ 197 h 366"/>
                    <a:gd name="T46" fmla="*/ 277 w 524"/>
                    <a:gd name="T47" fmla="*/ 204 h 366"/>
                    <a:gd name="T48" fmla="*/ 322 w 524"/>
                    <a:gd name="T49" fmla="*/ 186 h 366"/>
                    <a:gd name="T50" fmla="*/ 277 w 524"/>
                    <a:gd name="T51" fmla="*/ 194 h 366"/>
                    <a:gd name="T52" fmla="*/ 322 w 524"/>
                    <a:gd name="T53" fmla="*/ 176 h 366"/>
                    <a:gd name="T54" fmla="*/ 277 w 524"/>
                    <a:gd name="T55" fmla="*/ 184 h 366"/>
                    <a:gd name="T56" fmla="*/ 322 w 524"/>
                    <a:gd name="T57" fmla="*/ 166 h 366"/>
                    <a:gd name="T58" fmla="*/ 277 w 524"/>
                    <a:gd name="T59" fmla="*/ 174 h 366"/>
                    <a:gd name="T60" fmla="*/ 449 w 524"/>
                    <a:gd name="T61" fmla="*/ 346 h 366"/>
                    <a:gd name="T62" fmla="*/ 401 w 524"/>
                    <a:gd name="T63" fmla="*/ 366 h 366"/>
                    <a:gd name="T64" fmla="*/ 399 w 524"/>
                    <a:gd name="T65" fmla="*/ 346 h 366"/>
                    <a:gd name="T66" fmla="*/ 350 w 524"/>
                    <a:gd name="T67" fmla="*/ 366 h 366"/>
                    <a:gd name="T68" fmla="*/ 348 w 524"/>
                    <a:gd name="T69" fmla="*/ 346 h 366"/>
                    <a:gd name="T70" fmla="*/ 301 w 524"/>
                    <a:gd name="T71" fmla="*/ 366 h 366"/>
                    <a:gd name="T72" fmla="*/ 299 w 524"/>
                    <a:gd name="T73" fmla="*/ 346 h 366"/>
                    <a:gd name="T74" fmla="*/ 250 w 524"/>
                    <a:gd name="T75" fmla="*/ 366 h 366"/>
                    <a:gd name="T76" fmla="*/ 248 w 524"/>
                    <a:gd name="T77" fmla="*/ 346 h 366"/>
                    <a:gd name="T78" fmla="*/ 200 w 524"/>
                    <a:gd name="T79" fmla="*/ 366 h 366"/>
                    <a:gd name="T80" fmla="*/ 199 w 524"/>
                    <a:gd name="T81" fmla="*/ 346 h 366"/>
                    <a:gd name="T82" fmla="*/ 150 w 524"/>
                    <a:gd name="T83" fmla="*/ 366 h 366"/>
                    <a:gd name="T84" fmla="*/ 148 w 524"/>
                    <a:gd name="T85" fmla="*/ 346 h 366"/>
                    <a:gd name="T86" fmla="*/ 100 w 524"/>
                    <a:gd name="T87" fmla="*/ 366 h 366"/>
                    <a:gd name="T88" fmla="*/ 98 w 524"/>
                    <a:gd name="T89" fmla="*/ 346 h 366"/>
                    <a:gd name="T90" fmla="*/ 50 w 524"/>
                    <a:gd name="T91" fmla="*/ 366 h 366"/>
                    <a:gd name="T92" fmla="*/ 49 w 524"/>
                    <a:gd name="T93" fmla="*/ 346 h 366"/>
                    <a:gd name="T94" fmla="*/ 0 w 524"/>
                    <a:gd name="T9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4" h="366">
                      <a:moveTo>
                        <a:pt x="325" y="111"/>
                      </a:moveTo>
                      <a:lnTo>
                        <a:pt x="325" y="103"/>
                      </a:lnTo>
                      <a:lnTo>
                        <a:pt x="348" y="103"/>
                      </a:lnTo>
                      <a:lnTo>
                        <a:pt x="348" y="111"/>
                      </a:lnTo>
                      <a:lnTo>
                        <a:pt x="325" y="111"/>
                      </a:lnTo>
                      <a:lnTo>
                        <a:pt x="325" y="111"/>
                      </a:lnTo>
                      <a:close/>
                      <a:moveTo>
                        <a:pt x="325" y="101"/>
                      </a:moveTo>
                      <a:lnTo>
                        <a:pt x="325" y="93"/>
                      </a:lnTo>
                      <a:lnTo>
                        <a:pt x="348" y="93"/>
                      </a:lnTo>
                      <a:lnTo>
                        <a:pt x="348" y="101"/>
                      </a:lnTo>
                      <a:lnTo>
                        <a:pt x="325" y="101"/>
                      </a:lnTo>
                      <a:lnTo>
                        <a:pt x="325" y="101"/>
                      </a:lnTo>
                      <a:close/>
                      <a:moveTo>
                        <a:pt x="325" y="91"/>
                      </a:moveTo>
                      <a:lnTo>
                        <a:pt x="325" y="84"/>
                      </a:lnTo>
                      <a:lnTo>
                        <a:pt x="348" y="84"/>
                      </a:lnTo>
                      <a:lnTo>
                        <a:pt x="348" y="91"/>
                      </a:lnTo>
                      <a:lnTo>
                        <a:pt x="325" y="91"/>
                      </a:lnTo>
                      <a:lnTo>
                        <a:pt x="325" y="91"/>
                      </a:lnTo>
                      <a:close/>
                      <a:moveTo>
                        <a:pt x="110" y="265"/>
                      </a:moveTo>
                      <a:lnTo>
                        <a:pt x="110" y="257"/>
                      </a:lnTo>
                      <a:lnTo>
                        <a:pt x="155" y="257"/>
                      </a:lnTo>
                      <a:lnTo>
                        <a:pt x="155" y="265"/>
                      </a:lnTo>
                      <a:lnTo>
                        <a:pt x="110" y="265"/>
                      </a:lnTo>
                      <a:lnTo>
                        <a:pt x="110" y="265"/>
                      </a:lnTo>
                      <a:close/>
                      <a:moveTo>
                        <a:pt x="310" y="27"/>
                      </a:moveTo>
                      <a:lnTo>
                        <a:pt x="310" y="19"/>
                      </a:lnTo>
                      <a:lnTo>
                        <a:pt x="355" y="19"/>
                      </a:lnTo>
                      <a:lnTo>
                        <a:pt x="355" y="27"/>
                      </a:lnTo>
                      <a:lnTo>
                        <a:pt x="310" y="27"/>
                      </a:lnTo>
                      <a:lnTo>
                        <a:pt x="310" y="27"/>
                      </a:lnTo>
                      <a:close/>
                      <a:moveTo>
                        <a:pt x="310" y="7"/>
                      </a:moveTo>
                      <a:lnTo>
                        <a:pt x="310" y="0"/>
                      </a:lnTo>
                      <a:lnTo>
                        <a:pt x="355" y="0"/>
                      </a:lnTo>
                      <a:lnTo>
                        <a:pt x="355" y="7"/>
                      </a:lnTo>
                      <a:lnTo>
                        <a:pt x="310" y="7"/>
                      </a:lnTo>
                      <a:lnTo>
                        <a:pt x="310" y="7"/>
                      </a:lnTo>
                      <a:close/>
                      <a:moveTo>
                        <a:pt x="217" y="27"/>
                      </a:moveTo>
                      <a:lnTo>
                        <a:pt x="217" y="19"/>
                      </a:lnTo>
                      <a:lnTo>
                        <a:pt x="262" y="19"/>
                      </a:lnTo>
                      <a:lnTo>
                        <a:pt x="262" y="27"/>
                      </a:lnTo>
                      <a:lnTo>
                        <a:pt x="217" y="27"/>
                      </a:lnTo>
                      <a:lnTo>
                        <a:pt x="217" y="27"/>
                      </a:lnTo>
                      <a:close/>
                      <a:moveTo>
                        <a:pt x="217" y="7"/>
                      </a:moveTo>
                      <a:lnTo>
                        <a:pt x="217" y="0"/>
                      </a:lnTo>
                      <a:lnTo>
                        <a:pt x="262" y="0"/>
                      </a:lnTo>
                      <a:lnTo>
                        <a:pt x="262" y="7"/>
                      </a:lnTo>
                      <a:lnTo>
                        <a:pt x="217" y="7"/>
                      </a:lnTo>
                      <a:lnTo>
                        <a:pt x="217" y="7"/>
                      </a:lnTo>
                      <a:close/>
                      <a:moveTo>
                        <a:pt x="478" y="150"/>
                      </a:moveTo>
                      <a:lnTo>
                        <a:pt x="478" y="143"/>
                      </a:lnTo>
                      <a:lnTo>
                        <a:pt x="524" y="143"/>
                      </a:lnTo>
                      <a:lnTo>
                        <a:pt x="524" y="150"/>
                      </a:lnTo>
                      <a:lnTo>
                        <a:pt x="478" y="150"/>
                      </a:lnTo>
                      <a:lnTo>
                        <a:pt x="478" y="150"/>
                      </a:lnTo>
                      <a:close/>
                      <a:moveTo>
                        <a:pt x="478" y="205"/>
                      </a:moveTo>
                      <a:lnTo>
                        <a:pt x="478" y="197"/>
                      </a:lnTo>
                      <a:lnTo>
                        <a:pt x="524" y="197"/>
                      </a:lnTo>
                      <a:lnTo>
                        <a:pt x="524" y="205"/>
                      </a:lnTo>
                      <a:lnTo>
                        <a:pt x="478" y="205"/>
                      </a:lnTo>
                      <a:lnTo>
                        <a:pt x="478" y="205"/>
                      </a:lnTo>
                      <a:close/>
                      <a:moveTo>
                        <a:pt x="478" y="195"/>
                      </a:moveTo>
                      <a:lnTo>
                        <a:pt x="478" y="187"/>
                      </a:lnTo>
                      <a:lnTo>
                        <a:pt x="524" y="187"/>
                      </a:lnTo>
                      <a:lnTo>
                        <a:pt x="524" y="195"/>
                      </a:lnTo>
                      <a:lnTo>
                        <a:pt x="478" y="195"/>
                      </a:lnTo>
                      <a:lnTo>
                        <a:pt x="478" y="195"/>
                      </a:lnTo>
                      <a:close/>
                      <a:moveTo>
                        <a:pt x="277" y="204"/>
                      </a:moveTo>
                      <a:lnTo>
                        <a:pt x="277" y="197"/>
                      </a:lnTo>
                      <a:lnTo>
                        <a:pt x="322" y="197"/>
                      </a:lnTo>
                      <a:lnTo>
                        <a:pt x="322" y="204"/>
                      </a:lnTo>
                      <a:lnTo>
                        <a:pt x="277" y="204"/>
                      </a:lnTo>
                      <a:lnTo>
                        <a:pt x="277" y="204"/>
                      </a:lnTo>
                      <a:close/>
                      <a:moveTo>
                        <a:pt x="277" y="194"/>
                      </a:moveTo>
                      <a:lnTo>
                        <a:pt x="277" y="186"/>
                      </a:lnTo>
                      <a:lnTo>
                        <a:pt x="322" y="186"/>
                      </a:lnTo>
                      <a:lnTo>
                        <a:pt x="322" y="194"/>
                      </a:lnTo>
                      <a:lnTo>
                        <a:pt x="277" y="194"/>
                      </a:lnTo>
                      <a:lnTo>
                        <a:pt x="277" y="194"/>
                      </a:lnTo>
                      <a:close/>
                      <a:moveTo>
                        <a:pt x="277" y="184"/>
                      </a:moveTo>
                      <a:lnTo>
                        <a:pt x="277" y="176"/>
                      </a:lnTo>
                      <a:lnTo>
                        <a:pt x="322" y="176"/>
                      </a:lnTo>
                      <a:lnTo>
                        <a:pt x="322" y="184"/>
                      </a:lnTo>
                      <a:lnTo>
                        <a:pt x="277" y="184"/>
                      </a:lnTo>
                      <a:lnTo>
                        <a:pt x="277" y="184"/>
                      </a:lnTo>
                      <a:close/>
                      <a:moveTo>
                        <a:pt x="277" y="174"/>
                      </a:moveTo>
                      <a:lnTo>
                        <a:pt x="277" y="166"/>
                      </a:lnTo>
                      <a:lnTo>
                        <a:pt x="322" y="166"/>
                      </a:lnTo>
                      <a:lnTo>
                        <a:pt x="322" y="174"/>
                      </a:lnTo>
                      <a:lnTo>
                        <a:pt x="277" y="174"/>
                      </a:lnTo>
                      <a:lnTo>
                        <a:pt x="277" y="174"/>
                      </a:lnTo>
                      <a:close/>
                      <a:moveTo>
                        <a:pt x="401" y="366"/>
                      </a:moveTo>
                      <a:lnTo>
                        <a:pt x="401" y="346"/>
                      </a:lnTo>
                      <a:lnTo>
                        <a:pt x="449" y="346"/>
                      </a:lnTo>
                      <a:lnTo>
                        <a:pt x="449" y="366"/>
                      </a:lnTo>
                      <a:lnTo>
                        <a:pt x="401" y="366"/>
                      </a:lnTo>
                      <a:lnTo>
                        <a:pt x="401" y="366"/>
                      </a:lnTo>
                      <a:close/>
                      <a:moveTo>
                        <a:pt x="350" y="366"/>
                      </a:moveTo>
                      <a:lnTo>
                        <a:pt x="350" y="346"/>
                      </a:lnTo>
                      <a:lnTo>
                        <a:pt x="399" y="346"/>
                      </a:lnTo>
                      <a:lnTo>
                        <a:pt x="399" y="366"/>
                      </a:lnTo>
                      <a:lnTo>
                        <a:pt x="350" y="366"/>
                      </a:lnTo>
                      <a:lnTo>
                        <a:pt x="350" y="366"/>
                      </a:lnTo>
                      <a:close/>
                      <a:moveTo>
                        <a:pt x="301" y="366"/>
                      </a:moveTo>
                      <a:lnTo>
                        <a:pt x="301" y="346"/>
                      </a:lnTo>
                      <a:lnTo>
                        <a:pt x="348" y="346"/>
                      </a:lnTo>
                      <a:lnTo>
                        <a:pt x="348" y="366"/>
                      </a:lnTo>
                      <a:lnTo>
                        <a:pt x="301" y="366"/>
                      </a:lnTo>
                      <a:lnTo>
                        <a:pt x="301" y="366"/>
                      </a:lnTo>
                      <a:close/>
                      <a:moveTo>
                        <a:pt x="250" y="366"/>
                      </a:moveTo>
                      <a:lnTo>
                        <a:pt x="250" y="346"/>
                      </a:lnTo>
                      <a:lnTo>
                        <a:pt x="299" y="346"/>
                      </a:lnTo>
                      <a:lnTo>
                        <a:pt x="299" y="366"/>
                      </a:lnTo>
                      <a:lnTo>
                        <a:pt x="250" y="366"/>
                      </a:lnTo>
                      <a:lnTo>
                        <a:pt x="250" y="366"/>
                      </a:lnTo>
                      <a:close/>
                      <a:moveTo>
                        <a:pt x="200" y="366"/>
                      </a:moveTo>
                      <a:lnTo>
                        <a:pt x="200" y="346"/>
                      </a:lnTo>
                      <a:lnTo>
                        <a:pt x="248" y="346"/>
                      </a:lnTo>
                      <a:lnTo>
                        <a:pt x="248" y="366"/>
                      </a:lnTo>
                      <a:lnTo>
                        <a:pt x="200" y="366"/>
                      </a:lnTo>
                      <a:lnTo>
                        <a:pt x="200" y="366"/>
                      </a:lnTo>
                      <a:close/>
                      <a:moveTo>
                        <a:pt x="150" y="366"/>
                      </a:moveTo>
                      <a:lnTo>
                        <a:pt x="150" y="346"/>
                      </a:lnTo>
                      <a:lnTo>
                        <a:pt x="199" y="346"/>
                      </a:lnTo>
                      <a:lnTo>
                        <a:pt x="199" y="366"/>
                      </a:lnTo>
                      <a:lnTo>
                        <a:pt x="150" y="366"/>
                      </a:lnTo>
                      <a:lnTo>
                        <a:pt x="150" y="366"/>
                      </a:lnTo>
                      <a:close/>
                      <a:moveTo>
                        <a:pt x="100" y="366"/>
                      </a:moveTo>
                      <a:lnTo>
                        <a:pt x="100" y="346"/>
                      </a:lnTo>
                      <a:lnTo>
                        <a:pt x="148" y="346"/>
                      </a:lnTo>
                      <a:lnTo>
                        <a:pt x="148" y="366"/>
                      </a:lnTo>
                      <a:lnTo>
                        <a:pt x="100" y="366"/>
                      </a:lnTo>
                      <a:lnTo>
                        <a:pt x="100" y="366"/>
                      </a:lnTo>
                      <a:close/>
                      <a:moveTo>
                        <a:pt x="50" y="366"/>
                      </a:moveTo>
                      <a:lnTo>
                        <a:pt x="50" y="346"/>
                      </a:lnTo>
                      <a:lnTo>
                        <a:pt x="98" y="346"/>
                      </a:lnTo>
                      <a:lnTo>
                        <a:pt x="98" y="366"/>
                      </a:lnTo>
                      <a:lnTo>
                        <a:pt x="50" y="366"/>
                      </a:lnTo>
                      <a:lnTo>
                        <a:pt x="50" y="366"/>
                      </a:lnTo>
                      <a:close/>
                      <a:moveTo>
                        <a:pt x="0" y="366"/>
                      </a:moveTo>
                      <a:lnTo>
                        <a:pt x="0" y="346"/>
                      </a:lnTo>
                      <a:lnTo>
                        <a:pt x="49" y="346"/>
                      </a:lnTo>
                      <a:lnTo>
                        <a:pt x="49" y="366"/>
                      </a:lnTo>
                      <a:lnTo>
                        <a:pt x="0" y="366"/>
                      </a:lnTo>
                      <a:lnTo>
                        <a:pt x="0" y="366"/>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657" name="Freeform 1015"/>
                <p:cNvSpPr>
                  <a:spLocks/>
                </p:cNvSpPr>
                <p:nvPr/>
              </p:nvSpPr>
              <p:spPr bwMode="auto">
                <a:xfrm>
                  <a:off x="1782281" y="5207460"/>
                  <a:ext cx="22420" cy="44835"/>
                </a:xfrm>
                <a:custGeom>
                  <a:avLst/>
                  <a:gdLst>
                    <a:gd name="T0" fmla="*/ 3 w 3"/>
                    <a:gd name="T1" fmla="*/ 5 h 6"/>
                    <a:gd name="T2" fmla="*/ 3 w 3"/>
                    <a:gd name="T3" fmla="*/ 0 h 6"/>
                    <a:gd name="T4" fmla="*/ 3 w 3"/>
                    <a:gd name="T5" fmla="*/ 0 h 6"/>
                    <a:gd name="T6" fmla="*/ 3 w 3"/>
                    <a:gd name="T7" fmla="*/ 5 h 6"/>
                    <a:gd name="T8" fmla="*/ 0 w 3"/>
                    <a:gd name="T9" fmla="*/ 5 h 6"/>
                    <a:gd name="T10" fmla="*/ 0 w 3"/>
                    <a:gd name="T11" fmla="*/ 0 h 6"/>
                    <a:gd name="T12" fmla="*/ 0 w 3"/>
                    <a:gd name="T13" fmla="*/ 0 h 6"/>
                    <a:gd name="T14" fmla="*/ 0 w 3"/>
                    <a:gd name="T15" fmla="*/ 5 h 6"/>
                    <a:gd name="T16" fmla="*/ 0 w 3"/>
                    <a:gd name="T17" fmla="*/ 5 h 6"/>
                    <a:gd name="T18" fmla="*/ 0 w 3"/>
                    <a:gd name="T19" fmla="*/ 6 h 6"/>
                    <a:gd name="T20" fmla="*/ 3 w 3"/>
                    <a:gd name="T21" fmla="*/ 6 h 6"/>
                    <a:gd name="T22" fmla="*/ 3 w 3"/>
                    <a:gd name="T23" fmla="*/ 5 h 6"/>
                    <a:gd name="T24" fmla="*/ 3 w 3"/>
                    <a:gd name="T25" fmla="*/ 5 h 6"/>
                    <a:gd name="T26" fmla="*/ 3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5"/>
                      </a:moveTo>
                      <a:lnTo>
                        <a:pt x="3" y="0"/>
                      </a:lnTo>
                      <a:lnTo>
                        <a:pt x="3" y="0"/>
                      </a:lnTo>
                      <a:lnTo>
                        <a:pt x="3" y="5"/>
                      </a:lnTo>
                      <a:lnTo>
                        <a:pt x="0" y="5"/>
                      </a:lnTo>
                      <a:lnTo>
                        <a:pt x="0" y="0"/>
                      </a:lnTo>
                      <a:lnTo>
                        <a:pt x="0" y="0"/>
                      </a:lnTo>
                      <a:lnTo>
                        <a:pt x="0" y="5"/>
                      </a:lnTo>
                      <a:lnTo>
                        <a:pt x="0" y="5"/>
                      </a:lnTo>
                      <a:lnTo>
                        <a:pt x="0" y="6"/>
                      </a:lnTo>
                      <a:lnTo>
                        <a:pt x="3" y="6"/>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8" name="Freeform 1016"/>
                <p:cNvSpPr>
                  <a:spLocks/>
                </p:cNvSpPr>
                <p:nvPr/>
              </p:nvSpPr>
              <p:spPr bwMode="auto">
                <a:xfrm>
                  <a:off x="1819641"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1 w 3"/>
                    <a:gd name="T17" fmla="*/ 2 h 6"/>
                    <a:gd name="T18" fmla="*/ 1 w 3"/>
                    <a:gd name="T19" fmla="*/ 0 h 6"/>
                    <a:gd name="T20" fmla="*/ 0 w 3"/>
                    <a:gd name="T21" fmla="*/ 0 h 6"/>
                    <a:gd name="T22" fmla="*/ 0 w 3"/>
                    <a:gd name="T23" fmla="*/ 6 h 6"/>
                    <a:gd name="T24" fmla="*/ 1 w 3"/>
                    <a:gd name="T25" fmla="*/ 6 h 6"/>
                    <a:gd name="T26" fmla="*/ 1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1" y="2"/>
                      </a:lnTo>
                      <a:lnTo>
                        <a:pt x="1" y="0"/>
                      </a:lnTo>
                      <a:lnTo>
                        <a:pt x="0" y="0"/>
                      </a:lnTo>
                      <a:lnTo>
                        <a:pt x="0" y="6"/>
                      </a:lnTo>
                      <a:lnTo>
                        <a:pt x="1" y="6"/>
                      </a:lnTo>
                      <a:lnTo>
                        <a:pt x="1"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59" name="Freeform 1017"/>
                <p:cNvSpPr>
                  <a:spLocks/>
                </p:cNvSpPr>
                <p:nvPr/>
              </p:nvSpPr>
              <p:spPr bwMode="auto">
                <a:xfrm>
                  <a:off x="1857006"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0" name="Freeform 1018"/>
                <p:cNvSpPr>
                  <a:spLocks/>
                </p:cNvSpPr>
                <p:nvPr/>
              </p:nvSpPr>
              <p:spPr bwMode="auto">
                <a:xfrm>
                  <a:off x="1871951"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1" name="Freeform 1019"/>
                <p:cNvSpPr>
                  <a:spLocks noEditPoints="1"/>
                </p:cNvSpPr>
                <p:nvPr/>
              </p:nvSpPr>
              <p:spPr bwMode="auto">
                <a:xfrm>
                  <a:off x="1782281" y="5274710"/>
                  <a:ext cx="22420" cy="37365"/>
                </a:xfrm>
                <a:custGeom>
                  <a:avLst/>
                  <a:gdLst>
                    <a:gd name="T0" fmla="*/ 3 w 3"/>
                    <a:gd name="T1" fmla="*/ 4 h 5"/>
                    <a:gd name="T2" fmla="*/ 3 w 3"/>
                    <a:gd name="T3" fmla="*/ 1 h 5"/>
                    <a:gd name="T4" fmla="*/ 3 w 3"/>
                    <a:gd name="T5" fmla="*/ 1 h 5"/>
                    <a:gd name="T6" fmla="*/ 3 w 3"/>
                    <a:gd name="T7" fmla="*/ 0 h 5"/>
                    <a:gd name="T8" fmla="*/ 0 w 3"/>
                    <a:gd name="T9" fmla="*/ 0 h 5"/>
                    <a:gd name="T10" fmla="*/ 0 w 3"/>
                    <a:gd name="T11" fmla="*/ 1 h 5"/>
                    <a:gd name="T12" fmla="*/ 0 w 3"/>
                    <a:gd name="T13" fmla="*/ 1 h 5"/>
                    <a:gd name="T14" fmla="*/ 0 w 3"/>
                    <a:gd name="T15" fmla="*/ 4 h 5"/>
                    <a:gd name="T16" fmla="*/ 0 w 3"/>
                    <a:gd name="T17" fmla="*/ 4 h 5"/>
                    <a:gd name="T18" fmla="*/ 0 w 3"/>
                    <a:gd name="T19" fmla="*/ 5 h 5"/>
                    <a:gd name="T20" fmla="*/ 3 w 3"/>
                    <a:gd name="T21" fmla="*/ 5 h 5"/>
                    <a:gd name="T22" fmla="*/ 3 w 3"/>
                    <a:gd name="T23" fmla="*/ 4 h 5"/>
                    <a:gd name="T24" fmla="*/ 3 w 3"/>
                    <a:gd name="T25" fmla="*/ 4 h 5"/>
                    <a:gd name="T26" fmla="*/ 3 w 3"/>
                    <a:gd name="T27" fmla="*/ 4 h 5"/>
                    <a:gd name="T28" fmla="*/ 3 w 3"/>
                    <a:gd name="T29" fmla="*/ 4 h 5"/>
                    <a:gd name="T30" fmla="*/ 0 w 3"/>
                    <a:gd name="T31" fmla="*/ 4 h 5"/>
                    <a:gd name="T32" fmla="*/ 0 w 3"/>
                    <a:gd name="T33" fmla="*/ 1 h 5"/>
                    <a:gd name="T34" fmla="*/ 3 w 3"/>
                    <a:gd name="T35" fmla="*/ 1 h 5"/>
                    <a:gd name="T36" fmla="*/ 3 w 3"/>
                    <a:gd name="T37" fmla="*/ 4 h 5"/>
                    <a:gd name="T38" fmla="*/ 3 w 3"/>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5">
                      <a:moveTo>
                        <a:pt x="3" y="4"/>
                      </a:moveTo>
                      <a:lnTo>
                        <a:pt x="3" y="1"/>
                      </a:lnTo>
                      <a:lnTo>
                        <a:pt x="3" y="1"/>
                      </a:lnTo>
                      <a:lnTo>
                        <a:pt x="3" y="0"/>
                      </a:lnTo>
                      <a:lnTo>
                        <a:pt x="0" y="0"/>
                      </a:lnTo>
                      <a:lnTo>
                        <a:pt x="0" y="1"/>
                      </a:lnTo>
                      <a:lnTo>
                        <a:pt x="0" y="1"/>
                      </a:lnTo>
                      <a:lnTo>
                        <a:pt x="0" y="4"/>
                      </a:lnTo>
                      <a:lnTo>
                        <a:pt x="0" y="4"/>
                      </a:lnTo>
                      <a:lnTo>
                        <a:pt x="0" y="5"/>
                      </a:lnTo>
                      <a:lnTo>
                        <a:pt x="3" y="5"/>
                      </a:lnTo>
                      <a:lnTo>
                        <a:pt x="3" y="4"/>
                      </a:lnTo>
                      <a:lnTo>
                        <a:pt x="3" y="4"/>
                      </a:lnTo>
                      <a:lnTo>
                        <a:pt x="3" y="4"/>
                      </a:lnTo>
                      <a:close/>
                      <a:moveTo>
                        <a:pt x="3" y="4"/>
                      </a:moveTo>
                      <a:lnTo>
                        <a:pt x="0" y="4"/>
                      </a:lnTo>
                      <a:lnTo>
                        <a:pt x="0"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2" name="Freeform 1020"/>
                <p:cNvSpPr>
                  <a:spLocks/>
                </p:cNvSpPr>
                <p:nvPr/>
              </p:nvSpPr>
              <p:spPr bwMode="auto">
                <a:xfrm>
                  <a:off x="181964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3" name="Freeform 1021"/>
                <p:cNvSpPr>
                  <a:spLocks/>
                </p:cNvSpPr>
                <p:nvPr/>
              </p:nvSpPr>
              <p:spPr bwMode="auto">
                <a:xfrm>
                  <a:off x="1857006"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4" name="Freeform 1022"/>
                <p:cNvSpPr>
                  <a:spLocks noEditPoints="1"/>
                </p:cNvSpPr>
                <p:nvPr/>
              </p:nvSpPr>
              <p:spPr bwMode="auto">
                <a:xfrm>
                  <a:off x="1886896"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5" name="Freeform 1023"/>
                <p:cNvSpPr>
                  <a:spLocks/>
                </p:cNvSpPr>
                <p:nvPr/>
              </p:nvSpPr>
              <p:spPr bwMode="auto">
                <a:xfrm>
                  <a:off x="1931731" y="5274710"/>
                  <a:ext cx="22420" cy="37365"/>
                </a:xfrm>
                <a:custGeom>
                  <a:avLst/>
                  <a:gdLst>
                    <a:gd name="T0" fmla="*/ 3 w 3"/>
                    <a:gd name="T1" fmla="*/ 2 h 5"/>
                    <a:gd name="T2" fmla="*/ 3 w 3"/>
                    <a:gd name="T3" fmla="*/ 0 h 5"/>
                    <a:gd name="T4" fmla="*/ 3 w 3"/>
                    <a:gd name="T5" fmla="*/ 0 h 5"/>
                    <a:gd name="T6" fmla="*/ 3 w 3"/>
                    <a:gd name="T7" fmla="*/ 2 h 5"/>
                    <a:gd name="T8" fmla="*/ 2 w 3"/>
                    <a:gd name="T9" fmla="*/ 2 h 5"/>
                    <a:gd name="T10" fmla="*/ 2 w 3"/>
                    <a:gd name="T11" fmla="*/ 4 h 5"/>
                    <a:gd name="T12" fmla="*/ 1 w 3"/>
                    <a:gd name="T13" fmla="*/ 4 h 5"/>
                    <a:gd name="T14" fmla="*/ 1 w 3"/>
                    <a:gd name="T15" fmla="*/ 2 h 5"/>
                    <a:gd name="T16" fmla="*/ 1 w 3"/>
                    <a:gd name="T17" fmla="*/ 2 h 5"/>
                    <a:gd name="T18" fmla="*/ 1 w 3"/>
                    <a:gd name="T19" fmla="*/ 0 h 5"/>
                    <a:gd name="T20" fmla="*/ 0 w 3"/>
                    <a:gd name="T21" fmla="*/ 0 h 5"/>
                    <a:gd name="T22" fmla="*/ 0 w 3"/>
                    <a:gd name="T23" fmla="*/ 2 h 5"/>
                    <a:gd name="T24" fmla="*/ 1 w 3"/>
                    <a:gd name="T25" fmla="*/ 2 h 5"/>
                    <a:gd name="T26" fmla="*/ 1 w 3"/>
                    <a:gd name="T27" fmla="*/ 4 h 5"/>
                    <a:gd name="T28" fmla="*/ 1 w 3"/>
                    <a:gd name="T29" fmla="*/ 4 h 5"/>
                    <a:gd name="T30" fmla="*/ 1 w 3"/>
                    <a:gd name="T31" fmla="*/ 5 h 5"/>
                    <a:gd name="T32" fmla="*/ 2 w 3"/>
                    <a:gd name="T33" fmla="*/ 5 h 5"/>
                    <a:gd name="T34" fmla="*/ 2 w 3"/>
                    <a:gd name="T35" fmla="*/ 4 h 5"/>
                    <a:gd name="T36" fmla="*/ 3 w 3"/>
                    <a:gd name="T37" fmla="*/ 4 h 5"/>
                    <a:gd name="T38" fmla="*/ 3 w 3"/>
                    <a:gd name="T39" fmla="*/ 2 h 5"/>
                    <a:gd name="T40" fmla="*/ 3 w 3"/>
                    <a:gd name="T41" fmla="*/ 2 h 5"/>
                    <a:gd name="T42" fmla="*/ 3 w 3"/>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2"/>
                      </a:moveTo>
                      <a:lnTo>
                        <a:pt x="3" y="0"/>
                      </a:lnTo>
                      <a:lnTo>
                        <a:pt x="3" y="0"/>
                      </a:lnTo>
                      <a:lnTo>
                        <a:pt x="3" y="2"/>
                      </a:lnTo>
                      <a:lnTo>
                        <a:pt x="2" y="2"/>
                      </a:lnTo>
                      <a:lnTo>
                        <a:pt x="2" y="4"/>
                      </a:lnTo>
                      <a:lnTo>
                        <a:pt x="1" y="4"/>
                      </a:lnTo>
                      <a:lnTo>
                        <a:pt x="1" y="2"/>
                      </a:lnTo>
                      <a:lnTo>
                        <a:pt x="1" y="2"/>
                      </a:lnTo>
                      <a:lnTo>
                        <a:pt x="1" y="0"/>
                      </a:lnTo>
                      <a:lnTo>
                        <a:pt x="0" y="0"/>
                      </a:lnTo>
                      <a:lnTo>
                        <a:pt x="0" y="2"/>
                      </a:lnTo>
                      <a:lnTo>
                        <a:pt x="1" y="2"/>
                      </a:lnTo>
                      <a:lnTo>
                        <a:pt x="1" y="4"/>
                      </a:lnTo>
                      <a:lnTo>
                        <a:pt x="1" y="4"/>
                      </a:lnTo>
                      <a:lnTo>
                        <a:pt x="1" y="5"/>
                      </a:lnTo>
                      <a:lnTo>
                        <a:pt x="2" y="5"/>
                      </a:lnTo>
                      <a:lnTo>
                        <a:pt x="2" y="4"/>
                      </a:lnTo>
                      <a:lnTo>
                        <a:pt x="3" y="4"/>
                      </a:lnTo>
                      <a:lnTo>
                        <a:pt x="3" y="2"/>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6" name="Freeform 1024"/>
                <p:cNvSpPr>
                  <a:spLocks/>
                </p:cNvSpPr>
                <p:nvPr/>
              </p:nvSpPr>
              <p:spPr bwMode="auto">
                <a:xfrm>
                  <a:off x="1969092"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7" name="Freeform 1025"/>
                <p:cNvSpPr>
                  <a:spLocks/>
                </p:cNvSpPr>
                <p:nvPr/>
              </p:nvSpPr>
              <p:spPr bwMode="auto">
                <a:xfrm>
                  <a:off x="1984037"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8" name="Freeform 1026"/>
                <p:cNvSpPr>
                  <a:spLocks/>
                </p:cNvSpPr>
                <p:nvPr/>
              </p:nvSpPr>
              <p:spPr bwMode="auto">
                <a:xfrm>
                  <a:off x="2021402" y="5274710"/>
                  <a:ext cx="37365" cy="37365"/>
                </a:xfrm>
                <a:custGeom>
                  <a:avLst/>
                  <a:gdLst>
                    <a:gd name="T0" fmla="*/ 5 w 5"/>
                    <a:gd name="T1" fmla="*/ 2 h 5"/>
                    <a:gd name="T2" fmla="*/ 5 w 5"/>
                    <a:gd name="T3" fmla="*/ 0 h 5"/>
                    <a:gd name="T4" fmla="*/ 4 w 5"/>
                    <a:gd name="T5" fmla="*/ 0 h 5"/>
                    <a:gd name="T6" fmla="*/ 4 w 5"/>
                    <a:gd name="T7" fmla="*/ 2 h 5"/>
                    <a:gd name="T8" fmla="*/ 4 w 5"/>
                    <a:gd name="T9" fmla="*/ 2 h 5"/>
                    <a:gd name="T10" fmla="*/ 4 w 5"/>
                    <a:gd name="T11" fmla="*/ 4 h 5"/>
                    <a:gd name="T12" fmla="*/ 2 w 5"/>
                    <a:gd name="T13" fmla="*/ 4 h 5"/>
                    <a:gd name="T14" fmla="*/ 2 w 5"/>
                    <a:gd name="T15" fmla="*/ 2 h 5"/>
                    <a:gd name="T16" fmla="*/ 2 w 5"/>
                    <a:gd name="T17" fmla="*/ 2 h 5"/>
                    <a:gd name="T18" fmla="*/ 2 w 5"/>
                    <a:gd name="T19" fmla="*/ 4 h 5"/>
                    <a:gd name="T20" fmla="*/ 1 w 5"/>
                    <a:gd name="T21" fmla="*/ 4 h 5"/>
                    <a:gd name="T22" fmla="*/ 1 w 5"/>
                    <a:gd name="T23" fmla="*/ 2 h 5"/>
                    <a:gd name="T24" fmla="*/ 0 w 5"/>
                    <a:gd name="T25" fmla="*/ 2 h 5"/>
                    <a:gd name="T26" fmla="*/ 0 w 5"/>
                    <a:gd name="T27" fmla="*/ 0 h 5"/>
                    <a:gd name="T28" fmla="*/ 0 w 5"/>
                    <a:gd name="T29" fmla="*/ 0 h 5"/>
                    <a:gd name="T30" fmla="*/ 0 w 5"/>
                    <a:gd name="T31" fmla="*/ 2 h 5"/>
                    <a:gd name="T32" fmla="*/ 0 w 5"/>
                    <a:gd name="T33" fmla="*/ 2 h 5"/>
                    <a:gd name="T34" fmla="*/ 0 w 5"/>
                    <a:gd name="T35" fmla="*/ 4 h 5"/>
                    <a:gd name="T36" fmla="*/ 1 w 5"/>
                    <a:gd name="T37" fmla="*/ 4 h 5"/>
                    <a:gd name="T38" fmla="*/ 1 w 5"/>
                    <a:gd name="T39" fmla="*/ 5 h 5"/>
                    <a:gd name="T40" fmla="*/ 2 w 5"/>
                    <a:gd name="T41" fmla="*/ 5 h 5"/>
                    <a:gd name="T42" fmla="*/ 2 w 5"/>
                    <a:gd name="T43" fmla="*/ 4 h 5"/>
                    <a:gd name="T44" fmla="*/ 2 w 5"/>
                    <a:gd name="T45" fmla="*/ 4 h 5"/>
                    <a:gd name="T46" fmla="*/ 2 w 5"/>
                    <a:gd name="T47" fmla="*/ 5 h 5"/>
                    <a:gd name="T48" fmla="*/ 4 w 5"/>
                    <a:gd name="T49" fmla="*/ 5 h 5"/>
                    <a:gd name="T50" fmla="*/ 4 w 5"/>
                    <a:gd name="T51" fmla="*/ 4 h 5"/>
                    <a:gd name="T52" fmla="*/ 4 w 5"/>
                    <a:gd name="T53" fmla="*/ 4 h 5"/>
                    <a:gd name="T54" fmla="*/ 4 w 5"/>
                    <a:gd name="T55" fmla="*/ 2 h 5"/>
                    <a:gd name="T56" fmla="*/ 5 w 5"/>
                    <a:gd name="T57" fmla="*/ 2 h 5"/>
                    <a:gd name="T58" fmla="*/ 5 w 5"/>
                    <a:gd name="T5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5">
                      <a:moveTo>
                        <a:pt x="5" y="2"/>
                      </a:moveTo>
                      <a:lnTo>
                        <a:pt x="5" y="0"/>
                      </a:lnTo>
                      <a:lnTo>
                        <a:pt x="4" y="0"/>
                      </a:lnTo>
                      <a:lnTo>
                        <a:pt x="4" y="2"/>
                      </a:lnTo>
                      <a:lnTo>
                        <a:pt x="4" y="2"/>
                      </a:lnTo>
                      <a:lnTo>
                        <a:pt x="4" y="4"/>
                      </a:lnTo>
                      <a:lnTo>
                        <a:pt x="2" y="4"/>
                      </a:lnTo>
                      <a:lnTo>
                        <a:pt x="2" y="2"/>
                      </a:lnTo>
                      <a:lnTo>
                        <a:pt x="2" y="2"/>
                      </a:lnTo>
                      <a:lnTo>
                        <a:pt x="2" y="4"/>
                      </a:lnTo>
                      <a:lnTo>
                        <a:pt x="1" y="4"/>
                      </a:lnTo>
                      <a:lnTo>
                        <a:pt x="1" y="2"/>
                      </a:lnTo>
                      <a:lnTo>
                        <a:pt x="0" y="2"/>
                      </a:lnTo>
                      <a:lnTo>
                        <a:pt x="0" y="0"/>
                      </a:lnTo>
                      <a:lnTo>
                        <a:pt x="0" y="0"/>
                      </a:lnTo>
                      <a:lnTo>
                        <a:pt x="0" y="2"/>
                      </a:lnTo>
                      <a:lnTo>
                        <a:pt x="0" y="2"/>
                      </a:lnTo>
                      <a:lnTo>
                        <a:pt x="0" y="4"/>
                      </a:lnTo>
                      <a:lnTo>
                        <a:pt x="1" y="4"/>
                      </a:lnTo>
                      <a:lnTo>
                        <a:pt x="1" y="5"/>
                      </a:lnTo>
                      <a:lnTo>
                        <a:pt x="2" y="5"/>
                      </a:lnTo>
                      <a:lnTo>
                        <a:pt x="2" y="4"/>
                      </a:lnTo>
                      <a:lnTo>
                        <a:pt x="2" y="4"/>
                      </a:lnTo>
                      <a:lnTo>
                        <a:pt x="2" y="5"/>
                      </a:lnTo>
                      <a:lnTo>
                        <a:pt x="4" y="5"/>
                      </a:lnTo>
                      <a:lnTo>
                        <a:pt x="4" y="4"/>
                      </a:lnTo>
                      <a:lnTo>
                        <a:pt x="4" y="4"/>
                      </a:lnTo>
                      <a:lnTo>
                        <a:pt x="4" y="2"/>
                      </a:lnTo>
                      <a:lnTo>
                        <a:pt x="5" y="2"/>
                      </a:lnTo>
                      <a:lnTo>
                        <a:pt x="5"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69" name="Freeform 1027"/>
                <p:cNvSpPr>
                  <a:spLocks/>
                </p:cNvSpPr>
                <p:nvPr/>
              </p:nvSpPr>
              <p:spPr bwMode="auto">
                <a:xfrm>
                  <a:off x="2126017" y="5237350"/>
                  <a:ext cx="29890" cy="37365"/>
                </a:xfrm>
                <a:custGeom>
                  <a:avLst/>
                  <a:gdLst>
                    <a:gd name="T0" fmla="*/ 4 w 4"/>
                    <a:gd name="T1" fmla="*/ 5 h 5"/>
                    <a:gd name="T2" fmla="*/ 4 w 4"/>
                    <a:gd name="T3" fmla="*/ 3 h 5"/>
                    <a:gd name="T4" fmla="*/ 3 w 4"/>
                    <a:gd name="T5" fmla="*/ 3 h 5"/>
                    <a:gd name="T6" fmla="*/ 3 w 4"/>
                    <a:gd name="T7" fmla="*/ 5 h 5"/>
                    <a:gd name="T8" fmla="*/ 1 w 4"/>
                    <a:gd name="T9" fmla="*/ 5 h 5"/>
                    <a:gd name="T10" fmla="*/ 1 w 4"/>
                    <a:gd name="T11" fmla="*/ 0 h 5"/>
                    <a:gd name="T12" fmla="*/ 3 w 4"/>
                    <a:gd name="T13" fmla="*/ 0 h 5"/>
                    <a:gd name="T14" fmla="*/ 3 w 4"/>
                    <a:gd name="T15" fmla="*/ 1 h 5"/>
                    <a:gd name="T16" fmla="*/ 4 w 4"/>
                    <a:gd name="T17" fmla="*/ 1 h 5"/>
                    <a:gd name="T18" fmla="*/ 4 w 4"/>
                    <a:gd name="T19" fmla="*/ 0 h 5"/>
                    <a:gd name="T20" fmla="*/ 3 w 4"/>
                    <a:gd name="T21" fmla="*/ 0 h 5"/>
                    <a:gd name="T22" fmla="*/ 3 w 4"/>
                    <a:gd name="T23" fmla="*/ 0 h 5"/>
                    <a:gd name="T24" fmla="*/ 1 w 4"/>
                    <a:gd name="T25" fmla="*/ 0 h 5"/>
                    <a:gd name="T26" fmla="*/ 1 w 4"/>
                    <a:gd name="T27" fmla="*/ 0 h 5"/>
                    <a:gd name="T28" fmla="*/ 0 w 4"/>
                    <a:gd name="T29" fmla="*/ 0 h 5"/>
                    <a:gd name="T30" fmla="*/ 0 w 4"/>
                    <a:gd name="T31" fmla="*/ 5 h 5"/>
                    <a:gd name="T32" fmla="*/ 1 w 4"/>
                    <a:gd name="T33" fmla="*/ 5 h 5"/>
                    <a:gd name="T34" fmla="*/ 1 w 4"/>
                    <a:gd name="T35" fmla="*/ 5 h 5"/>
                    <a:gd name="T36" fmla="*/ 3 w 4"/>
                    <a:gd name="T37" fmla="*/ 5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3"/>
                      </a:lnTo>
                      <a:lnTo>
                        <a:pt x="3" y="3"/>
                      </a:lnTo>
                      <a:lnTo>
                        <a:pt x="3" y="5"/>
                      </a:lnTo>
                      <a:lnTo>
                        <a:pt x="1" y="5"/>
                      </a:lnTo>
                      <a:lnTo>
                        <a:pt x="1" y="0"/>
                      </a:lnTo>
                      <a:lnTo>
                        <a:pt x="3" y="0"/>
                      </a:lnTo>
                      <a:lnTo>
                        <a:pt x="3" y="1"/>
                      </a:lnTo>
                      <a:lnTo>
                        <a:pt x="4" y="1"/>
                      </a:lnTo>
                      <a:lnTo>
                        <a:pt x="4" y="0"/>
                      </a:lnTo>
                      <a:lnTo>
                        <a:pt x="3" y="0"/>
                      </a:lnTo>
                      <a:lnTo>
                        <a:pt x="3" y="0"/>
                      </a:lnTo>
                      <a:lnTo>
                        <a:pt x="1" y="0"/>
                      </a:lnTo>
                      <a:lnTo>
                        <a:pt x="1" y="0"/>
                      </a:lnTo>
                      <a:lnTo>
                        <a:pt x="0" y="0"/>
                      </a:lnTo>
                      <a:lnTo>
                        <a:pt x="0" y="5"/>
                      </a:lnTo>
                      <a:lnTo>
                        <a:pt x="1" y="5"/>
                      </a:lnTo>
                      <a:lnTo>
                        <a:pt x="1" y="5"/>
                      </a:lnTo>
                      <a:lnTo>
                        <a:pt x="3" y="5"/>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0" name="Freeform 1028"/>
                <p:cNvSpPr>
                  <a:spLocks/>
                </p:cNvSpPr>
                <p:nvPr/>
              </p:nvSpPr>
              <p:spPr bwMode="auto">
                <a:xfrm>
                  <a:off x="2163377" y="5237350"/>
                  <a:ext cx="29890" cy="37365"/>
                </a:xfrm>
                <a:custGeom>
                  <a:avLst/>
                  <a:gdLst>
                    <a:gd name="T0" fmla="*/ 4 w 4"/>
                    <a:gd name="T1" fmla="*/ 5 h 5"/>
                    <a:gd name="T2" fmla="*/ 4 w 4"/>
                    <a:gd name="T3" fmla="*/ 0 h 5"/>
                    <a:gd name="T4" fmla="*/ 4 w 4"/>
                    <a:gd name="T5" fmla="*/ 0 h 5"/>
                    <a:gd name="T6" fmla="*/ 4 w 4"/>
                    <a:gd name="T7" fmla="*/ 3 h 5"/>
                    <a:gd name="T8" fmla="*/ 2 w 4"/>
                    <a:gd name="T9" fmla="*/ 3 h 5"/>
                    <a:gd name="T10" fmla="*/ 2 w 4"/>
                    <a:gd name="T11" fmla="*/ 2 h 5"/>
                    <a:gd name="T12" fmla="*/ 2 w 4"/>
                    <a:gd name="T13" fmla="*/ 2 h 5"/>
                    <a:gd name="T14" fmla="*/ 2 w 4"/>
                    <a:gd name="T15" fmla="*/ 1 h 5"/>
                    <a:gd name="T16" fmla="*/ 1 w 4"/>
                    <a:gd name="T17" fmla="*/ 1 h 5"/>
                    <a:gd name="T18" fmla="*/ 1 w 4"/>
                    <a:gd name="T19" fmla="*/ 0 h 5"/>
                    <a:gd name="T20" fmla="*/ 0 w 4"/>
                    <a:gd name="T21" fmla="*/ 0 h 5"/>
                    <a:gd name="T22" fmla="*/ 0 w 4"/>
                    <a:gd name="T23" fmla="*/ 5 h 5"/>
                    <a:gd name="T24" fmla="*/ 1 w 4"/>
                    <a:gd name="T25" fmla="*/ 5 h 5"/>
                    <a:gd name="T26" fmla="*/ 1 w 4"/>
                    <a:gd name="T27" fmla="*/ 2 h 5"/>
                    <a:gd name="T28" fmla="*/ 2 w 4"/>
                    <a:gd name="T29" fmla="*/ 2 h 5"/>
                    <a:gd name="T30" fmla="*/ 2 w 4"/>
                    <a:gd name="T31" fmla="*/ 3 h 5"/>
                    <a:gd name="T32" fmla="*/ 2 w 4"/>
                    <a:gd name="T33" fmla="*/ 3 h 5"/>
                    <a:gd name="T34" fmla="*/ 2 w 4"/>
                    <a:gd name="T35" fmla="*/ 3 h 5"/>
                    <a:gd name="T36" fmla="*/ 4 w 4"/>
                    <a:gd name="T37" fmla="*/ 3 h 5"/>
                    <a:gd name="T38" fmla="*/ 4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4" y="0"/>
                      </a:lnTo>
                      <a:lnTo>
                        <a:pt x="4" y="3"/>
                      </a:lnTo>
                      <a:lnTo>
                        <a:pt x="2" y="3"/>
                      </a:lnTo>
                      <a:lnTo>
                        <a:pt x="2" y="2"/>
                      </a:lnTo>
                      <a:lnTo>
                        <a:pt x="2" y="2"/>
                      </a:lnTo>
                      <a:lnTo>
                        <a:pt x="2" y="1"/>
                      </a:lnTo>
                      <a:lnTo>
                        <a:pt x="1" y="1"/>
                      </a:lnTo>
                      <a:lnTo>
                        <a:pt x="1" y="0"/>
                      </a:lnTo>
                      <a:lnTo>
                        <a:pt x="0" y="0"/>
                      </a:lnTo>
                      <a:lnTo>
                        <a:pt x="0" y="5"/>
                      </a:lnTo>
                      <a:lnTo>
                        <a:pt x="1" y="5"/>
                      </a:lnTo>
                      <a:lnTo>
                        <a:pt x="1" y="2"/>
                      </a:lnTo>
                      <a:lnTo>
                        <a:pt x="2" y="2"/>
                      </a:lnTo>
                      <a:lnTo>
                        <a:pt x="2" y="3"/>
                      </a:lnTo>
                      <a:lnTo>
                        <a:pt x="2" y="3"/>
                      </a:lnTo>
                      <a:lnTo>
                        <a:pt x="2" y="3"/>
                      </a:lnTo>
                      <a:lnTo>
                        <a:pt x="4" y="3"/>
                      </a:lnTo>
                      <a:lnTo>
                        <a:pt x="4"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1" name="Freeform 1029"/>
                <p:cNvSpPr>
                  <a:spLocks/>
                </p:cNvSpPr>
                <p:nvPr/>
              </p:nvSpPr>
              <p:spPr bwMode="auto">
                <a:xfrm>
                  <a:off x="2200742" y="5237350"/>
                  <a:ext cx="29890" cy="37365"/>
                </a:xfrm>
                <a:custGeom>
                  <a:avLst/>
                  <a:gdLst>
                    <a:gd name="T0" fmla="*/ 4 w 4"/>
                    <a:gd name="T1" fmla="*/ 0 h 5"/>
                    <a:gd name="T2" fmla="*/ 4 w 4"/>
                    <a:gd name="T3" fmla="*/ 0 h 5"/>
                    <a:gd name="T4" fmla="*/ 0 w 4"/>
                    <a:gd name="T5" fmla="*/ 0 h 5"/>
                    <a:gd name="T6" fmla="*/ 0 w 4"/>
                    <a:gd name="T7" fmla="*/ 0 h 5"/>
                    <a:gd name="T8" fmla="*/ 2 w 4"/>
                    <a:gd name="T9" fmla="*/ 0 h 5"/>
                    <a:gd name="T10" fmla="*/ 2 w 4"/>
                    <a:gd name="T11" fmla="*/ 5 h 5"/>
                    <a:gd name="T12" fmla="*/ 3 w 4"/>
                    <a:gd name="T13" fmla="*/ 5 h 5"/>
                    <a:gd name="T14" fmla="*/ 3 w 4"/>
                    <a:gd name="T15" fmla="*/ 0 h 5"/>
                    <a:gd name="T16" fmla="*/ 4 w 4"/>
                    <a:gd name="T17" fmla="*/ 0 h 5"/>
                    <a:gd name="T18" fmla="*/ 4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0"/>
                      </a:moveTo>
                      <a:lnTo>
                        <a:pt x="4" y="0"/>
                      </a:lnTo>
                      <a:lnTo>
                        <a:pt x="0" y="0"/>
                      </a:lnTo>
                      <a:lnTo>
                        <a:pt x="0" y="0"/>
                      </a:lnTo>
                      <a:lnTo>
                        <a:pt x="2" y="0"/>
                      </a:lnTo>
                      <a:lnTo>
                        <a:pt x="2" y="5"/>
                      </a:lnTo>
                      <a:lnTo>
                        <a:pt x="3" y="5"/>
                      </a:lnTo>
                      <a:lnTo>
                        <a:pt x="3" y="0"/>
                      </a:lnTo>
                      <a:lnTo>
                        <a:pt x="4" y="0"/>
                      </a:lnTo>
                      <a:lnTo>
                        <a:pt x="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2" name="Freeform 1030"/>
                <p:cNvSpPr>
                  <a:spLocks noEditPoints="1"/>
                </p:cNvSpPr>
                <p:nvPr/>
              </p:nvSpPr>
              <p:spPr bwMode="auto">
                <a:xfrm>
                  <a:off x="2245577" y="5237350"/>
                  <a:ext cx="29890" cy="37365"/>
                </a:xfrm>
                <a:custGeom>
                  <a:avLst/>
                  <a:gdLst>
                    <a:gd name="T0" fmla="*/ 4 w 4"/>
                    <a:gd name="T1" fmla="*/ 5 h 5"/>
                    <a:gd name="T2" fmla="*/ 4 w 4"/>
                    <a:gd name="T3" fmla="*/ 3 h 5"/>
                    <a:gd name="T4" fmla="*/ 3 w 4"/>
                    <a:gd name="T5" fmla="*/ 3 h 5"/>
                    <a:gd name="T6" fmla="*/ 3 w 4"/>
                    <a:gd name="T7" fmla="*/ 2 h 5"/>
                    <a:gd name="T8" fmla="*/ 4 w 4"/>
                    <a:gd name="T9" fmla="*/ 2 h 5"/>
                    <a:gd name="T10" fmla="*/ 4 w 4"/>
                    <a:gd name="T11" fmla="*/ 0 h 5"/>
                    <a:gd name="T12" fmla="*/ 3 w 4"/>
                    <a:gd name="T13" fmla="*/ 0 h 5"/>
                    <a:gd name="T14" fmla="*/ 3 w 4"/>
                    <a:gd name="T15" fmla="*/ 0 h 5"/>
                    <a:gd name="T16" fmla="*/ 0 w 4"/>
                    <a:gd name="T17" fmla="*/ 0 h 5"/>
                    <a:gd name="T18" fmla="*/ 0 w 4"/>
                    <a:gd name="T19" fmla="*/ 5 h 5"/>
                    <a:gd name="T20" fmla="*/ 1 w 4"/>
                    <a:gd name="T21" fmla="*/ 5 h 5"/>
                    <a:gd name="T22" fmla="*/ 1 w 4"/>
                    <a:gd name="T23" fmla="*/ 3 h 5"/>
                    <a:gd name="T24" fmla="*/ 2 w 4"/>
                    <a:gd name="T25" fmla="*/ 3 h 5"/>
                    <a:gd name="T26" fmla="*/ 2 w 4"/>
                    <a:gd name="T27" fmla="*/ 3 h 5"/>
                    <a:gd name="T28" fmla="*/ 3 w 4"/>
                    <a:gd name="T29" fmla="*/ 3 h 5"/>
                    <a:gd name="T30" fmla="*/ 3 w 4"/>
                    <a:gd name="T31" fmla="*/ 5 h 5"/>
                    <a:gd name="T32" fmla="*/ 4 w 4"/>
                    <a:gd name="T33" fmla="*/ 5 h 5"/>
                    <a:gd name="T34" fmla="*/ 4 w 4"/>
                    <a:gd name="T35" fmla="*/ 5 h 5"/>
                    <a:gd name="T36" fmla="*/ 3 w 4"/>
                    <a:gd name="T37" fmla="*/ 2 h 5"/>
                    <a:gd name="T38" fmla="*/ 1 w 4"/>
                    <a:gd name="T39" fmla="*/ 2 h 5"/>
                    <a:gd name="T40" fmla="*/ 1 w 4"/>
                    <a:gd name="T41" fmla="*/ 0 h 5"/>
                    <a:gd name="T42" fmla="*/ 3 w 4"/>
                    <a:gd name="T43" fmla="*/ 0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2"/>
                      </a:lnTo>
                      <a:lnTo>
                        <a:pt x="4" y="2"/>
                      </a:lnTo>
                      <a:lnTo>
                        <a:pt x="4" y="0"/>
                      </a:lnTo>
                      <a:lnTo>
                        <a:pt x="3" y="0"/>
                      </a:lnTo>
                      <a:lnTo>
                        <a:pt x="3" y="0"/>
                      </a:lnTo>
                      <a:lnTo>
                        <a:pt x="0" y="0"/>
                      </a:lnTo>
                      <a:lnTo>
                        <a:pt x="0" y="5"/>
                      </a:lnTo>
                      <a:lnTo>
                        <a:pt x="1" y="5"/>
                      </a:lnTo>
                      <a:lnTo>
                        <a:pt x="1" y="3"/>
                      </a:lnTo>
                      <a:lnTo>
                        <a:pt x="2" y="3"/>
                      </a:lnTo>
                      <a:lnTo>
                        <a:pt x="2" y="3"/>
                      </a:lnTo>
                      <a:lnTo>
                        <a:pt x="3" y="3"/>
                      </a:lnTo>
                      <a:lnTo>
                        <a:pt x="3" y="5"/>
                      </a:lnTo>
                      <a:lnTo>
                        <a:pt x="4" y="5"/>
                      </a:lnTo>
                      <a:lnTo>
                        <a:pt x="4" y="5"/>
                      </a:lnTo>
                      <a:close/>
                      <a:moveTo>
                        <a:pt x="3" y="2"/>
                      </a:moveTo>
                      <a:lnTo>
                        <a:pt x="1" y="2"/>
                      </a:lnTo>
                      <a:lnTo>
                        <a:pt x="1" y="0"/>
                      </a:lnTo>
                      <a:lnTo>
                        <a:pt x="3" y="0"/>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3" name="Freeform 1031"/>
                <p:cNvSpPr>
                  <a:spLocks/>
                </p:cNvSpPr>
                <p:nvPr/>
              </p:nvSpPr>
              <p:spPr bwMode="auto">
                <a:xfrm>
                  <a:off x="2282937" y="5237350"/>
                  <a:ext cx="22420" cy="37365"/>
                </a:xfrm>
                <a:custGeom>
                  <a:avLst/>
                  <a:gdLst>
                    <a:gd name="T0" fmla="*/ 3 w 3"/>
                    <a:gd name="T1" fmla="*/ 5 h 5"/>
                    <a:gd name="T2" fmla="*/ 3 w 3"/>
                    <a:gd name="T3" fmla="*/ 5 h 5"/>
                    <a:gd name="T4" fmla="*/ 1 w 3"/>
                    <a:gd name="T5" fmla="*/ 5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5"/>
                      </a:lnTo>
                      <a:lnTo>
                        <a:pt x="1" y="5"/>
                      </a:lnTo>
                      <a:lnTo>
                        <a:pt x="1"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4" name="Freeform 1032"/>
                <p:cNvSpPr>
                  <a:spLocks/>
                </p:cNvSpPr>
                <p:nvPr/>
              </p:nvSpPr>
              <p:spPr bwMode="auto">
                <a:xfrm>
                  <a:off x="2320302" y="5259765"/>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5" name="Freeform 1033"/>
                <p:cNvSpPr>
                  <a:spLocks noEditPoints="1"/>
                </p:cNvSpPr>
                <p:nvPr/>
              </p:nvSpPr>
              <p:spPr bwMode="auto">
                <a:xfrm>
                  <a:off x="2357662" y="5259765"/>
                  <a:ext cx="29890" cy="44835"/>
                </a:xfrm>
                <a:custGeom>
                  <a:avLst/>
                  <a:gdLst>
                    <a:gd name="T0" fmla="*/ 4 w 4"/>
                    <a:gd name="T1" fmla="*/ 5 h 6"/>
                    <a:gd name="T2" fmla="*/ 4 w 4"/>
                    <a:gd name="T3" fmla="*/ 1 h 6"/>
                    <a:gd name="T4" fmla="*/ 3 w 4"/>
                    <a:gd name="T5" fmla="*/ 1 h 6"/>
                    <a:gd name="T6" fmla="*/ 3 w 4"/>
                    <a:gd name="T7" fmla="*/ 0 h 6"/>
                    <a:gd name="T8" fmla="*/ 0 w 4"/>
                    <a:gd name="T9" fmla="*/ 0 h 6"/>
                    <a:gd name="T10" fmla="*/ 0 w 4"/>
                    <a:gd name="T11" fmla="*/ 1 h 6"/>
                    <a:gd name="T12" fmla="*/ 0 w 4"/>
                    <a:gd name="T13" fmla="*/ 1 h 6"/>
                    <a:gd name="T14" fmla="*/ 0 w 4"/>
                    <a:gd name="T15" fmla="*/ 5 h 6"/>
                    <a:gd name="T16" fmla="*/ 0 w 4"/>
                    <a:gd name="T17" fmla="*/ 5 h 6"/>
                    <a:gd name="T18" fmla="*/ 0 w 4"/>
                    <a:gd name="T19" fmla="*/ 6 h 6"/>
                    <a:gd name="T20" fmla="*/ 3 w 4"/>
                    <a:gd name="T21" fmla="*/ 6 h 6"/>
                    <a:gd name="T22" fmla="*/ 3 w 4"/>
                    <a:gd name="T23" fmla="*/ 5 h 6"/>
                    <a:gd name="T24" fmla="*/ 4 w 4"/>
                    <a:gd name="T25" fmla="*/ 5 h 6"/>
                    <a:gd name="T26" fmla="*/ 4 w 4"/>
                    <a:gd name="T27" fmla="*/ 5 h 6"/>
                    <a:gd name="T28" fmla="*/ 3 w 4"/>
                    <a:gd name="T29" fmla="*/ 5 h 6"/>
                    <a:gd name="T30" fmla="*/ 0 w 4"/>
                    <a:gd name="T31" fmla="*/ 5 h 6"/>
                    <a:gd name="T32" fmla="*/ 0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0" y="0"/>
                      </a:lnTo>
                      <a:lnTo>
                        <a:pt x="0" y="1"/>
                      </a:lnTo>
                      <a:lnTo>
                        <a:pt x="0" y="1"/>
                      </a:lnTo>
                      <a:lnTo>
                        <a:pt x="0" y="5"/>
                      </a:lnTo>
                      <a:lnTo>
                        <a:pt x="0" y="5"/>
                      </a:lnTo>
                      <a:lnTo>
                        <a:pt x="0" y="6"/>
                      </a:lnTo>
                      <a:lnTo>
                        <a:pt x="3" y="6"/>
                      </a:lnTo>
                      <a:lnTo>
                        <a:pt x="3" y="5"/>
                      </a:lnTo>
                      <a:lnTo>
                        <a:pt x="4" y="5"/>
                      </a:lnTo>
                      <a:lnTo>
                        <a:pt x="4" y="5"/>
                      </a:lnTo>
                      <a:close/>
                      <a:moveTo>
                        <a:pt x="3" y="5"/>
                      </a:moveTo>
                      <a:lnTo>
                        <a:pt x="0" y="5"/>
                      </a:lnTo>
                      <a:lnTo>
                        <a:pt x="0"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6" name="Freeform 1034"/>
                <p:cNvSpPr>
                  <a:spLocks/>
                </p:cNvSpPr>
                <p:nvPr/>
              </p:nvSpPr>
              <p:spPr bwMode="auto">
                <a:xfrm>
                  <a:off x="2395027" y="5259765"/>
                  <a:ext cx="29890" cy="44835"/>
                </a:xfrm>
                <a:custGeom>
                  <a:avLst/>
                  <a:gdLst>
                    <a:gd name="T0" fmla="*/ 4 w 4"/>
                    <a:gd name="T1" fmla="*/ 5 h 6"/>
                    <a:gd name="T2" fmla="*/ 4 w 4"/>
                    <a:gd name="T3" fmla="*/ 3 h 6"/>
                    <a:gd name="T4" fmla="*/ 3 w 4"/>
                    <a:gd name="T5" fmla="*/ 3 h 6"/>
                    <a:gd name="T6" fmla="*/ 3 w 4"/>
                    <a:gd name="T7" fmla="*/ 3 h 6"/>
                    <a:gd name="T8" fmla="*/ 0 w 4"/>
                    <a:gd name="T9" fmla="*/ 3 h 6"/>
                    <a:gd name="T10" fmla="*/ 0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0 w 4"/>
                    <a:gd name="T25" fmla="*/ 0 h 6"/>
                    <a:gd name="T26" fmla="*/ 0 w 4"/>
                    <a:gd name="T27" fmla="*/ 1 h 6"/>
                    <a:gd name="T28" fmla="*/ 0 w 4"/>
                    <a:gd name="T29" fmla="*/ 1 h 6"/>
                    <a:gd name="T30" fmla="*/ 0 w 4"/>
                    <a:gd name="T31" fmla="*/ 3 h 6"/>
                    <a:gd name="T32" fmla="*/ 0 w 4"/>
                    <a:gd name="T33" fmla="*/ 3 h 6"/>
                    <a:gd name="T34" fmla="*/ 0 w 4"/>
                    <a:gd name="T35" fmla="*/ 3 h 6"/>
                    <a:gd name="T36" fmla="*/ 3 w 4"/>
                    <a:gd name="T37" fmla="*/ 3 h 6"/>
                    <a:gd name="T38" fmla="*/ 3 w 4"/>
                    <a:gd name="T39" fmla="*/ 5 h 6"/>
                    <a:gd name="T40" fmla="*/ 0 w 4"/>
                    <a:gd name="T41" fmla="*/ 5 h 6"/>
                    <a:gd name="T42" fmla="*/ 0 w 4"/>
                    <a:gd name="T43" fmla="*/ 4 h 6"/>
                    <a:gd name="T44" fmla="*/ 0 w 4"/>
                    <a:gd name="T45" fmla="*/ 4 h 6"/>
                    <a:gd name="T46" fmla="*/ 0 w 4"/>
                    <a:gd name="T47" fmla="*/ 5 h 6"/>
                    <a:gd name="T48" fmla="*/ 0 w 4"/>
                    <a:gd name="T49" fmla="*/ 5 h 6"/>
                    <a:gd name="T50" fmla="*/ 0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0" y="3"/>
                      </a:lnTo>
                      <a:lnTo>
                        <a:pt x="0" y="1"/>
                      </a:lnTo>
                      <a:lnTo>
                        <a:pt x="3" y="1"/>
                      </a:lnTo>
                      <a:lnTo>
                        <a:pt x="3" y="2"/>
                      </a:lnTo>
                      <a:lnTo>
                        <a:pt x="4" y="2"/>
                      </a:lnTo>
                      <a:lnTo>
                        <a:pt x="4" y="1"/>
                      </a:lnTo>
                      <a:lnTo>
                        <a:pt x="3" y="1"/>
                      </a:lnTo>
                      <a:lnTo>
                        <a:pt x="3" y="0"/>
                      </a:lnTo>
                      <a:lnTo>
                        <a:pt x="0" y="0"/>
                      </a:lnTo>
                      <a:lnTo>
                        <a:pt x="0" y="1"/>
                      </a:lnTo>
                      <a:lnTo>
                        <a:pt x="0" y="1"/>
                      </a:lnTo>
                      <a:lnTo>
                        <a:pt x="0" y="3"/>
                      </a:lnTo>
                      <a:lnTo>
                        <a:pt x="0" y="3"/>
                      </a:lnTo>
                      <a:lnTo>
                        <a:pt x="0" y="3"/>
                      </a:lnTo>
                      <a:lnTo>
                        <a:pt x="3" y="3"/>
                      </a:lnTo>
                      <a:lnTo>
                        <a:pt x="3" y="5"/>
                      </a:lnTo>
                      <a:lnTo>
                        <a:pt x="0" y="5"/>
                      </a:lnTo>
                      <a:lnTo>
                        <a:pt x="0" y="4"/>
                      </a:lnTo>
                      <a:lnTo>
                        <a:pt x="0" y="4"/>
                      </a:lnTo>
                      <a:lnTo>
                        <a:pt x="0" y="5"/>
                      </a:lnTo>
                      <a:lnTo>
                        <a:pt x="0" y="5"/>
                      </a:lnTo>
                      <a:lnTo>
                        <a:pt x="0"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7" name="Freeform 1035"/>
                <p:cNvSpPr>
                  <a:spLocks/>
                </p:cNvSpPr>
                <p:nvPr/>
              </p:nvSpPr>
              <p:spPr bwMode="auto">
                <a:xfrm>
                  <a:off x="2432388" y="5259765"/>
                  <a:ext cx="29890" cy="44835"/>
                </a:xfrm>
                <a:custGeom>
                  <a:avLst/>
                  <a:gdLst>
                    <a:gd name="T0" fmla="*/ 4 w 4"/>
                    <a:gd name="T1" fmla="*/ 5 h 6"/>
                    <a:gd name="T2" fmla="*/ 4 w 4"/>
                    <a:gd name="T3" fmla="*/ 3 h 6"/>
                    <a:gd name="T4" fmla="*/ 3 w 4"/>
                    <a:gd name="T5" fmla="*/ 3 h 6"/>
                    <a:gd name="T6" fmla="*/ 3 w 4"/>
                    <a:gd name="T7" fmla="*/ 3 h 6"/>
                    <a:gd name="T8" fmla="*/ 1 w 4"/>
                    <a:gd name="T9" fmla="*/ 3 h 6"/>
                    <a:gd name="T10" fmla="*/ 1 w 4"/>
                    <a:gd name="T11" fmla="*/ 1 h 6"/>
                    <a:gd name="T12" fmla="*/ 3 w 4"/>
                    <a:gd name="T13" fmla="*/ 1 h 6"/>
                    <a:gd name="T14" fmla="*/ 3 w 4"/>
                    <a:gd name="T15" fmla="*/ 2 h 6"/>
                    <a:gd name="T16" fmla="*/ 4 w 4"/>
                    <a:gd name="T17" fmla="*/ 2 h 6"/>
                    <a:gd name="T18" fmla="*/ 4 w 4"/>
                    <a:gd name="T19" fmla="*/ 1 h 6"/>
                    <a:gd name="T20" fmla="*/ 3 w 4"/>
                    <a:gd name="T21" fmla="*/ 1 h 6"/>
                    <a:gd name="T22" fmla="*/ 3 w 4"/>
                    <a:gd name="T23" fmla="*/ 0 h 6"/>
                    <a:gd name="T24" fmla="*/ 1 w 4"/>
                    <a:gd name="T25" fmla="*/ 0 h 6"/>
                    <a:gd name="T26" fmla="*/ 1 w 4"/>
                    <a:gd name="T27" fmla="*/ 1 h 6"/>
                    <a:gd name="T28" fmla="*/ 0 w 4"/>
                    <a:gd name="T29" fmla="*/ 1 h 6"/>
                    <a:gd name="T30" fmla="*/ 0 w 4"/>
                    <a:gd name="T31" fmla="*/ 3 h 6"/>
                    <a:gd name="T32" fmla="*/ 1 w 4"/>
                    <a:gd name="T33" fmla="*/ 3 h 6"/>
                    <a:gd name="T34" fmla="*/ 1 w 4"/>
                    <a:gd name="T35" fmla="*/ 3 h 6"/>
                    <a:gd name="T36" fmla="*/ 3 w 4"/>
                    <a:gd name="T37" fmla="*/ 3 h 6"/>
                    <a:gd name="T38" fmla="*/ 3 w 4"/>
                    <a:gd name="T39" fmla="*/ 5 h 6"/>
                    <a:gd name="T40" fmla="*/ 1 w 4"/>
                    <a:gd name="T41" fmla="*/ 5 h 6"/>
                    <a:gd name="T42" fmla="*/ 1 w 4"/>
                    <a:gd name="T43" fmla="*/ 4 h 6"/>
                    <a:gd name="T44" fmla="*/ 0 w 4"/>
                    <a:gd name="T45" fmla="*/ 4 h 6"/>
                    <a:gd name="T46" fmla="*/ 0 w 4"/>
                    <a:gd name="T47" fmla="*/ 5 h 6"/>
                    <a:gd name="T48" fmla="*/ 1 w 4"/>
                    <a:gd name="T49" fmla="*/ 5 h 6"/>
                    <a:gd name="T50" fmla="*/ 1 w 4"/>
                    <a:gd name="T51" fmla="*/ 6 h 6"/>
                    <a:gd name="T52" fmla="*/ 3 w 4"/>
                    <a:gd name="T53" fmla="*/ 6 h 6"/>
                    <a:gd name="T54" fmla="*/ 3 w 4"/>
                    <a:gd name="T55" fmla="*/ 5 h 6"/>
                    <a:gd name="T56" fmla="*/ 4 w 4"/>
                    <a:gd name="T57" fmla="*/ 5 h 6"/>
                    <a:gd name="T58" fmla="*/ 4 w 4"/>
                    <a:gd name="T5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6">
                      <a:moveTo>
                        <a:pt x="4" y="5"/>
                      </a:moveTo>
                      <a:lnTo>
                        <a:pt x="4" y="3"/>
                      </a:lnTo>
                      <a:lnTo>
                        <a:pt x="3" y="3"/>
                      </a:lnTo>
                      <a:lnTo>
                        <a:pt x="3" y="3"/>
                      </a:lnTo>
                      <a:lnTo>
                        <a:pt x="1" y="3"/>
                      </a:lnTo>
                      <a:lnTo>
                        <a:pt x="1" y="1"/>
                      </a:lnTo>
                      <a:lnTo>
                        <a:pt x="3" y="1"/>
                      </a:lnTo>
                      <a:lnTo>
                        <a:pt x="3" y="2"/>
                      </a:lnTo>
                      <a:lnTo>
                        <a:pt x="4" y="2"/>
                      </a:lnTo>
                      <a:lnTo>
                        <a:pt x="4" y="1"/>
                      </a:lnTo>
                      <a:lnTo>
                        <a:pt x="3" y="1"/>
                      </a:lnTo>
                      <a:lnTo>
                        <a:pt x="3" y="0"/>
                      </a:lnTo>
                      <a:lnTo>
                        <a:pt x="1" y="0"/>
                      </a:lnTo>
                      <a:lnTo>
                        <a:pt x="1" y="1"/>
                      </a:lnTo>
                      <a:lnTo>
                        <a:pt x="0" y="1"/>
                      </a:lnTo>
                      <a:lnTo>
                        <a:pt x="0" y="3"/>
                      </a:lnTo>
                      <a:lnTo>
                        <a:pt x="1" y="3"/>
                      </a:lnTo>
                      <a:lnTo>
                        <a:pt x="1" y="3"/>
                      </a:lnTo>
                      <a:lnTo>
                        <a:pt x="3" y="3"/>
                      </a:lnTo>
                      <a:lnTo>
                        <a:pt x="3" y="5"/>
                      </a:lnTo>
                      <a:lnTo>
                        <a:pt x="1" y="5"/>
                      </a:lnTo>
                      <a:lnTo>
                        <a:pt x="1" y="4"/>
                      </a:lnTo>
                      <a:lnTo>
                        <a:pt x="0" y="4"/>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8" name="Freeform 1036"/>
                <p:cNvSpPr>
                  <a:spLocks/>
                </p:cNvSpPr>
                <p:nvPr/>
              </p:nvSpPr>
              <p:spPr bwMode="auto">
                <a:xfrm>
                  <a:off x="2514588" y="5207460"/>
                  <a:ext cx="22420" cy="44835"/>
                </a:xfrm>
                <a:custGeom>
                  <a:avLst/>
                  <a:gdLst>
                    <a:gd name="T0" fmla="*/ 3 w 3"/>
                    <a:gd name="T1" fmla="*/ 6 h 6"/>
                    <a:gd name="T2" fmla="*/ 3 w 3"/>
                    <a:gd name="T3" fmla="*/ 5 h 6"/>
                    <a:gd name="T4" fmla="*/ 1 w 3"/>
                    <a:gd name="T5" fmla="*/ 5 h 6"/>
                    <a:gd name="T6" fmla="*/ 1 w 3"/>
                    <a:gd name="T7" fmla="*/ 3 h 6"/>
                    <a:gd name="T8" fmla="*/ 2 w 3"/>
                    <a:gd name="T9" fmla="*/ 3 h 6"/>
                    <a:gd name="T10" fmla="*/ 2 w 3"/>
                    <a:gd name="T11" fmla="*/ 3 h 6"/>
                    <a:gd name="T12" fmla="*/ 1 w 3"/>
                    <a:gd name="T13" fmla="*/ 3 h 6"/>
                    <a:gd name="T14" fmla="*/ 1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1" y="5"/>
                      </a:lnTo>
                      <a:lnTo>
                        <a:pt x="1" y="3"/>
                      </a:lnTo>
                      <a:lnTo>
                        <a:pt x="2" y="3"/>
                      </a:lnTo>
                      <a:lnTo>
                        <a:pt x="2" y="3"/>
                      </a:lnTo>
                      <a:lnTo>
                        <a:pt x="1" y="3"/>
                      </a:lnTo>
                      <a:lnTo>
                        <a:pt x="1"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79" name="Freeform 1037"/>
                <p:cNvSpPr>
                  <a:spLocks noEditPoints="1"/>
                </p:cNvSpPr>
                <p:nvPr/>
              </p:nvSpPr>
              <p:spPr bwMode="auto">
                <a:xfrm>
                  <a:off x="2544478" y="5207460"/>
                  <a:ext cx="29890" cy="44835"/>
                </a:xfrm>
                <a:custGeom>
                  <a:avLst/>
                  <a:gdLst>
                    <a:gd name="T0" fmla="*/ 4 w 4"/>
                    <a:gd name="T1" fmla="*/ 6 h 6"/>
                    <a:gd name="T2" fmla="*/ 4 w 4"/>
                    <a:gd name="T3" fmla="*/ 6 h 6"/>
                    <a:gd name="T4" fmla="*/ 4 w 4"/>
                    <a:gd name="T5" fmla="*/ 6 h 6"/>
                    <a:gd name="T6" fmla="*/ 4 w 4"/>
                    <a:gd name="T7" fmla="*/ 5 h 6"/>
                    <a:gd name="T8" fmla="*/ 4 w 4"/>
                    <a:gd name="T9" fmla="*/ 5 h 6"/>
                    <a:gd name="T10" fmla="*/ 4 w 4"/>
                    <a:gd name="T11" fmla="*/ 1 h 6"/>
                    <a:gd name="T12" fmla="*/ 4 w 4"/>
                    <a:gd name="T13" fmla="*/ 1 h 6"/>
                    <a:gd name="T14" fmla="*/ 4 w 4"/>
                    <a:gd name="T15" fmla="*/ 0 h 6"/>
                    <a:gd name="T16" fmla="*/ 1 w 4"/>
                    <a:gd name="T17" fmla="*/ 0 h 6"/>
                    <a:gd name="T18" fmla="*/ 1 w 4"/>
                    <a:gd name="T19" fmla="*/ 1 h 6"/>
                    <a:gd name="T20" fmla="*/ 0 w 4"/>
                    <a:gd name="T21" fmla="*/ 1 h 6"/>
                    <a:gd name="T22" fmla="*/ 0 w 4"/>
                    <a:gd name="T23" fmla="*/ 5 h 6"/>
                    <a:gd name="T24" fmla="*/ 1 w 4"/>
                    <a:gd name="T25" fmla="*/ 5 h 6"/>
                    <a:gd name="T26" fmla="*/ 1 w 4"/>
                    <a:gd name="T27" fmla="*/ 6 h 6"/>
                    <a:gd name="T28" fmla="*/ 3 w 4"/>
                    <a:gd name="T29" fmla="*/ 6 h 6"/>
                    <a:gd name="T30" fmla="*/ 3 w 4"/>
                    <a:gd name="T31" fmla="*/ 6 h 6"/>
                    <a:gd name="T32" fmla="*/ 4 w 4"/>
                    <a:gd name="T33" fmla="*/ 6 h 6"/>
                    <a:gd name="T34" fmla="*/ 4 w 4"/>
                    <a:gd name="T35" fmla="*/ 6 h 6"/>
                    <a:gd name="T36" fmla="*/ 4 w 4"/>
                    <a:gd name="T37" fmla="*/ 5 h 6"/>
                    <a:gd name="T38" fmla="*/ 1 w 4"/>
                    <a:gd name="T39" fmla="*/ 5 h 6"/>
                    <a:gd name="T40" fmla="*/ 1 w 4"/>
                    <a:gd name="T41" fmla="*/ 1 h 6"/>
                    <a:gd name="T42" fmla="*/ 4 w 4"/>
                    <a:gd name="T43" fmla="*/ 1 h 6"/>
                    <a:gd name="T44" fmla="*/ 4 w 4"/>
                    <a:gd name="T45" fmla="*/ 5 h 6"/>
                    <a:gd name="T46" fmla="*/ 4 w 4"/>
                    <a:gd name="T4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6"/>
                      </a:lnTo>
                      <a:lnTo>
                        <a:pt x="4" y="6"/>
                      </a:lnTo>
                      <a:lnTo>
                        <a:pt x="4" y="5"/>
                      </a:lnTo>
                      <a:lnTo>
                        <a:pt x="4" y="5"/>
                      </a:lnTo>
                      <a:lnTo>
                        <a:pt x="4" y="1"/>
                      </a:lnTo>
                      <a:lnTo>
                        <a:pt x="4" y="1"/>
                      </a:lnTo>
                      <a:lnTo>
                        <a:pt x="4" y="0"/>
                      </a:lnTo>
                      <a:lnTo>
                        <a:pt x="1" y="0"/>
                      </a:lnTo>
                      <a:lnTo>
                        <a:pt x="1" y="1"/>
                      </a:lnTo>
                      <a:lnTo>
                        <a:pt x="0" y="1"/>
                      </a:lnTo>
                      <a:lnTo>
                        <a:pt x="0" y="5"/>
                      </a:lnTo>
                      <a:lnTo>
                        <a:pt x="1" y="5"/>
                      </a:lnTo>
                      <a:lnTo>
                        <a:pt x="1" y="6"/>
                      </a:lnTo>
                      <a:lnTo>
                        <a:pt x="3" y="6"/>
                      </a:lnTo>
                      <a:lnTo>
                        <a:pt x="3" y="6"/>
                      </a:lnTo>
                      <a:lnTo>
                        <a:pt x="4" y="6"/>
                      </a:lnTo>
                      <a:lnTo>
                        <a:pt x="4" y="6"/>
                      </a:lnTo>
                      <a:close/>
                      <a:moveTo>
                        <a:pt x="4" y="5"/>
                      </a:moveTo>
                      <a:lnTo>
                        <a:pt x="1" y="5"/>
                      </a:lnTo>
                      <a:lnTo>
                        <a:pt x="1" y="1"/>
                      </a:lnTo>
                      <a:lnTo>
                        <a:pt x="4" y="1"/>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0" name="Freeform 1038"/>
                <p:cNvSpPr>
                  <a:spLocks/>
                </p:cNvSpPr>
                <p:nvPr/>
              </p:nvSpPr>
              <p:spPr bwMode="auto">
                <a:xfrm>
                  <a:off x="2581838"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1" name="Freeform 1039"/>
                <p:cNvSpPr>
                  <a:spLocks/>
                </p:cNvSpPr>
                <p:nvPr/>
              </p:nvSpPr>
              <p:spPr bwMode="auto">
                <a:xfrm>
                  <a:off x="2619203"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2" name="Freeform 1040"/>
                <p:cNvSpPr>
                  <a:spLocks noEditPoints="1"/>
                </p:cNvSpPr>
                <p:nvPr/>
              </p:nvSpPr>
              <p:spPr bwMode="auto">
                <a:xfrm>
                  <a:off x="2634148" y="5207460"/>
                  <a:ext cx="29890" cy="44835"/>
                </a:xfrm>
                <a:custGeom>
                  <a:avLst/>
                  <a:gdLst>
                    <a:gd name="T0" fmla="*/ 4 w 4"/>
                    <a:gd name="T1" fmla="*/ 3 h 6"/>
                    <a:gd name="T2" fmla="*/ 4 w 4"/>
                    <a:gd name="T3" fmla="*/ 1 h 6"/>
                    <a:gd name="T4" fmla="*/ 3 w 4"/>
                    <a:gd name="T5" fmla="*/ 1 h 6"/>
                    <a:gd name="T6" fmla="*/ 3 w 4"/>
                    <a:gd name="T7" fmla="*/ 0 h 6"/>
                    <a:gd name="T8" fmla="*/ 0 w 4"/>
                    <a:gd name="T9" fmla="*/ 0 h 6"/>
                    <a:gd name="T10" fmla="*/ 0 w 4"/>
                    <a:gd name="T11" fmla="*/ 6 h 6"/>
                    <a:gd name="T12" fmla="*/ 1 w 4"/>
                    <a:gd name="T13" fmla="*/ 6 h 6"/>
                    <a:gd name="T14" fmla="*/ 1 w 4"/>
                    <a:gd name="T15" fmla="*/ 4 h 6"/>
                    <a:gd name="T16" fmla="*/ 3 w 4"/>
                    <a:gd name="T17" fmla="*/ 4 h 6"/>
                    <a:gd name="T18" fmla="*/ 3 w 4"/>
                    <a:gd name="T19" fmla="*/ 3 h 6"/>
                    <a:gd name="T20" fmla="*/ 4 w 4"/>
                    <a:gd name="T21" fmla="*/ 3 h 6"/>
                    <a:gd name="T22" fmla="*/ 4 w 4"/>
                    <a:gd name="T23" fmla="*/ 3 h 6"/>
                    <a:gd name="T24" fmla="*/ 3 w 4"/>
                    <a:gd name="T25" fmla="*/ 3 h 6"/>
                    <a:gd name="T26" fmla="*/ 1 w 4"/>
                    <a:gd name="T27" fmla="*/ 3 h 6"/>
                    <a:gd name="T28" fmla="*/ 1 w 4"/>
                    <a:gd name="T29" fmla="*/ 1 h 6"/>
                    <a:gd name="T30" fmla="*/ 3 w 4"/>
                    <a:gd name="T31" fmla="*/ 1 h 6"/>
                    <a:gd name="T32" fmla="*/ 3 w 4"/>
                    <a:gd name="T33" fmla="*/ 3 h 6"/>
                    <a:gd name="T34" fmla="*/ 3 w 4"/>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3"/>
                      </a:moveTo>
                      <a:lnTo>
                        <a:pt x="4" y="1"/>
                      </a:lnTo>
                      <a:lnTo>
                        <a:pt x="3" y="1"/>
                      </a:lnTo>
                      <a:lnTo>
                        <a:pt x="3" y="0"/>
                      </a:lnTo>
                      <a:lnTo>
                        <a:pt x="0" y="0"/>
                      </a:lnTo>
                      <a:lnTo>
                        <a:pt x="0" y="6"/>
                      </a:lnTo>
                      <a:lnTo>
                        <a:pt x="1" y="6"/>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3" name="Freeform 1041"/>
                <p:cNvSpPr>
                  <a:spLocks/>
                </p:cNvSpPr>
                <p:nvPr/>
              </p:nvSpPr>
              <p:spPr bwMode="auto">
                <a:xfrm>
                  <a:off x="2671508" y="5207460"/>
                  <a:ext cx="44835" cy="44835"/>
                </a:xfrm>
                <a:custGeom>
                  <a:avLst/>
                  <a:gdLst>
                    <a:gd name="T0" fmla="*/ 6 w 6"/>
                    <a:gd name="T1" fmla="*/ 6 h 6"/>
                    <a:gd name="T2" fmla="*/ 6 w 6"/>
                    <a:gd name="T3" fmla="*/ 0 h 6"/>
                    <a:gd name="T4" fmla="*/ 5 w 6"/>
                    <a:gd name="T5" fmla="*/ 0 h 6"/>
                    <a:gd name="T6" fmla="*/ 5 w 6"/>
                    <a:gd name="T7" fmla="*/ 1 h 6"/>
                    <a:gd name="T8" fmla="*/ 4 w 6"/>
                    <a:gd name="T9" fmla="*/ 1 h 6"/>
                    <a:gd name="T10" fmla="*/ 4 w 6"/>
                    <a:gd name="T11" fmla="*/ 2 h 6"/>
                    <a:gd name="T12" fmla="*/ 3 w 6"/>
                    <a:gd name="T13" fmla="*/ 2 h 6"/>
                    <a:gd name="T14" fmla="*/ 3 w 6"/>
                    <a:gd name="T15" fmla="*/ 3 h 6"/>
                    <a:gd name="T16" fmla="*/ 3 w 6"/>
                    <a:gd name="T17" fmla="*/ 3 h 6"/>
                    <a:gd name="T18" fmla="*/ 3 w 6"/>
                    <a:gd name="T19" fmla="*/ 2 h 6"/>
                    <a:gd name="T20" fmla="*/ 2 w 6"/>
                    <a:gd name="T21" fmla="*/ 2 h 6"/>
                    <a:gd name="T22" fmla="*/ 2 w 6"/>
                    <a:gd name="T23" fmla="*/ 1 h 6"/>
                    <a:gd name="T24" fmla="*/ 1 w 6"/>
                    <a:gd name="T25" fmla="*/ 1 h 6"/>
                    <a:gd name="T26" fmla="*/ 1 w 6"/>
                    <a:gd name="T27" fmla="*/ 0 h 6"/>
                    <a:gd name="T28" fmla="*/ 0 w 6"/>
                    <a:gd name="T29" fmla="*/ 0 h 6"/>
                    <a:gd name="T30" fmla="*/ 0 w 6"/>
                    <a:gd name="T31" fmla="*/ 6 h 6"/>
                    <a:gd name="T32" fmla="*/ 1 w 6"/>
                    <a:gd name="T33" fmla="*/ 6 h 6"/>
                    <a:gd name="T34" fmla="*/ 1 w 6"/>
                    <a:gd name="T35" fmla="*/ 2 h 6"/>
                    <a:gd name="T36" fmla="*/ 2 w 6"/>
                    <a:gd name="T37" fmla="*/ 2 h 6"/>
                    <a:gd name="T38" fmla="*/ 2 w 6"/>
                    <a:gd name="T39" fmla="*/ 3 h 6"/>
                    <a:gd name="T40" fmla="*/ 3 w 6"/>
                    <a:gd name="T41" fmla="*/ 3 h 6"/>
                    <a:gd name="T42" fmla="*/ 3 w 6"/>
                    <a:gd name="T43" fmla="*/ 3 h 6"/>
                    <a:gd name="T44" fmla="*/ 3 w 6"/>
                    <a:gd name="T45" fmla="*/ 3 h 6"/>
                    <a:gd name="T46" fmla="*/ 3 w 6"/>
                    <a:gd name="T47" fmla="*/ 3 h 6"/>
                    <a:gd name="T48" fmla="*/ 4 w 6"/>
                    <a:gd name="T49" fmla="*/ 3 h 6"/>
                    <a:gd name="T50" fmla="*/ 4 w 6"/>
                    <a:gd name="T51" fmla="*/ 2 h 6"/>
                    <a:gd name="T52" fmla="*/ 5 w 6"/>
                    <a:gd name="T53" fmla="*/ 2 h 6"/>
                    <a:gd name="T54" fmla="*/ 5 w 6"/>
                    <a:gd name="T55" fmla="*/ 6 h 6"/>
                    <a:gd name="T56" fmla="*/ 6 w 6"/>
                    <a:gd name="T57" fmla="*/ 6 h 6"/>
                    <a:gd name="T58" fmla="*/ 6 w 6"/>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6">
                      <a:moveTo>
                        <a:pt x="6" y="6"/>
                      </a:moveTo>
                      <a:lnTo>
                        <a:pt x="6" y="0"/>
                      </a:lnTo>
                      <a:lnTo>
                        <a:pt x="5" y="0"/>
                      </a:lnTo>
                      <a:lnTo>
                        <a:pt x="5" y="1"/>
                      </a:lnTo>
                      <a:lnTo>
                        <a:pt x="4" y="1"/>
                      </a:lnTo>
                      <a:lnTo>
                        <a:pt x="4" y="2"/>
                      </a:lnTo>
                      <a:lnTo>
                        <a:pt x="3" y="2"/>
                      </a:lnTo>
                      <a:lnTo>
                        <a:pt x="3" y="3"/>
                      </a:lnTo>
                      <a:lnTo>
                        <a:pt x="3" y="3"/>
                      </a:lnTo>
                      <a:lnTo>
                        <a:pt x="3" y="2"/>
                      </a:lnTo>
                      <a:lnTo>
                        <a:pt x="2" y="2"/>
                      </a:lnTo>
                      <a:lnTo>
                        <a:pt x="2" y="1"/>
                      </a:lnTo>
                      <a:lnTo>
                        <a:pt x="1" y="1"/>
                      </a:lnTo>
                      <a:lnTo>
                        <a:pt x="1" y="0"/>
                      </a:lnTo>
                      <a:lnTo>
                        <a:pt x="0" y="0"/>
                      </a:lnTo>
                      <a:lnTo>
                        <a:pt x="0" y="6"/>
                      </a:lnTo>
                      <a:lnTo>
                        <a:pt x="1" y="6"/>
                      </a:lnTo>
                      <a:lnTo>
                        <a:pt x="1" y="2"/>
                      </a:lnTo>
                      <a:lnTo>
                        <a:pt x="2" y="2"/>
                      </a:lnTo>
                      <a:lnTo>
                        <a:pt x="2" y="3"/>
                      </a:lnTo>
                      <a:lnTo>
                        <a:pt x="3" y="3"/>
                      </a:lnTo>
                      <a:lnTo>
                        <a:pt x="3" y="3"/>
                      </a:lnTo>
                      <a:lnTo>
                        <a:pt x="3" y="3"/>
                      </a:lnTo>
                      <a:lnTo>
                        <a:pt x="3" y="3"/>
                      </a:lnTo>
                      <a:lnTo>
                        <a:pt x="4" y="3"/>
                      </a:lnTo>
                      <a:lnTo>
                        <a:pt x="4" y="2"/>
                      </a:lnTo>
                      <a:lnTo>
                        <a:pt x="5" y="2"/>
                      </a:lnTo>
                      <a:lnTo>
                        <a:pt x="5" y="6"/>
                      </a:lnTo>
                      <a:lnTo>
                        <a:pt x="6" y="6"/>
                      </a:lnTo>
                      <a:lnTo>
                        <a:pt x="6"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4" name="Freeform 1042"/>
                <p:cNvSpPr>
                  <a:spLocks/>
                </p:cNvSpPr>
                <p:nvPr/>
              </p:nvSpPr>
              <p:spPr bwMode="auto">
                <a:xfrm>
                  <a:off x="2723818"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5" name="Freeform 1043"/>
                <p:cNvSpPr>
                  <a:spLocks/>
                </p:cNvSpPr>
                <p:nvPr/>
              </p:nvSpPr>
              <p:spPr bwMode="auto">
                <a:xfrm>
                  <a:off x="2753708"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2 w 4"/>
                    <a:gd name="T13" fmla="*/ 3 h 6"/>
                    <a:gd name="T14" fmla="*/ 2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2 w 4"/>
                    <a:gd name="T29" fmla="*/ 3 h 6"/>
                    <a:gd name="T30" fmla="*/ 2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2" y="3"/>
                      </a:lnTo>
                      <a:lnTo>
                        <a:pt x="2" y="2"/>
                      </a:lnTo>
                      <a:lnTo>
                        <a:pt x="1" y="2"/>
                      </a:lnTo>
                      <a:lnTo>
                        <a:pt x="1" y="0"/>
                      </a:lnTo>
                      <a:lnTo>
                        <a:pt x="0" y="0"/>
                      </a:lnTo>
                      <a:lnTo>
                        <a:pt x="0" y="6"/>
                      </a:lnTo>
                      <a:lnTo>
                        <a:pt x="1" y="6"/>
                      </a:lnTo>
                      <a:lnTo>
                        <a:pt x="1" y="3"/>
                      </a:lnTo>
                      <a:lnTo>
                        <a:pt x="2" y="3"/>
                      </a:lnTo>
                      <a:lnTo>
                        <a:pt x="2"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6" name="Freeform 1044"/>
                <p:cNvSpPr>
                  <a:spLocks/>
                </p:cNvSpPr>
                <p:nvPr/>
              </p:nvSpPr>
              <p:spPr bwMode="auto">
                <a:xfrm>
                  <a:off x="2791068" y="5207460"/>
                  <a:ext cx="29890" cy="44835"/>
                </a:xfrm>
                <a:custGeom>
                  <a:avLst/>
                  <a:gdLst>
                    <a:gd name="T0" fmla="*/ 4 w 4"/>
                    <a:gd name="T1" fmla="*/ 1 h 6"/>
                    <a:gd name="T2" fmla="*/ 4 w 4"/>
                    <a:gd name="T3" fmla="*/ 0 h 6"/>
                    <a:gd name="T4" fmla="*/ 0 w 4"/>
                    <a:gd name="T5" fmla="*/ 0 h 6"/>
                    <a:gd name="T6" fmla="*/ 0 w 4"/>
                    <a:gd name="T7" fmla="*/ 1 h 6"/>
                    <a:gd name="T8" fmla="*/ 2 w 4"/>
                    <a:gd name="T9" fmla="*/ 1 h 6"/>
                    <a:gd name="T10" fmla="*/ 2 w 4"/>
                    <a:gd name="T11" fmla="*/ 6 h 6"/>
                    <a:gd name="T12" fmla="*/ 2 w 4"/>
                    <a:gd name="T13" fmla="*/ 6 h 6"/>
                    <a:gd name="T14" fmla="*/ 2 w 4"/>
                    <a:gd name="T15" fmla="*/ 1 h 6"/>
                    <a:gd name="T16" fmla="*/ 4 w 4"/>
                    <a:gd name="T17" fmla="*/ 1 h 6"/>
                    <a:gd name="T18" fmla="*/ 4 w 4"/>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1"/>
                      </a:moveTo>
                      <a:lnTo>
                        <a:pt x="4" y="0"/>
                      </a:lnTo>
                      <a:lnTo>
                        <a:pt x="0" y="0"/>
                      </a:lnTo>
                      <a:lnTo>
                        <a:pt x="0" y="1"/>
                      </a:lnTo>
                      <a:lnTo>
                        <a:pt x="2" y="1"/>
                      </a:lnTo>
                      <a:lnTo>
                        <a:pt x="2" y="6"/>
                      </a:lnTo>
                      <a:lnTo>
                        <a:pt x="2" y="6"/>
                      </a:lnTo>
                      <a:lnTo>
                        <a:pt x="2" y="1"/>
                      </a:lnTo>
                      <a:lnTo>
                        <a:pt x="4" y="1"/>
                      </a:lnTo>
                      <a:lnTo>
                        <a:pt x="4" y="1"/>
                      </a:lnTo>
                      <a:close/>
                    </a:path>
                  </a:pathLst>
                </a:custGeom>
                <a:solidFill>
                  <a:schemeClr val="accent2"/>
                </a:solidFill>
                <a:ln w="1588" cap="flat">
                  <a:solidFill>
                    <a:srgbClr val="EECE23"/>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687" name="Freeform 1045"/>
                <p:cNvSpPr>
                  <a:spLocks noEditPoints="1"/>
                </p:cNvSpPr>
                <p:nvPr/>
              </p:nvSpPr>
              <p:spPr bwMode="auto">
                <a:xfrm>
                  <a:off x="2514588"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1 w 3"/>
                    <a:gd name="T13" fmla="*/ 5 h 5"/>
                    <a:gd name="T14" fmla="*/ 1 w 3"/>
                    <a:gd name="T15" fmla="*/ 4 h 5"/>
                    <a:gd name="T16" fmla="*/ 3 w 3"/>
                    <a:gd name="T17" fmla="*/ 4 h 5"/>
                    <a:gd name="T18" fmla="*/ 3 w 3"/>
                    <a:gd name="T19" fmla="*/ 3 h 5"/>
                    <a:gd name="T20" fmla="*/ 3 w 3"/>
                    <a:gd name="T21" fmla="*/ 3 h 5"/>
                    <a:gd name="T22" fmla="*/ 3 w 3"/>
                    <a:gd name="T23" fmla="*/ 3 h 5"/>
                    <a:gd name="T24" fmla="*/ 3 w 3"/>
                    <a:gd name="T25" fmla="*/ 3 h 5"/>
                    <a:gd name="T26" fmla="*/ 1 w 3"/>
                    <a:gd name="T27" fmla="*/ 3 h 5"/>
                    <a:gd name="T28" fmla="*/ 1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1" y="5"/>
                      </a:lnTo>
                      <a:lnTo>
                        <a:pt x="1" y="4"/>
                      </a:lnTo>
                      <a:lnTo>
                        <a:pt x="3" y="4"/>
                      </a:lnTo>
                      <a:lnTo>
                        <a:pt x="3" y="3"/>
                      </a:lnTo>
                      <a:lnTo>
                        <a:pt x="3" y="3"/>
                      </a:lnTo>
                      <a:lnTo>
                        <a:pt x="3"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8" name="Freeform 1046"/>
                <p:cNvSpPr>
                  <a:spLocks/>
                </p:cNvSpPr>
                <p:nvPr/>
              </p:nvSpPr>
              <p:spPr bwMode="auto">
                <a:xfrm>
                  <a:off x="2551948"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89" name="Freeform 1047"/>
                <p:cNvSpPr>
                  <a:spLocks noEditPoints="1"/>
                </p:cNvSpPr>
                <p:nvPr/>
              </p:nvSpPr>
              <p:spPr bwMode="auto">
                <a:xfrm>
                  <a:off x="258183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4 w 4"/>
                    <a:gd name="T37" fmla="*/ 2 h 5"/>
                    <a:gd name="T38" fmla="*/ 1 w 4"/>
                    <a:gd name="T39" fmla="*/ 2 h 5"/>
                    <a:gd name="T40" fmla="*/ 1 w 4"/>
                    <a:gd name="T41" fmla="*/ 1 h 5"/>
                    <a:gd name="T42" fmla="*/ 4 w 4"/>
                    <a:gd name="T43" fmla="*/ 1 h 5"/>
                    <a:gd name="T44" fmla="*/ 4 w 4"/>
                    <a:gd name="T45" fmla="*/ 2 h 5"/>
                    <a:gd name="T46" fmla="*/ 4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4" y="2"/>
                      </a:moveTo>
                      <a:lnTo>
                        <a:pt x="1" y="2"/>
                      </a:lnTo>
                      <a:lnTo>
                        <a:pt x="1" y="1"/>
                      </a:lnTo>
                      <a:lnTo>
                        <a:pt x="4" y="1"/>
                      </a:lnTo>
                      <a:lnTo>
                        <a:pt x="4" y="2"/>
                      </a:lnTo>
                      <a:lnTo>
                        <a:pt x="4"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0" name="Freeform 1048"/>
                <p:cNvSpPr>
                  <a:spLocks/>
                </p:cNvSpPr>
                <p:nvPr/>
              </p:nvSpPr>
              <p:spPr bwMode="auto">
                <a:xfrm>
                  <a:off x="2619203" y="5274710"/>
                  <a:ext cx="29890" cy="37365"/>
                </a:xfrm>
                <a:custGeom>
                  <a:avLst/>
                  <a:gdLst>
                    <a:gd name="T0" fmla="*/ 4 w 4"/>
                    <a:gd name="T1" fmla="*/ 1 h 5"/>
                    <a:gd name="T2" fmla="*/ 4 w 4"/>
                    <a:gd name="T3" fmla="*/ 0 h 5"/>
                    <a:gd name="T4" fmla="*/ 0 w 4"/>
                    <a:gd name="T5" fmla="*/ 0 h 5"/>
                    <a:gd name="T6" fmla="*/ 0 w 4"/>
                    <a:gd name="T7" fmla="*/ 5 h 5"/>
                    <a:gd name="T8" fmla="*/ 2 w 4"/>
                    <a:gd name="T9" fmla="*/ 5 h 5"/>
                    <a:gd name="T10" fmla="*/ 2 w 4"/>
                    <a:gd name="T11" fmla="*/ 3 h 5"/>
                    <a:gd name="T12" fmla="*/ 3 w 4"/>
                    <a:gd name="T13" fmla="*/ 3 h 5"/>
                    <a:gd name="T14" fmla="*/ 3 w 4"/>
                    <a:gd name="T15" fmla="*/ 2 h 5"/>
                    <a:gd name="T16" fmla="*/ 2 w 4"/>
                    <a:gd name="T17" fmla="*/ 2 h 5"/>
                    <a:gd name="T18" fmla="*/ 2 w 4"/>
                    <a:gd name="T19" fmla="*/ 1 h 5"/>
                    <a:gd name="T20" fmla="*/ 4 w 4"/>
                    <a:gd name="T21" fmla="*/ 1 h 5"/>
                    <a:gd name="T22" fmla="*/ 4 w 4"/>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4" y="1"/>
                      </a:moveTo>
                      <a:lnTo>
                        <a:pt x="4" y="0"/>
                      </a:lnTo>
                      <a:lnTo>
                        <a:pt x="0" y="0"/>
                      </a:lnTo>
                      <a:lnTo>
                        <a:pt x="0" y="5"/>
                      </a:lnTo>
                      <a:lnTo>
                        <a:pt x="2" y="5"/>
                      </a:lnTo>
                      <a:lnTo>
                        <a:pt x="2" y="3"/>
                      </a:lnTo>
                      <a:lnTo>
                        <a:pt x="3" y="3"/>
                      </a:lnTo>
                      <a:lnTo>
                        <a:pt x="3" y="2"/>
                      </a:lnTo>
                      <a:lnTo>
                        <a:pt x="2" y="2"/>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1" name="Freeform 1049"/>
                <p:cNvSpPr>
                  <a:spLocks noEditPoints="1"/>
                </p:cNvSpPr>
                <p:nvPr/>
              </p:nvSpPr>
              <p:spPr bwMode="auto">
                <a:xfrm>
                  <a:off x="2656563" y="5274710"/>
                  <a:ext cx="29890" cy="37365"/>
                </a:xfrm>
                <a:custGeom>
                  <a:avLst/>
                  <a:gdLst>
                    <a:gd name="T0" fmla="*/ 4 w 4"/>
                    <a:gd name="T1" fmla="*/ 4 h 5"/>
                    <a:gd name="T2" fmla="*/ 4 w 4"/>
                    <a:gd name="T3" fmla="*/ 1 h 5"/>
                    <a:gd name="T4" fmla="*/ 4 w 4"/>
                    <a:gd name="T5" fmla="*/ 1 h 5"/>
                    <a:gd name="T6" fmla="*/ 4 w 4"/>
                    <a:gd name="T7" fmla="*/ 0 h 5"/>
                    <a:gd name="T8" fmla="*/ 1 w 4"/>
                    <a:gd name="T9" fmla="*/ 0 h 5"/>
                    <a:gd name="T10" fmla="*/ 1 w 4"/>
                    <a:gd name="T11" fmla="*/ 1 h 5"/>
                    <a:gd name="T12" fmla="*/ 0 w 4"/>
                    <a:gd name="T13" fmla="*/ 1 h 5"/>
                    <a:gd name="T14" fmla="*/ 0 w 4"/>
                    <a:gd name="T15" fmla="*/ 4 h 5"/>
                    <a:gd name="T16" fmla="*/ 1 w 4"/>
                    <a:gd name="T17" fmla="*/ 4 h 5"/>
                    <a:gd name="T18" fmla="*/ 1 w 4"/>
                    <a:gd name="T19" fmla="*/ 5 h 5"/>
                    <a:gd name="T20" fmla="*/ 4 w 4"/>
                    <a:gd name="T21" fmla="*/ 5 h 5"/>
                    <a:gd name="T22" fmla="*/ 4 w 4"/>
                    <a:gd name="T23" fmla="*/ 4 h 5"/>
                    <a:gd name="T24" fmla="*/ 4 w 4"/>
                    <a:gd name="T25" fmla="*/ 4 h 5"/>
                    <a:gd name="T26" fmla="*/ 4 w 4"/>
                    <a:gd name="T27" fmla="*/ 4 h 5"/>
                    <a:gd name="T28" fmla="*/ 4 w 4"/>
                    <a:gd name="T29" fmla="*/ 4 h 5"/>
                    <a:gd name="T30" fmla="*/ 1 w 4"/>
                    <a:gd name="T31" fmla="*/ 4 h 5"/>
                    <a:gd name="T32" fmla="*/ 1 w 4"/>
                    <a:gd name="T33" fmla="*/ 1 h 5"/>
                    <a:gd name="T34" fmla="*/ 4 w 4"/>
                    <a:gd name="T35" fmla="*/ 1 h 5"/>
                    <a:gd name="T36" fmla="*/ 4 w 4"/>
                    <a:gd name="T37" fmla="*/ 4 h 5"/>
                    <a:gd name="T38" fmla="*/ 4 w 4"/>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4" y="4"/>
                      </a:move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moveTo>
                        <a:pt x="4" y="4"/>
                      </a:moveTo>
                      <a:lnTo>
                        <a:pt x="1" y="4"/>
                      </a:lnTo>
                      <a:lnTo>
                        <a:pt x="1" y="1"/>
                      </a:lnTo>
                      <a:lnTo>
                        <a:pt x="4" y="1"/>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2" name="Freeform 1050"/>
                <p:cNvSpPr>
                  <a:spLocks noEditPoints="1"/>
                </p:cNvSpPr>
                <p:nvPr/>
              </p:nvSpPr>
              <p:spPr bwMode="auto">
                <a:xfrm>
                  <a:off x="2693928" y="5274710"/>
                  <a:ext cx="29890" cy="37365"/>
                </a:xfrm>
                <a:custGeom>
                  <a:avLst/>
                  <a:gdLst>
                    <a:gd name="T0" fmla="*/ 4 w 4"/>
                    <a:gd name="T1" fmla="*/ 5 h 5"/>
                    <a:gd name="T2" fmla="*/ 4 w 4"/>
                    <a:gd name="T3" fmla="*/ 4 h 5"/>
                    <a:gd name="T4" fmla="*/ 4 w 4"/>
                    <a:gd name="T5" fmla="*/ 4 h 5"/>
                    <a:gd name="T6" fmla="*/ 4 w 4"/>
                    <a:gd name="T7" fmla="*/ 2 h 5"/>
                    <a:gd name="T8" fmla="*/ 4 w 4"/>
                    <a:gd name="T9" fmla="*/ 2 h 5"/>
                    <a:gd name="T10" fmla="*/ 4 w 4"/>
                    <a:gd name="T11" fmla="*/ 1 h 5"/>
                    <a:gd name="T12" fmla="*/ 4 w 4"/>
                    <a:gd name="T13" fmla="*/ 1 h 5"/>
                    <a:gd name="T14" fmla="*/ 4 w 4"/>
                    <a:gd name="T15" fmla="*/ 0 h 5"/>
                    <a:gd name="T16" fmla="*/ 0 w 4"/>
                    <a:gd name="T17" fmla="*/ 0 h 5"/>
                    <a:gd name="T18" fmla="*/ 0 w 4"/>
                    <a:gd name="T19" fmla="*/ 5 h 5"/>
                    <a:gd name="T20" fmla="*/ 1 w 4"/>
                    <a:gd name="T21" fmla="*/ 5 h 5"/>
                    <a:gd name="T22" fmla="*/ 1 w 4"/>
                    <a:gd name="T23" fmla="*/ 3 h 5"/>
                    <a:gd name="T24" fmla="*/ 3 w 4"/>
                    <a:gd name="T25" fmla="*/ 3 h 5"/>
                    <a:gd name="T26" fmla="*/ 3 w 4"/>
                    <a:gd name="T27" fmla="*/ 4 h 5"/>
                    <a:gd name="T28" fmla="*/ 4 w 4"/>
                    <a:gd name="T29" fmla="*/ 4 h 5"/>
                    <a:gd name="T30" fmla="*/ 4 w 4"/>
                    <a:gd name="T31" fmla="*/ 5 h 5"/>
                    <a:gd name="T32" fmla="*/ 4 w 4"/>
                    <a:gd name="T33" fmla="*/ 5 h 5"/>
                    <a:gd name="T34" fmla="*/ 4 w 4"/>
                    <a:gd name="T35" fmla="*/ 5 h 5"/>
                    <a:gd name="T36" fmla="*/ 3 w 4"/>
                    <a:gd name="T37" fmla="*/ 2 h 5"/>
                    <a:gd name="T38" fmla="*/ 1 w 4"/>
                    <a:gd name="T39" fmla="*/ 2 h 5"/>
                    <a:gd name="T40" fmla="*/ 1 w 4"/>
                    <a:gd name="T41" fmla="*/ 1 h 5"/>
                    <a:gd name="T42" fmla="*/ 3 w 4"/>
                    <a:gd name="T43" fmla="*/ 1 h 5"/>
                    <a:gd name="T44" fmla="*/ 3 w 4"/>
                    <a:gd name="T45" fmla="*/ 2 h 5"/>
                    <a:gd name="T46" fmla="*/ 3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4"/>
                      </a:lnTo>
                      <a:lnTo>
                        <a:pt x="4" y="4"/>
                      </a:lnTo>
                      <a:lnTo>
                        <a:pt x="4" y="2"/>
                      </a:lnTo>
                      <a:lnTo>
                        <a:pt x="4" y="2"/>
                      </a:lnTo>
                      <a:lnTo>
                        <a:pt x="4" y="1"/>
                      </a:lnTo>
                      <a:lnTo>
                        <a:pt x="4" y="1"/>
                      </a:lnTo>
                      <a:lnTo>
                        <a:pt x="4" y="0"/>
                      </a:lnTo>
                      <a:lnTo>
                        <a:pt x="0" y="0"/>
                      </a:lnTo>
                      <a:lnTo>
                        <a:pt x="0" y="5"/>
                      </a:lnTo>
                      <a:lnTo>
                        <a:pt x="1" y="5"/>
                      </a:lnTo>
                      <a:lnTo>
                        <a:pt x="1" y="3"/>
                      </a:lnTo>
                      <a:lnTo>
                        <a:pt x="3" y="3"/>
                      </a:lnTo>
                      <a:lnTo>
                        <a:pt x="3" y="4"/>
                      </a:lnTo>
                      <a:lnTo>
                        <a:pt x="4" y="4"/>
                      </a:lnTo>
                      <a:lnTo>
                        <a:pt x="4" y="5"/>
                      </a:lnTo>
                      <a:lnTo>
                        <a:pt x="4" y="5"/>
                      </a:lnTo>
                      <a:lnTo>
                        <a:pt x="4" y="5"/>
                      </a:lnTo>
                      <a:close/>
                      <a:moveTo>
                        <a:pt x="3" y="2"/>
                      </a:moveTo>
                      <a:lnTo>
                        <a:pt x="1" y="2"/>
                      </a:lnTo>
                      <a:lnTo>
                        <a:pt x="1" y="1"/>
                      </a:lnTo>
                      <a:lnTo>
                        <a:pt x="3" y="1"/>
                      </a:lnTo>
                      <a:lnTo>
                        <a:pt x="3" y="2"/>
                      </a:lnTo>
                      <a:lnTo>
                        <a:pt x="3"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3" name="Freeform 1051"/>
                <p:cNvSpPr>
                  <a:spLocks/>
                </p:cNvSpPr>
                <p:nvPr/>
              </p:nvSpPr>
              <p:spPr bwMode="auto">
                <a:xfrm>
                  <a:off x="2731288" y="5274710"/>
                  <a:ext cx="44835" cy="37365"/>
                </a:xfrm>
                <a:custGeom>
                  <a:avLst/>
                  <a:gdLst>
                    <a:gd name="T0" fmla="*/ 6 w 6"/>
                    <a:gd name="T1" fmla="*/ 5 h 5"/>
                    <a:gd name="T2" fmla="*/ 6 w 6"/>
                    <a:gd name="T3" fmla="*/ 0 h 5"/>
                    <a:gd name="T4" fmla="*/ 5 w 6"/>
                    <a:gd name="T5" fmla="*/ 0 h 5"/>
                    <a:gd name="T6" fmla="*/ 5 w 6"/>
                    <a:gd name="T7" fmla="*/ 1 h 5"/>
                    <a:gd name="T8" fmla="*/ 5 w 6"/>
                    <a:gd name="T9" fmla="*/ 1 h 5"/>
                    <a:gd name="T10" fmla="*/ 5 w 6"/>
                    <a:gd name="T11" fmla="*/ 1 h 5"/>
                    <a:gd name="T12" fmla="*/ 4 w 6"/>
                    <a:gd name="T13" fmla="*/ 1 h 5"/>
                    <a:gd name="T14" fmla="*/ 4 w 6"/>
                    <a:gd name="T15" fmla="*/ 2 h 5"/>
                    <a:gd name="T16" fmla="*/ 3 w 6"/>
                    <a:gd name="T17" fmla="*/ 2 h 5"/>
                    <a:gd name="T18" fmla="*/ 3 w 6"/>
                    <a:gd name="T19" fmla="*/ 1 h 5"/>
                    <a:gd name="T20" fmla="*/ 2 w 6"/>
                    <a:gd name="T21" fmla="*/ 1 h 5"/>
                    <a:gd name="T22" fmla="*/ 2 w 6"/>
                    <a:gd name="T23" fmla="*/ 1 h 5"/>
                    <a:gd name="T24" fmla="*/ 2 w 6"/>
                    <a:gd name="T25" fmla="*/ 1 h 5"/>
                    <a:gd name="T26" fmla="*/ 2 w 6"/>
                    <a:gd name="T27" fmla="*/ 0 h 5"/>
                    <a:gd name="T28" fmla="*/ 0 w 6"/>
                    <a:gd name="T29" fmla="*/ 0 h 5"/>
                    <a:gd name="T30" fmla="*/ 0 w 6"/>
                    <a:gd name="T31" fmla="*/ 5 h 5"/>
                    <a:gd name="T32" fmla="*/ 2 w 6"/>
                    <a:gd name="T33" fmla="*/ 5 h 5"/>
                    <a:gd name="T34" fmla="*/ 2 w 6"/>
                    <a:gd name="T35" fmla="*/ 1 h 5"/>
                    <a:gd name="T36" fmla="*/ 2 w 6"/>
                    <a:gd name="T37" fmla="*/ 1 h 5"/>
                    <a:gd name="T38" fmla="*/ 2 w 6"/>
                    <a:gd name="T39" fmla="*/ 2 h 5"/>
                    <a:gd name="T40" fmla="*/ 3 w 6"/>
                    <a:gd name="T41" fmla="*/ 2 h 5"/>
                    <a:gd name="T42" fmla="*/ 3 w 6"/>
                    <a:gd name="T43" fmla="*/ 3 h 5"/>
                    <a:gd name="T44" fmla="*/ 4 w 6"/>
                    <a:gd name="T45" fmla="*/ 3 h 5"/>
                    <a:gd name="T46" fmla="*/ 4 w 6"/>
                    <a:gd name="T47" fmla="*/ 2 h 5"/>
                    <a:gd name="T48" fmla="*/ 5 w 6"/>
                    <a:gd name="T49" fmla="*/ 2 h 5"/>
                    <a:gd name="T50" fmla="*/ 5 w 6"/>
                    <a:gd name="T51" fmla="*/ 1 h 5"/>
                    <a:gd name="T52" fmla="*/ 5 w 6"/>
                    <a:gd name="T53" fmla="*/ 1 h 5"/>
                    <a:gd name="T54" fmla="*/ 5 w 6"/>
                    <a:gd name="T55" fmla="*/ 5 h 5"/>
                    <a:gd name="T56" fmla="*/ 6 w 6"/>
                    <a:gd name="T57" fmla="*/ 5 h 5"/>
                    <a:gd name="T58" fmla="*/ 6 w 6"/>
                    <a:gd name="T5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5">
                      <a:moveTo>
                        <a:pt x="6" y="5"/>
                      </a:moveTo>
                      <a:lnTo>
                        <a:pt x="6" y="0"/>
                      </a:lnTo>
                      <a:lnTo>
                        <a:pt x="5" y="0"/>
                      </a:lnTo>
                      <a:lnTo>
                        <a:pt x="5" y="1"/>
                      </a:lnTo>
                      <a:lnTo>
                        <a:pt x="5" y="1"/>
                      </a:lnTo>
                      <a:lnTo>
                        <a:pt x="5" y="1"/>
                      </a:lnTo>
                      <a:lnTo>
                        <a:pt x="4" y="1"/>
                      </a:lnTo>
                      <a:lnTo>
                        <a:pt x="4" y="2"/>
                      </a:lnTo>
                      <a:lnTo>
                        <a:pt x="3" y="2"/>
                      </a:lnTo>
                      <a:lnTo>
                        <a:pt x="3" y="1"/>
                      </a:lnTo>
                      <a:lnTo>
                        <a:pt x="2" y="1"/>
                      </a:lnTo>
                      <a:lnTo>
                        <a:pt x="2" y="1"/>
                      </a:lnTo>
                      <a:lnTo>
                        <a:pt x="2" y="1"/>
                      </a:lnTo>
                      <a:lnTo>
                        <a:pt x="2" y="0"/>
                      </a:lnTo>
                      <a:lnTo>
                        <a:pt x="0" y="0"/>
                      </a:lnTo>
                      <a:lnTo>
                        <a:pt x="0" y="5"/>
                      </a:lnTo>
                      <a:lnTo>
                        <a:pt x="2" y="5"/>
                      </a:lnTo>
                      <a:lnTo>
                        <a:pt x="2" y="1"/>
                      </a:lnTo>
                      <a:lnTo>
                        <a:pt x="2" y="1"/>
                      </a:lnTo>
                      <a:lnTo>
                        <a:pt x="2" y="2"/>
                      </a:lnTo>
                      <a:lnTo>
                        <a:pt x="3" y="2"/>
                      </a:lnTo>
                      <a:lnTo>
                        <a:pt x="3" y="3"/>
                      </a:lnTo>
                      <a:lnTo>
                        <a:pt x="4" y="3"/>
                      </a:lnTo>
                      <a:lnTo>
                        <a:pt x="4" y="2"/>
                      </a:lnTo>
                      <a:lnTo>
                        <a:pt x="5" y="2"/>
                      </a:lnTo>
                      <a:lnTo>
                        <a:pt x="5" y="1"/>
                      </a:lnTo>
                      <a:lnTo>
                        <a:pt x="5" y="1"/>
                      </a:lnTo>
                      <a:lnTo>
                        <a:pt x="5" y="5"/>
                      </a:lnTo>
                      <a:lnTo>
                        <a:pt x="6" y="5"/>
                      </a:lnTo>
                      <a:lnTo>
                        <a:pt x="6"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4" name="Freeform 1052"/>
                <p:cNvSpPr>
                  <a:spLocks noEditPoints="1"/>
                </p:cNvSpPr>
                <p:nvPr/>
              </p:nvSpPr>
              <p:spPr bwMode="auto">
                <a:xfrm>
                  <a:off x="2940519" y="5207460"/>
                  <a:ext cx="29890" cy="44835"/>
                </a:xfrm>
                <a:custGeom>
                  <a:avLst/>
                  <a:gdLst>
                    <a:gd name="T0" fmla="*/ 4 w 4"/>
                    <a:gd name="T1" fmla="*/ 5 h 6"/>
                    <a:gd name="T2" fmla="*/ 4 w 4"/>
                    <a:gd name="T3" fmla="*/ 3 h 6"/>
                    <a:gd name="T4" fmla="*/ 4 w 4"/>
                    <a:gd name="T5" fmla="*/ 3 h 6"/>
                    <a:gd name="T6" fmla="*/ 4 w 4"/>
                    <a:gd name="T7" fmla="*/ 3 h 6"/>
                    <a:gd name="T8" fmla="*/ 4 w 4"/>
                    <a:gd name="T9" fmla="*/ 3 h 6"/>
                    <a:gd name="T10" fmla="*/ 4 w 4"/>
                    <a:gd name="T11" fmla="*/ 1 h 6"/>
                    <a:gd name="T12" fmla="*/ 4 w 4"/>
                    <a:gd name="T13" fmla="*/ 1 h 6"/>
                    <a:gd name="T14" fmla="*/ 4 w 4"/>
                    <a:gd name="T15" fmla="*/ 0 h 6"/>
                    <a:gd name="T16" fmla="*/ 0 w 4"/>
                    <a:gd name="T17" fmla="*/ 0 h 6"/>
                    <a:gd name="T18" fmla="*/ 0 w 4"/>
                    <a:gd name="T19" fmla="*/ 6 h 6"/>
                    <a:gd name="T20" fmla="*/ 4 w 4"/>
                    <a:gd name="T21" fmla="*/ 6 h 6"/>
                    <a:gd name="T22" fmla="*/ 4 w 4"/>
                    <a:gd name="T23" fmla="*/ 5 h 6"/>
                    <a:gd name="T24" fmla="*/ 4 w 4"/>
                    <a:gd name="T25" fmla="*/ 5 h 6"/>
                    <a:gd name="T26" fmla="*/ 4 w 4"/>
                    <a:gd name="T27" fmla="*/ 5 h 6"/>
                    <a:gd name="T28" fmla="*/ 4 w 4"/>
                    <a:gd name="T29" fmla="*/ 3 h 6"/>
                    <a:gd name="T30" fmla="*/ 1 w 4"/>
                    <a:gd name="T31" fmla="*/ 3 h 6"/>
                    <a:gd name="T32" fmla="*/ 1 w 4"/>
                    <a:gd name="T33" fmla="*/ 1 h 6"/>
                    <a:gd name="T34" fmla="*/ 4 w 4"/>
                    <a:gd name="T35" fmla="*/ 1 h 6"/>
                    <a:gd name="T36" fmla="*/ 4 w 4"/>
                    <a:gd name="T37" fmla="*/ 3 h 6"/>
                    <a:gd name="T38" fmla="*/ 4 w 4"/>
                    <a:gd name="T39" fmla="*/ 3 h 6"/>
                    <a:gd name="T40" fmla="*/ 4 w 4"/>
                    <a:gd name="T41" fmla="*/ 5 h 6"/>
                    <a:gd name="T42" fmla="*/ 1 w 4"/>
                    <a:gd name="T43" fmla="*/ 5 h 6"/>
                    <a:gd name="T44" fmla="*/ 1 w 4"/>
                    <a:gd name="T45" fmla="*/ 3 h 6"/>
                    <a:gd name="T46" fmla="*/ 4 w 4"/>
                    <a:gd name="T47" fmla="*/ 3 h 6"/>
                    <a:gd name="T48" fmla="*/ 4 w 4"/>
                    <a:gd name="T49" fmla="*/ 5 h 6"/>
                    <a:gd name="T50" fmla="*/ 4 w 4"/>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5"/>
                      </a:moveTo>
                      <a:lnTo>
                        <a:pt x="4" y="3"/>
                      </a:lnTo>
                      <a:lnTo>
                        <a:pt x="4" y="3"/>
                      </a:lnTo>
                      <a:lnTo>
                        <a:pt x="4" y="3"/>
                      </a:lnTo>
                      <a:lnTo>
                        <a:pt x="4" y="3"/>
                      </a:lnTo>
                      <a:lnTo>
                        <a:pt x="4" y="1"/>
                      </a:lnTo>
                      <a:lnTo>
                        <a:pt x="4" y="1"/>
                      </a:lnTo>
                      <a:lnTo>
                        <a:pt x="4" y="0"/>
                      </a:lnTo>
                      <a:lnTo>
                        <a:pt x="0" y="0"/>
                      </a:lnTo>
                      <a:lnTo>
                        <a:pt x="0" y="6"/>
                      </a:lnTo>
                      <a:lnTo>
                        <a:pt x="4" y="6"/>
                      </a:lnTo>
                      <a:lnTo>
                        <a:pt x="4" y="5"/>
                      </a:lnTo>
                      <a:lnTo>
                        <a:pt x="4" y="5"/>
                      </a:lnTo>
                      <a:lnTo>
                        <a:pt x="4" y="5"/>
                      </a:lnTo>
                      <a:close/>
                      <a:moveTo>
                        <a:pt x="4" y="3"/>
                      </a:moveTo>
                      <a:lnTo>
                        <a:pt x="1" y="3"/>
                      </a:lnTo>
                      <a:lnTo>
                        <a:pt x="1" y="1"/>
                      </a:lnTo>
                      <a:lnTo>
                        <a:pt x="4" y="1"/>
                      </a:lnTo>
                      <a:lnTo>
                        <a:pt x="4" y="3"/>
                      </a:lnTo>
                      <a:lnTo>
                        <a:pt x="4" y="3"/>
                      </a:lnTo>
                      <a:close/>
                      <a:moveTo>
                        <a:pt x="4" y="5"/>
                      </a:moveTo>
                      <a:lnTo>
                        <a:pt x="1" y="5"/>
                      </a:lnTo>
                      <a:lnTo>
                        <a:pt x="1" y="3"/>
                      </a:lnTo>
                      <a:lnTo>
                        <a:pt x="4" y="3"/>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5" name="Freeform 1053"/>
                <p:cNvSpPr>
                  <a:spLocks noEditPoints="1"/>
                </p:cNvSpPr>
                <p:nvPr/>
              </p:nvSpPr>
              <p:spPr bwMode="auto">
                <a:xfrm>
                  <a:off x="2985354" y="5207460"/>
                  <a:ext cx="22420" cy="44835"/>
                </a:xfrm>
                <a:custGeom>
                  <a:avLst/>
                  <a:gdLst>
                    <a:gd name="T0" fmla="*/ 3 w 3"/>
                    <a:gd name="T1" fmla="*/ 5 h 6"/>
                    <a:gd name="T2" fmla="*/ 3 w 3"/>
                    <a:gd name="T3" fmla="*/ 1 h 6"/>
                    <a:gd name="T4" fmla="*/ 3 w 3"/>
                    <a:gd name="T5" fmla="*/ 1 h 6"/>
                    <a:gd name="T6" fmla="*/ 3 w 3"/>
                    <a:gd name="T7" fmla="*/ 0 h 6"/>
                    <a:gd name="T8" fmla="*/ 1 w 3"/>
                    <a:gd name="T9" fmla="*/ 0 h 6"/>
                    <a:gd name="T10" fmla="*/ 1 w 3"/>
                    <a:gd name="T11" fmla="*/ 1 h 6"/>
                    <a:gd name="T12" fmla="*/ 0 w 3"/>
                    <a:gd name="T13" fmla="*/ 1 h 6"/>
                    <a:gd name="T14" fmla="*/ 0 w 3"/>
                    <a:gd name="T15" fmla="*/ 5 h 6"/>
                    <a:gd name="T16" fmla="*/ 1 w 3"/>
                    <a:gd name="T17" fmla="*/ 5 h 6"/>
                    <a:gd name="T18" fmla="*/ 1 w 3"/>
                    <a:gd name="T19" fmla="*/ 6 h 6"/>
                    <a:gd name="T20" fmla="*/ 3 w 3"/>
                    <a:gd name="T21" fmla="*/ 6 h 6"/>
                    <a:gd name="T22" fmla="*/ 3 w 3"/>
                    <a:gd name="T23" fmla="*/ 5 h 6"/>
                    <a:gd name="T24" fmla="*/ 3 w 3"/>
                    <a:gd name="T25" fmla="*/ 5 h 6"/>
                    <a:gd name="T26" fmla="*/ 3 w 3"/>
                    <a:gd name="T27" fmla="*/ 5 h 6"/>
                    <a:gd name="T28" fmla="*/ 3 w 3"/>
                    <a:gd name="T29" fmla="*/ 5 h 6"/>
                    <a:gd name="T30" fmla="*/ 1 w 3"/>
                    <a:gd name="T31" fmla="*/ 5 h 6"/>
                    <a:gd name="T32" fmla="*/ 1 w 3"/>
                    <a:gd name="T33" fmla="*/ 1 h 6"/>
                    <a:gd name="T34" fmla="*/ 3 w 3"/>
                    <a:gd name="T35" fmla="*/ 1 h 6"/>
                    <a:gd name="T36" fmla="*/ 3 w 3"/>
                    <a:gd name="T37" fmla="*/ 5 h 6"/>
                    <a:gd name="T38" fmla="*/ 3 w 3"/>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 h="6">
                      <a:moveTo>
                        <a:pt x="3" y="5"/>
                      </a:moveTo>
                      <a:lnTo>
                        <a:pt x="3" y="1"/>
                      </a:lnTo>
                      <a:lnTo>
                        <a:pt x="3" y="1"/>
                      </a:lnTo>
                      <a:lnTo>
                        <a:pt x="3" y="0"/>
                      </a:lnTo>
                      <a:lnTo>
                        <a:pt x="1" y="0"/>
                      </a:lnTo>
                      <a:lnTo>
                        <a:pt x="1" y="1"/>
                      </a:lnTo>
                      <a:lnTo>
                        <a:pt x="0" y="1"/>
                      </a:lnTo>
                      <a:lnTo>
                        <a:pt x="0" y="5"/>
                      </a:lnTo>
                      <a:lnTo>
                        <a:pt x="1" y="5"/>
                      </a:lnTo>
                      <a:lnTo>
                        <a:pt x="1" y="6"/>
                      </a:lnTo>
                      <a:lnTo>
                        <a:pt x="3" y="6"/>
                      </a:lnTo>
                      <a:lnTo>
                        <a:pt x="3" y="5"/>
                      </a:lnTo>
                      <a:lnTo>
                        <a:pt x="3" y="5"/>
                      </a:lnTo>
                      <a:lnTo>
                        <a:pt x="3" y="5"/>
                      </a:lnTo>
                      <a:close/>
                      <a:moveTo>
                        <a:pt x="3" y="5"/>
                      </a:moveTo>
                      <a:lnTo>
                        <a:pt x="1" y="5"/>
                      </a:lnTo>
                      <a:lnTo>
                        <a:pt x="1" y="1"/>
                      </a:lnTo>
                      <a:lnTo>
                        <a:pt x="3" y="1"/>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96" name="Freeform 1054"/>
                <p:cNvSpPr>
                  <a:spLocks/>
                </p:cNvSpPr>
                <p:nvPr/>
              </p:nvSpPr>
              <p:spPr bwMode="auto">
                <a:xfrm>
                  <a:off x="3022719"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7" name="Freeform 1055"/>
                <p:cNvSpPr>
                  <a:spLocks/>
                </p:cNvSpPr>
                <p:nvPr/>
              </p:nvSpPr>
              <p:spPr bwMode="auto">
                <a:xfrm>
                  <a:off x="3037664"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8" name="Freeform 1056"/>
                <p:cNvSpPr>
                  <a:spLocks/>
                </p:cNvSpPr>
                <p:nvPr/>
              </p:nvSpPr>
              <p:spPr bwMode="auto">
                <a:xfrm>
                  <a:off x="3075024" y="5207460"/>
                  <a:ext cx="14945" cy="44835"/>
                </a:xfrm>
                <a:custGeom>
                  <a:avLst/>
                  <a:gdLst>
                    <a:gd name="T0" fmla="*/ 2 w 2"/>
                    <a:gd name="T1" fmla="*/ 6 h 6"/>
                    <a:gd name="T2" fmla="*/ 2 w 2"/>
                    <a:gd name="T3" fmla="*/ 5 h 6"/>
                    <a:gd name="T4" fmla="*/ 0 w 2"/>
                    <a:gd name="T5" fmla="*/ 5 h 6"/>
                    <a:gd name="T6" fmla="*/ 0 w 2"/>
                    <a:gd name="T7" fmla="*/ 3 h 6"/>
                    <a:gd name="T8" fmla="*/ 2 w 2"/>
                    <a:gd name="T9" fmla="*/ 3 h 6"/>
                    <a:gd name="T10" fmla="*/ 2 w 2"/>
                    <a:gd name="T11" fmla="*/ 3 h 6"/>
                    <a:gd name="T12" fmla="*/ 0 w 2"/>
                    <a:gd name="T13" fmla="*/ 3 h 6"/>
                    <a:gd name="T14" fmla="*/ 0 w 2"/>
                    <a:gd name="T15" fmla="*/ 1 h 6"/>
                    <a:gd name="T16" fmla="*/ 2 w 2"/>
                    <a:gd name="T17" fmla="*/ 1 h 6"/>
                    <a:gd name="T18" fmla="*/ 2 w 2"/>
                    <a:gd name="T19" fmla="*/ 0 h 6"/>
                    <a:gd name="T20" fmla="*/ 0 w 2"/>
                    <a:gd name="T21" fmla="*/ 0 h 6"/>
                    <a:gd name="T22" fmla="*/ 0 w 2"/>
                    <a:gd name="T23" fmla="*/ 6 h 6"/>
                    <a:gd name="T24" fmla="*/ 2 w 2"/>
                    <a:gd name="T25" fmla="*/ 6 h 6"/>
                    <a:gd name="T26" fmla="*/ 2 w 2"/>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6">
                      <a:moveTo>
                        <a:pt x="2" y="6"/>
                      </a:moveTo>
                      <a:lnTo>
                        <a:pt x="2" y="5"/>
                      </a:lnTo>
                      <a:lnTo>
                        <a:pt x="0" y="5"/>
                      </a:lnTo>
                      <a:lnTo>
                        <a:pt x="0" y="3"/>
                      </a:lnTo>
                      <a:lnTo>
                        <a:pt x="2" y="3"/>
                      </a:lnTo>
                      <a:lnTo>
                        <a:pt x="2" y="3"/>
                      </a:lnTo>
                      <a:lnTo>
                        <a:pt x="0" y="3"/>
                      </a:lnTo>
                      <a:lnTo>
                        <a:pt x="0" y="1"/>
                      </a:lnTo>
                      <a:lnTo>
                        <a:pt x="2" y="1"/>
                      </a:lnTo>
                      <a:lnTo>
                        <a:pt x="2" y="0"/>
                      </a:lnTo>
                      <a:lnTo>
                        <a:pt x="0" y="0"/>
                      </a:lnTo>
                      <a:lnTo>
                        <a:pt x="0" y="6"/>
                      </a:lnTo>
                      <a:lnTo>
                        <a:pt x="2" y="6"/>
                      </a:lnTo>
                      <a:lnTo>
                        <a:pt x="2"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699" name="Freeform 1057"/>
                <p:cNvSpPr>
                  <a:spLocks noEditPoints="1"/>
                </p:cNvSpPr>
                <p:nvPr/>
              </p:nvSpPr>
              <p:spPr bwMode="auto">
                <a:xfrm>
                  <a:off x="3104914" y="5207460"/>
                  <a:ext cx="29890" cy="44835"/>
                </a:xfrm>
                <a:custGeom>
                  <a:avLst/>
                  <a:gdLst>
                    <a:gd name="T0" fmla="*/ 4 w 4"/>
                    <a:gd name="T1" fmla="*/ 6 h 6"/>
                    <a:gd name="T2" fmla="*/ 4 w 4"/>
                    <a:gd name="T3" fmla="*/ 4 h 6"/>
                    <a:gd name="T4" fmla="*/ 3 w 4"/>
                    <a:gd name="T5" fmla="*/ 4 h 6"/>
                    <a:gd name="T6" fmla="*/ 3 w 4"/>
                    <a:gd name="T7" fmla="*/ 3 h 6"/>
                    <a:gd name="T8" fmla="*/ 4 w 4"/>
                    <a:gd name="T9" fmla="*/ 3 h 6"/>
                    <a:gd name="T10" fmla="*/ 4 w 4"/>
                    <a:gd name="T11" fmla="*/ 1 h 6"/>
                    <a:gd name="T12" fmla="*/ 3 w 4"/>
                    <a:gd name="T13" fmla="*/ 1 h 6"/>
                    <a:gd name="T14" fmla="*/ 3 w 4"/>
                    <a:gd name="T15" fmla="*/ 0 h 6"/>
                    <a:gd name="T16" fmla="*/ 0 w 4"/>
                    <a:gd name="T17" fmla="*/ 0 h 6"/>
                    <a:gd name="T18" fmla="*/ 0 w 4"/>
                    <a:gd name="T19" fmla="*/ 6 h 6"/>
                    <a:gd name="T20" fmla="*/ 1 w 4"/>
                    <a:gd name="T21" fmla="*/ 6 h 6"/>
                    <a:gd name="T22" fmla="*/ 1 w 4"/>
                    <a:gd name="T23" fmla="*/ 3 h 6"/>
                    <a:gd name="T24" fmla="*/ 2 w 4"/>
                    <a:gd name="T25" fmla="*/ 3 h 6"/>
                    <a:gd name="T26" fmla="*/ 2 w 4"/>
                    <a:gd name="T27" fmla="*/ 4 h 6"/>
                    <a:gd name="T28" fmla="*/ 3 w 4"/>
                    <a:gd name="T29" fmla="*/ 4 h 6"/>
                    <a:gd name="T30" fmla="*/ 3 w 4"/>
                    <a:gd name="T31" fmla="*/ 6 h 6"/>
                    <a:gd name="T32" fmla="*/ 4 w 4"/>
                    <a:gd name="T33" fmla="*/ 6 h 6"/>
                    <a:gd name="T34" fmla="*/ 4 w 4"/>
                    <a:gd name="T35" fmla="*/ 6 h 6"/>
                    <a:gd name="T36" fmla="*/ 3 w 4"/>
                    <a:gd name="T37" fmla="*/ 3 h 6"/>
                    <a:gd name="T38" fmla="*/ 1 w 4"/>
                    <a:gd name="T39" fmla="*/ 3 h 6"/>
                    <a:gd name="T40" fmla="*/ 1 w 4"/>
                    <a:gd name="T41" fmla="*/ 1 h 6"/>
                    <a:gd name="T42" fmla="*/ 3 w 4"/>
                    <a:gd name="T43" fmla="*/ 1 h 6"/>
                    <a:gd name="T44" fmla="*/ 3 w 4"/>
                    <a:gd name="T45" fmla="*/ 3 h 6"/>
                    <a:gd name="T46" fmla="*/ 3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4"/>
                      </a:lnTo>
                      <a:lnTo>
                        <a:pt x="3" y="4"/>
                      </a:lnTo>
                      <a:lnTo>
                        <a:pt x="3" y="3"/>
                      </a:lnTo>
                      <a:lnTo>
                        <a:pt x="4" y="3"/>
                      </a:lnTo>
                      <a:lnTo>
                        <a:pt x="4" y="1"/>
                      </a:lnTo>
                      <a:lnTo>
                        <a:pt x="3" y="1"/>
                      </a:lnTo>
                      <a:lnTo>
                        <a:pt x="3" y="0"/>
                      </a:lnTo>
                      <a:lnTo>
                        <a:pt x="0" y="0"/>
                      </a:lnTo>
                      <a:lnTo>
                        <a:pt x="0" y="6"/>
                      </a:lnTo>
                      <a:lnTo>
                        <a:pt x="1" y="6"/>
                      </a:lnTo>
                      <a:lnTo>
                        <a:pt x="1" y="3"/>
                      </a:lnTo>
                      <a:lnTo>
                        <a:pt x="2" y="3"/>
                      </a:lnTo>
                      <a:lnTo>
                        <a:pt x="2" y="4"/>
                      </a:lnTo>
                      <a:lnTo>
                        <a:pt x="3" y="4"/>
                      </a:lnTo>
                      <a:lnTo>
                        <a:pt x="3" y="6"/>
                      </a:lnTo>
                      <a:lnTo>
                        <a:pt x="4" y="6"/>
                      </a:lnTo>
                      <a:lnTo>
                        <a:pt x="4" y="6"/>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0" name="Freeform 1058"/>
                <p:cNvSpPr>
                  <a:spLocks/>
                </p:cNvSpPr>
                <p:nvPr/>
              </p:nvSpPr>
              <p:spPr bwMode="auto">
                <a:xfrm>
                  <a:off x="2940519" y="5274710"/>
                  <a:ext cx="29890" cy="37365"/>
                </a:xfrm>
                <a:custGeom>
                  <a:avLst/>
                  <a:gdLst>
                    <a:gd name="T0" fmla="*/ 4 w 4"/>
                    <a:gd name="T1" fmla="*/ 4 h 5"/>
                    <a:gd name="T2" fmla="*/ 4 w 4"/>
                    <a:gd name="T3" fmla="*/ 4 h 5"/>
                    <a:gd name="T4" fmla="*/ 4 w 4"/>
                    <a:gd name="T5" fmla="*/ 4 h 5"/>
                    <a:gd name="T6" fmla="*/ 4 w 4"/>
                    <a:gd name="T7" fmla="*/ 4 h 5"/>
                    <a:gd name="T8" fmla="*/ 1 w 4"/>
                    <a:gd name="T9" fmla="*/ 4 h 5"/>
                    <a:gd name="T10" fmla="*/ 1 w 4"/>
                    <a:gd name="T11" fmla="*/ 1 h 5"/>
                    <a:gd name="T12" fmla="*/ 4 w 4"/>
                    <a:gd name="T13" fmla="*/ 1 h 5"/>
                    <a:gd name="T14" fmla="*/ 4 w 4"/>
                    <a:gd name="T15" fmla="*/ 1 h 5"/>
                    <a:gd name="T16" fmla="*/ 4 w 4"/>
                    <a:gd name="T17" fmla="*/ 1 h 5"/>
                    <a:gd name="T18" fmla="*/ 4 w 4"/>
                    <a:gd name="T19" fmla="*/ 1 h 5"/>
                    <a:gd name="T20" fmla="*/ 4 w 4"/>
                    <a:gd name="T21" fmla="*/ 1 h 5"/>
                    <a:gd name="T22" fmla="*/ 4 w 4"/>
                    <a:gd name="T23" fmla="*/ 0 h 5"/>
                    <a:gd name="T24" fmla="*/ 1 w 4"/>
                    <a:gd name="T25" fmla="*/ 0 h 5"/>
                    <a:gd name="T26" fmla="*/ 1 w 4"/>
                    <a:gd name="T27" fmla="*/ 1 h 5"/>
                    <a:gd name="T28" fmla="*/ 0 w 4"/>
                    <a:gd name="T29" fmla="*/ 1 h 5"/>
                    <a:gd name="T30" fmla="*/ 0 w 4"/>
                    <a:gd name="T31" fmla="*/ 4 h 5"/>
                    <a:gd name="T32" fmla="*/ 1 w 4"/>
                    <a:gd name="T33" fmla="*/ 4 h 5"/>
                    <a:gd name="T34" fmla="*/ 1 w 4"/>
                    <a:gd name="T35" fmla="*/ 5 h 5"/>
                    <a:gd name="T36" fmla="*/ 4 w 4"/>
                    <a:gd name="T37" fmla="*/ 5 h 5"/>
                    <a:gd name="T38" fmla="*/ 4 w 4"/>
                    <a:gd name="T39" fmla="*/ 4 h 5"/>
                    <a:gd name="T40" fmla="*/ 4 w 4"/>
                    <a:gd name="T41" fmla="*/ 4 h 5"/>
                    <a:gd name="T42" fmla="*/ 4 w 4"/>
                    <a:gd name="T4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4"/>
                      </a:moveTo>
                      <a:lnTo>
                        <a:pt x="4" y="4"/>
                      </a:lnTo>
                      <a:lnTo>
                        <a:pt x="4" y="4"/>
                      </a:lnTo>
                      <a:lnTo>
                        <a:pt x="4" y="4"/>
                      </a:lnTo>
                      <a:lnTo>
                        <a:pt x="1" y="4"/>
                      </a:lnTo>
                      <a:lnTo>
                        <a:pt x="1" y="1"/>
                      </a:lnTo>
                      <a:lnTo>
                        <a:pt x="4" y="1"/>
                      </a:lnTo>
                      <a:lnTo>
                        <a:pt x="4" y="1"/>
                      </a:lnTo>
                      <a:lnTo>
                        <a:pt x="4" y="1"/>
                      </a:lnTo>
                      <a:lnTo>
                        <a:pt x="4" y="1"/>
                      </a:lnTo>
                      <a:lnTo>
                        <a:pt x="4" y="1"/>
                      </a:lnTo>
                      <a:lnTo>
                        <a:pt x="4" y="0"/>
                      </a:lnTo>
                      <a:lnTo>
                        <a:pt x="1" y="0"/>
                      </a:lnTo>
                      <a:lnTo>
                        <a:pt x="1" y="1"/>
                      </a:lnTo>
                      <a:lnTo>
                        <a:pt x="0" y="1"/>
                      </a:lnTo>
                      <a:lnTo>
                        <a:pt x="0" y="4"/>
                      </a:lnTo>
                      <a:lnTo>
                        <a:pt x="1" y="4"/>
                      </a:lnTo>
                      <a:lnTo>
                        <a:pt x="1" y="5"/>
                      </a:lnTo>
                      <a:lnTo>
                        <a:pt x="4" y="5"/>
                      </a:lnTo>
                      <a:lnTo>
                        <a:pt x="4"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1" name="Freeform 1059"/>
                <p:cNvSpPr>
                  <a:spLocks/>
                </p:cNvSpPr>
                <p:nvPr/>
              </p:nvSpPr>
              <p:spPr bwMode="auto">
                <a:xfrm>
                  <a:off x="2985354" y="5274710"/>
                  <a:ext cx="22420" cy="37365"/>
                </a:xfrm>
                <a:custGeom>
                  <a:avLst/>
                  <a:gdLst>
                    <a:gd name="T0" fmla="*/ 3 w 3"/>
                    <a:gd name="T1" fmla="*/ 5 h 5"/>
                    <a:gd name="T2" fmla="*/ 3 w 3"/>
                    <a:gd name="T3" fmla="*/ 4 h 5"/>
                    <a:gd name="T4" fmla="*/ 1 w 3"/>
                    <a:gd name="T5" fmla="*/ 4 h 5"/>
                    <a:gd name="T6" fmla="*/ 1 w 3"/>
                    <a:gd name="T7" fmla="*/ 0 h 5"/>
                    <a:gd name="T8" fmla="*/ 0 w 3"/>
                    <a:gd name="T9" fmla="*/ 0 h 5"/>
                    <a:gd name="T10" fmla="*/ 0 w 3"/>
                    <a:gd name="T11" fmla="*/ 5 h 5"/>
                    <a:gd name="T12" fmla="*/ 3 w 3"/>
                    <a:gd name="T13" fmla="*/ 5 h 5"/>
                    <a:gd name="T14" fmla="*/ 3 w 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5"/>
                      </a:moveTo>
                      <a:lnTo>
                        <a:pt x="3" y="4"/>
                      </a:lnTo>
                      <a:lnTo>
                        <a:pt x="1" y="4"/>
                      </a:lnTo>
                      <a:lnTo>
                        <a:pt x="1" y="0"/>
                      </a:lnTo>
                      <a:lnTo>
                        <a:pt x="0" y="0"/>
                      </a:lnTo>
                      <a:lnTo>
                        <a:pt x="0" y="5"/>
                      </a:lnTo>
                      <a:lnTo>
                        <a:pt x="3" y="5"/>
                      </a:lnTo>
                      <a:lnTo>
                        <a:pt x="3" y="5"/>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02" name="Freeform 1060"/>
                <p:cNvSpPr>
                  <a:spLocks/>
                </p:cNvSpPr>
                <p:nvPr/>
              </p:nvSpPr>
              <p:spPr bwMode="auto">
                <a:xfrm>
                  <a:off x="3015244" y="5274710"/>
                  <a:ext cx="29890" cy="37365"/>
                </a:xfrm>
                <a:custGeom>
                  <a:avLst/>
                  <a:gdLst>
                    <a:gd name="T0" fmla="*/ 4 w 4"/>
                    <a:gd name="T1" fmla="*/ 5 h 5"/>
                    <a:gd name="T2" fmla="*/ 4 w 4"/>
                    <a:gd name="T3" fmla="*/ 4 h 5"/>
                    <a:gd name="T4" fmla="*/ 1 w 4"/>
                    <a:gd name="T5" fmla="*/ 4 h 5"/>
                    <a:gd name="T6" fmla="*/ 1 w 4"/>
                    <a:gd name="T7" fmla="*/ 3 h 5"/>
                    <a:gd name="T8" fmla="*/ 3 w 4"/>
                    <a:gd name="T9" fmla="*/ 3 h 5"/>
                    <a:gd name="T10" fmla="*/ 3 w 4"/>
                    <a:gd name="T11" fmla="*/ 2 h 5"/>
                    <a:gd name="T12" fmla="*/ 1 w 4"/>
                    <a:gd name="T13" fmla="*/ 2 h 5"/>
                    <a:gd name="T14" fmla="*/ 1 w 4"/>
                    <a:gd name="T15" fmla="*/ 1 h 5"/>
                    <a:gd name="T16" fmla="*/ 4 w 4"/>
                    <a:gd name="T17" fmla="*/ 1 h 5"/>
                    <a:gd name="T18" fmla="*/ 4 w 4"/>
                    <a:gd name="T19" fmla="*/ 0 h 5"/>
                    <a:gd name="T20" fmla="*/ 0 w 4"/>
                    <a:gd name="T21" fmla="*/ 0 h 5"/>
                    <a:gd name="T22" fmla="*/ 0 w 4"/>
                    <a:gd name="T23" fmla="*/ 5 h 5"/>
                    <a:gd name="T24" fmla="*/ 4 w 4"/>
                    <a:gd name="T25" fmla="*/ 5 h 5"/>
                    <a:gd name="T26" fmla="*/ 4 w 4"/>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5"/>
                      </a:moveTo>
                      <a:lnTo>
                        <a:pt x="4" y="4"/>
                      </a:lnTo>
                      <a:lnTo>
                        <a:pt x="1" y="4"/>
                      </a:lnTo>
                      <a:lnTo>
                        <a:pt x="1" y="3"/>
                      </a:lnTo>
                      <a:lnTo>
                        <a:pt x="3" y="3"/>
                      </a:lnTo>
                      <a:lnTo>
                        <a:pt x="3" y="2"/>
                      </a:lnTo>
                      <a:lnTo>
                        <a:pt x="1" y="2"/>
                      </a:lnTo>
                      <a:lnTo>
                        <a:pt x="1" y="1"/>
                      </a:lnTo>
                      <a:lnTo>
                        <a:pt x="4" y="1"/>
                      </a:lnTo>
                      <a:lnTo>
                        <a:pt x="4" y="0"/>
                      </a:lnTo>
                      <a:lnTo>
                        <a:pt x="0" y="0"/>
                      </a:lnTo>
                      <a:lnTo>
                        <a:pt x="0"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3" name="Freeform 1061"/>
                <p:cNvSpPr>
                  <a:spLocks noEditPoints="1"/>
                </p:cNvSpPr>
                <p:nvPr/>
              </p:nvSpPr>
              <p:spPr bwMode="auto">
                <a:xfrm>
                  <a:off x="3052609" y="5274710"/>
                  <a:ext cx="29890" cy="37365"/>
                </a:xfrm>
                <a:custGeom>
                  <a:avLst/>
                  <a:gdLst>
                    <a:gd name="T0" fmla="*/ 4 w 4"/>
                    <a:gd name="T1" fmla="*/ 5 h 5"/>
                    <a:gd name="T2" fmla="*/ 4 w 4"/>
                    <a:gd name="T3" fmla="*/ 3 h 5"/>
                    <a:gd name="T4" fmla="*/ 3 w 4"/>
                    <a:gd name="T5" fmla="*/ 3 h 5"/>
                    <a:gd name="T6" fmla="*/ 3 w 4"/>
                    <a:gd name="T7" fmla="*/ 1 h 5"/>
                    <a:gd name="T8" fmla="*/ 2 w 4"/>
                    <a:gd name="T9" fmla="*/ 1 h 5"/>
                    <a:gd name="T10" fmla="*/ 2 w 4"/>
                    <a:gd name="T11" fmla="*/ 0 h 5"/>
                    <a:gd name="T12" fmla="*/ 1 w 4"/>
                    <a:gd name="T13" fmla="*/ 0 h 5"/>
                    <a:gd name="T14" fmla="*/ 1 w 4"/>
                    <a:gd name="T15" fmla="*/ 1 h 5"/>
                    <a:gd name="T16" fmla="*/ 0 w 4"/>
                    <a:gd name="T17" fmla="*/ 1 h 5"/>
                    <a:gd name="T18" fmla="*/ 0 w 4"/>
                    <a:gd name="T19" fmla="*/ 3 h 5"/>
                    <a:gd name="T20" fmla="*/ 0 w 4"/>
                    <a:gd name="T21" fmla="*/ 3 h 5"/>
                    <a:gd name="T22" fmla="*/ 0 w 4"/>
                    <a:gd name="T23" fmla="*/ 5 h 5"/>
                    <a:gd name="T24" fmla="*/ 0 w 4"/>
                    <a:gd name="T25" fmla="*/ 5 h 5"/>
                    <a:gd name="T26" fmla="*/ 0 w 4"/>
                    <a:gd name="T27" fmla="*/ 4 h 5"/>
                    <a:gd name="T28" fmla="*/ 3 w 4"/>
                    <a:gd name="T29" fmla="*/ 4 h 5"/>
                    <a:gd name="T30" fmla="*/ 3 w 4"/>
                    <a:gd name="T31" fmla="*/ 5 h 5"/>
                    <a:gd name="T32" fmla="*/ 4 w 4"/>
                    <a:gd name="T33" fmla="*/ 5 h 5"/>
                    <a:gd name="T34" fmla="*/ 4 w 4"/>
                    <a:gd name="T35" fmla="*/ 5 h 5"/>
                    <a:gd name="T36" fmla="*/ 2 w 4"/>
                    <a:gd name="T37" fmla="*/ 3 h 5"/>
                    <a:gd name="T38" fmla="*/ 1 w 4"/>
                    <a:gd name="T39" fmla="*/ 3 h 5"/>
                    <a:gd name="T40" fmla="*/ 1 w 4"/>
                    <a:gd name="T41" fmla="*/ 1 h 5"/>
                    <a:gd name="T42" fmla="*/ 2 w 4"/>
                    <a:gd name="T43" fmla="*/ 1 h 5"/>
                    <a:gd name="T44" fmla="*/ 2 w 4"/>
                    <a:gd name="T45" fmla="*/ 3 h 5"/>
                    <a:gd name="T46" fmla="*/ 2 w 4"/>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4" y="5"/>
                      </a:moveTo>
                      <a:lnTo>
                        <a:pt x="4" y="3"/>
                      </a:lnTo>
                      <a:lnTo>
                        <a:pt x="3" y="3"/>
                      </a:lnTo>
                      <a:lnTo>
                        <a:pt x="3" y="1"/>
                      </a:lnTo>
                      <a:lnTo>
                        <a:pt x="2" y="1"/>
                      </a:lnTo>
                      <a:lnTo>
                        <a:pt x="2" y="0"/>
                      </a:lnTo>
                      <a:lnTo>
                        <a:pt x="1" y="0"/>
                      </a:lnTo>
                      <a:lnTo>
                        <a:pt x="1" y="1"/>
                      </a:lnTo>
                      <a:lnTo>
                        <a:pt x="0" y="1"/>
                      </a:lnTo>
                      <a:lnTo>
                        <a:pt x="0" y="3"/>
                      </a:lnTo>
                      <a:lnTo>
                        <a:pt x="0" y="3"/>
                      </a:lnTo>
                      <a:lnTo>
                        <a:pt x="0" y="5"/>
                      </a:lnTo>
                      <a:lnTo>
                        <a:pt x="0" y="5"/>
                      </a:lnTo>
                      <a:lnTo>
                        <a:pt x="0" y="4"/>
                      </a:lnTo>
                      <a:lnTo>
                        <a:pt x="3" y="4"/>
                      </a:lnTo>
                      <a:lnTo>
                        <a:pt x="3" y="5"/>
                      </a:lnTo>
                      <a:lnTo>
                        <a:pt x="4" y="5"/>
                      </a:lnTo>
                      <a:lnTo>
                        <a:pt x="4" y="5"/>
                      </a:lnTo>
                      <a:close/>
                      <a:moveTo>
                        <a:pt x="2" y="3"/>
                      </a:moveTo>
                      <a:lnTo>
                        <a:pt x="1" y="3"/>
                      </a:lnTo>
                      <a:lnTo>
                        <a:pt x="1" y="1"/>
                      </a:lnTo>
                      <a:lnTo>
                        <a:pt x="2" y="1"/>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4" name="Freeform 1062"/>
                <p:cNvSpPr>
                  <a:spLocks/>
                </p:cNvSpPr>
                <p:nvPr/>
              </p:nvSpPr>
              <p:spPr bwMode="auto">
                <a:xfrm>
                  <a:off x="3089969" y="5274710"/>
                  <a:ext cx="29890" cy="37365"/>
                </a:xfrm>
                <a:custGeom>
                  <a:avLst/>
                  <a:gdLst>
                    <a:gd name="T0" fmla="*/ 4 w 4"/>
                    <a:gd name="T1" fmla="*/ 5 h 5"/>
                    <a:gd name="T2" fmla="*/ 4 w 4"/>
                    <a:gd name="T3" fmla="*/ 0 h 5"/>
                    <a:gd name="T4" fmla="*/ 3 w 4"/>
                    <a:gd name="T5" fmla="*/ 0 h 5"/>
                    <a:gd name="T6" fmla="*/ 3 w 4"/>
                    <a:gd name="T7" fmla="*/ 3 h 5"/>
                    <a:gd name="T8" fmla="*/ 2 w 4"/>
                    <a:gd name="T9" fmla="*/ 3 h 5"/>
                    <a:gd name="T10" fmla="*/ 2 w 4"/>
                    <a:gd name="T11" fmla="*/ 2 h 5"/>
                    <a:gd name="T12" fmla="*/ 2 w 4"/>
                    <a:gd name="T13" fmla="*/ 2 h 5"/>
                    <a:gd name="T14" fmla="*/ 2 w 4"/>
                    <a:gd name="T15" fmla="*/ 1 h 5"/>
                    <a:gd name="T16" fmla="*/ 0 w 4"/>
                    <a:gd name="T17" fmla="*/ 1 h 5"/>
                    <a:gd name="T18" fmla="*/ 0 w 4"/>
                    <a:gd name="T19" fmla="*/ 0 h 5"/>
                    <a:gd name="T20" fmla="*/ 0 w 4"/>
                    <a:gd name="T21" fmla="*/ 0 h 5"/>
                    <a:gd name="T22" fmla="*/ 0 w 4"/>
                    <a:gd name="T23" fmla="*/ 5 h 5"/>
                    <a:gd name="T24" fmla="*/ 0 w 4"/>
                    <a:gd name="T25" fmla="*/ 5 h 5"/>
                    <a:gd name="T26" fmla="*/ 0 w 4"/>
                    <a:gd name="T27" fmla="*/ 2 h 5"/>
                    <a:gd name="T28" fmla="*/ 2 w 4"/>
                    <a:gd name="T29" fmla="*/ 2 h 5"/>
                    <a:gd name="T30" fmla="*/ 2 w 4"/>
                    <a:gd name="T31" fmla="*/ 3 h 5"/>
                    <a:gd name="T32" fmla="*/ 2 w 4"/>
                    <a:gd name="T33" fmla="*/ 3 h 5"/>
                    <a:gd name="T34" fmla="*/ 2 w 4"/>
                    <a:gd name="T35" fmla="*/ 4 h 5"/>
                    <a:gd name="T36" fmla="*/ 3 w 4"/>
                    <a:gd name="T37" fmla="*/ 4 h 5"/>
                    <a:gd name="T38" fmla="*/ 3 w 4"/>
                    <a:gd name="T39" fmla="*/ 5 h 5"/>
                    <a:gd name="T40" fmla="*/ 4 w 4"/>
                    <a:gd name="T41" fmla="*/ 5 h 5"/>
                    <a:gd name="T42" fmla="*/ 4 w 4"/>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5">
                      <a:moveTo>
                        <a:pt x="4" y="5"/>
                      </a:moveTo>
                      <a:lnTo>
                        <a:pt x="4" y="0"/>
                      </a:lnTo>
                      <a:lnTo>
                        <a:pt x="3" y="0"/>
                      </a:lnTo>
                      <a:lnTo>
                        <a:pt x="3" y="3"/>
                      </a:lnTo>
                      <a:lnTo>
                        <a:pt x="2" y="3"/>
                      </a:lnTo>
                      <a:lnTo>
                        <a:pt x="2" y="2"/>
                      </a:lnTo>
                      <a:lnTo>
                        <a:pt x="2" y="2"/>
                      </a:lnTo>
                      <a:lnTo>
                        <a:pt x="2" y="1"/>
                      </a:lnTo>
                      <a:lnTo>
                        <a:pt x="0" y="1"/>
                      </a:lnTo>
                      <a:lnTo>
                        <a:pt x="0" y="0"/>
                      </a:lnTo>
                      <a:lnTo>
                        <a:pt x="0" y="0"/>
                      </a:lnTo>
                      <a:lnTo>
                        <a:pt x="0" y="5"/>
                      </a:lnTo>
                      <a:lnTo>
                        <a:pt x="0" y="5"/>
                      </a:lnTo>
                      <a:lnTo>
                        <a:pt x="0" y="2"/>
                      </a:lnTo>
                      <a:lnTo>
                        <a:pt x="2" y="2"/>
                      </a:lnTo>
                      <a:lnTo>
                        <a:pt x="2" y="3"/>
                      </a:lnTo>
                      <a:lnTo>
                        <a:pt x="2" y="3"/>
                      </a:lnTo>
                      <a:lnTo>
                        <a:pt x="2" y="4"/>
                      </a:lnTo>
                      <a:lnTo>
                        <a:pt x="3" y="4"/>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5" name="Freeform 1063"/>
                <p:cNvSpPr>
                  <a:spLocks noEditPoints="1"/>
                </p:cNvSpPr>
                <p:nvPr/>
              </p:nvSpPr>
              <p:spPr bwMode="auto">
                <a:xfrm>
                  <a:off x="3269309" y="5207460"/>
                  <a:ext cx="29890" cy="44835"/>
                </a:xfrm>
                <a:custGeom>
                  <a:avLst/>
                  <a:gdLst>
                    <a:gd name="T0" fmla="*/ 4 w 4"/>
                    <a:gd name="T1" fmla="*/ 5 h 6"/>
                    <a:gd name="T2" fmla="*/ 4 w 4"/>
                    <a:gd name="T3" fmla="*/ 1 h 6"/>
                    <a:gd name="T4" fmla="*/ 3 w 4"/>
                    <a:gd name="T5" fmla="*/ 1 h 6"/>
                    <a:gd name="T6" fmla="*/ 3 w 4"/>
                    <a:gd name="T7" fmla="*/ 0 h 6"/>
                    <a:gd name="T8" fmla="*/ 1 w 4"/>
                    <a:gd name="T9" fmla="*/ 0 h 6"/>
                    <a:gd name="T10" fmla="*/ 1 w 4"/>
                    <a:gd name="T11" fmla="*/ 1 h 6"/>
                    <a:gd name="T12" fmla="*/ 0 w 4"/>
                    <a:gd name="T13" fmla="*/ 1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 name="T28" fmla="*/ 3 w 4"/>
                    <a:gd name="T29" fmla="*/ 5 h 6"/>
                    <a:gd name="T30" fmla="*/ 1 w 4"/>
                    <a:gd name="T31" fmla="*/ 5 h 6"/>
                    <a:gd name="T32" fmla="*/ 1 w 4"/>
                    <a:gd name="T33" fmla="*/ 1 h 6"/>
                    <a:gd name="T34" fmla="*/ 3 w 4"/>
                    <a:gd name="T35" fmla="*/ 1 h 6"/>
                    <a:gd name="T36" fmla="*/ 3 w 4"/>
                    <a:gd name="T37" fmla="*/ 5 h 6"/>
                    <a:gd name="T38" fmla="*/ 3 w 4"/>
                    <a:gd name="T3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5"/>
                      </a:moveTo>
                      <a:lnTo>
                        <a:pt x="4" y="1"/>
                      </a:lnTo>
                      <a:lnTo>
                        <a:pt x="3" y="1"/>
                      </a:lnTo>
                      <a:lnTo>
                        <a:pt x="3" y="0"/>
                      </a:lnTo>
                      <a:lnTo>
                        <a:pt x="1" y="0"/>
                      </a:lnTo>
                      <a:lnTo>
                        <a:pt x="1" y="1"/>
                      </a:lnTo>
                      <a:lnTo>
                        <a:pt x="0" y="1"/>
                      </a:lnTo>
                      <a:lnTo>
                        <a:pt x="0" y="5"/>
                      </a:lnTo>
                      <a:lnTo>
                        <a:pt x="1" y="5"/>
                      </a:lnTo>
                      <a:lnTo>
                        <a:pt x="1" y="6"/>
                      </a:lnTo>
                      <a:lnTo>
                        <a:pt x="3" y="6"/>
                      </a:lnTo>
                      <a:lnTo>
                        <a:pt x="3" y="5"/>
                      </a:lnTo>
                      <a:lnTo>
                        <a:pt x="4" y="5"/>
                      </a:lnTo>
                      <a:lnTo>
                        <a:pt x="4" y="5"/>
                      </a:lnTo>
                      <a:close/>
                      <a:moveTo>
                        <a:pt x="3" y="5"/>
                      </a:moveTo>
                      <a:lnTo>
                        <a:pt x="1" y="5"/>
                      </a:lnTo>
                      <a:lnTo>
                        <a:pt x="1" y="1"/>
                      </a:lnTo>
                      <a:lnTo>
                        <a:pt x="3" y="1"/>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6" name="Freeform 1064"/>
                <p:cNvSpPr>
                  <a:spLocks/>
                </p:cNvSpPr>
                <p:nvPr/>
              </p:nvSpPr>
              <p:spPr bwMode="auto">
                <a:xfrm>
                  <a:off x="3306674" y="5207460"/>
                  <a:ext cx="29890" cy="44835"/>
                </a:xfrm>
                <a:custGeom>
                  <a:avLst/>
                  <a:gdLst>
                    <a:gd name="T0" fmla="*/ 4 w 4"/>
                    <a:gd name="T1" fmla="*/ 6 h 6"/>
                    <a:gd name="T2" fmla="*/ 4 w 4"/>
                    <a:gd name="T3" fmla="*/ 0 h 6"/>
                    <a:gd name="T4" fmla="*/ 3 w 4"/>
                    <a:gd name="T5" fmla="*/ 0 h 6"/>
                    <a:gd name="T6" fmla="*/ 3 w 4"/>
                    <a:gd name="T7" fmla="*/ 3 h 6"/>
                    <a:gd name="T8" fmla="*/ 3 w 4"/>
                    <a:gd name="T9" fmla="*/ 3 h 6"/>
                    <a:gd name="T10" fmla="*/ 3 w 4"/>
                    <a:gd name="T11" fmla="*/ 3 h 6"/>
                    <a:gd name="T12" fmla="*/ 1 w 4"/>
                    <a:gd name="T13" fmla="*/ 3 h 6"/>
                    <a:gd name="T14" fmla="*/ 1 w 4"/>
                    <a:gd name="T15" fmla="*/ 2 h 6"/>
                    <a:gd name="T16" fmla="*/ 1 w 4"/>
                    <a:gd name="T17" fmla="*/ 2 h 6"/>
                    <a:gd name="T18" fmla="*/ 1 w 4"/>
                    <a:gd name="T19" fmla="*/ 0 h 6"/>
                    <a:gd name="T20" fmla="*/ 0 w 4"/>
                    <a:gd name="T21" fmla="*/ 0 h 6"/>
                    <a:gd name="T22" fmla="*/ 0 w 4"/>
                    <a:gd name="T23" fmla="*/ 6 h 6"/>
                    <a:gd name="T24" fmla="*/ 1 w 4"/>
                    <a:gd name="T25" fmla="*/ 6 h 6"/>
                    <a:gd name="T26" fmla="*/ 1 w 4"/>
                    <a:gd name="T27" fmla="*/ 3 h 6"/>
                    <a:gd name="T28" fmla="*/ 1 w 4"/>
                    <a:gd name="T29" fmla="*/ 3 h 6"/>
                    <a:gd name="T30" fmla="*/ 1 w 4"/>
                    <a:gd name="T31" fmla="*/ 3 h 6"/>
                    <a:gd name="T32" fmla="*/ 3 w 4"/>
                    <a:gd name="T33" fmla="*/ 3 h 6"/>
                    <a:gd name="T34" fmla="*/ 3 w 4"/>
                    <a:gd name="T35" fmla="*/ 4 h 6"/>
                    <a:gd name="T36" fmla="*/ 3 w 4"/>
                    <a:gd name="T37" fmla="*/ 4 h 6"/>
                    <a:gd name="T38" fmla="*/ 3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3" y="0"/>
                      </a:lnTo>
                      <a:lnTo>
                        <a:pt x="3" y="3"/>
                      </a:lnTo>
                      <a:lnTo>
                        <a:pt x="3" y="3"/>
                      </a:lnTo>
                      <a:lnTo>
                        <a:pt x="3" y="3"/>
                      </a:lnTo>
                      <a:lnTo>
                        <a:pt x="1" y="3"/>
                      </a:lnTo>
                      <a:lnTo>
                        <a:pt x="1" y="2"/>
                      </a:lnTo>
                      <a:lnTo>
                        <a:pt x="1" y="2"/>
                      </a:lnTo>
                      <a:lnTo>
                        <a:pt x="1" y="0"/>
                      </a:lnTo>
                      <a:lnTo>
                        <a:pt x="0" y="0"/>
                      </a:lnTo>
                      <a:lnTo>
                        <a:pt x="0" y="6"/>
                      </a:lnTo>
                      <a:lnTo>
                        <a:pt x="1" y="6"/>
                      </a:lnTo>
                      <a:lnTo>
                        <a:pt x="1" y="3"/>
                      </a:lnTo>
                      <a:lnTo>
                        <a:pt x="1" y="3"/>
                      </a:lnTo>
                      <a:lnTo>
                        <a:pt x="1" y="3"/>
                      </a:lnTo>
                      <a:lnTo>
                        <a:pt x="3" y="3"/>
                      </a:lnTo>
                      <a:lnTo>
                        <a:pt x="3" y="4"/>
                      </a:lnTo>
                      <a:lnTo>
                        <a:pt x="3" y="4"/>
                      </a:lnTo>
                      <a:lnTo>
                        <a:pt x="3"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7" name="Freeform 1065"/>
                <p:cNvSpPr>
                  <a:spLocks/>
                </p:cNvSpPr>
                <p:nvPr/>
              </p:nvSpPr>
              <p:spPr bwMode="auto">
                <a:xfrm>
                  <a:off x="3351509" y="5229875"/>
                  <a:ext cx="14945" cy="7475"/>
                </a:xfrm>
                <a:custGeom>
                  <a:avLst/>
                  <a:gdLst>
                    <a:gd name="T0" fmla="*/ 2 w 2"/>
                    <a:gd name="T1" fmla="*/ 1 h 1"/>
                    <a:gd name="T2" fmla="*/ 2 w 2"/>
                    <a:gd name="T3" fmla="*/ 0 h 1"/>
                    <a:gd name="T4" fmla="*/ 0 w 2"/>
                    <a:gd name="T5" fmla="*/ 0 h 1"/>
                    <a:gd name="T6" fmla="*/ 0 w 2"/>
                    <a:gd name="T7" fmla="*/ 1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0"/>
                      </a:lnTo>
                      <a:lnTo>
                        <a:pt x="0" y="0"/>
                      </a:lnTo>
                      <a:lnTo>
                        <a:pt x="0" y="1"/>
                      </a:lnTo>
                      <a:lnTo>
                        <a:pt x="2" y="1"/>
                      </a:lnTo>
                      <a:lnTo>
                        <a:pt x="2"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8" name="Freeform 1066"/>
                <p:cNvSpPr>
                  <a:spLocks/>
                </p:cNvSpPr>
                <p:nvPr/>
              </p:nvSpPr>
              <p:spPr bwMode="auto">
                <a:xfrm>
                  <a:off x="3381399"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09" name="Freeform 1067"/>
                <p:cNvSpPr>
                  <a:spLocks/>
                </p:cNvSpPr>
                <p:nvPr/>
              </p:nvSpPr>
              <p:spPr bwMode="auto">
                <a:xfrm>
                  <a:off x="3411290" y="5207460"/>
                  <a:ext cx="7475" cy="44835"/>
                </a:xfrm>
                <a:custGeom>
                  <a:avLst/>
                  <a:gdLst>
                    <a:gd name="T0" fmla="*/ 1 w 1"/>
                    <a:gd name="T1" fmla="*/ 6 h 6"/>
                    <a:gd name="T2" fmla="*/ 1 w 1"/>
                    <a:gd name="T3" fmla="*/ 0 h 6"/>
                    <a:gd name="T4" fmla="*/ 0 w 1"/>
                    <a:gd name="T5" fmla="*/ 0 h 6"/>
                    <a:gd name="T6" fmla="*/ 0 w 1"/>
                    <a:gd name="T7" fmla="*/ 6 h 6"/>
                    <a:gd name="T8" fmla="*/ 1 w 1"/>
                    <a:gd name="T9" fmla="*/ 6 h 6"/>
                    <a:gd name="T10" fmla="*/ 1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1" y="6"/>
                      </a:moveTo>
                      <a:lnTo>
                        <a:pt x="1" y="0"/>
                      </a:lnTo>
                      <a:lnTo>
                        <a:pt x="0" y="0"/>
                      </a:lnTo>
                      <a:lnTo>
                        <a:pt x="0" y="6"/>
                      </a:lnTo>
                      <a:lnTo>
                        <a:pt x="1" y="6"/>
                      </a:lnTo>
                      <a:lnTo>
                        <a:pt x="1"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0" name="Freeform 1068"/>
                <p:cNvSpPr>
                  <a:spLocks/>
                </p:cNvSpPr>
                <p:nvPr/>
              </p:nvSpPr>
              <p:spPr bwMode="auto">
                <a:xfrm>
                  <a:off x="3433705" y="5207460"/>
                  <a:ext cx="29890" cy="44835"/>
                </a:xfrm>
                <a:custGeom>
                  <a:avLst/>
                  <a:gdLst>
                    <a:gd name="T0" fmla="*/ 4 w 4"/>
                    <a:gd name="T1" fmla="*/ 6 h 6"/>
                    <a:gd name="T2" fmla="*/ 4 w 4"/>
                    <a:gd name="T3" fmla="*/ 0 h 6"/>
                    <a:gd name="T4" fmla="*/ 2 w 4"/>
                    <a:gd name="T5" fmla="*/ 0 h 6"/>
                    <a:gd name="T6" fmla="*/ 2 w 4"/>
                    <a:gd name="T7" fmla="*/ 3 h 6"/>
                    <a:gd name="T8" fmla="*/ 2 w 4"/>
                    <a:gd name="T9" fmla="*/ 3 h 6"/>
                    <a:gd name="T10" fmla="*/ 2 w 4"/>
                    <a:gd name="T11" fmla="*/ 3 h 6"/>
                    <a:gd name="T12" fmla="*/ 1 w 4"/>
                    <a:gd name="T13" fmla="*/ 3 h 6"/>
                    <a:gd name="T14" fmla="*/ 1 w 4"/>
                    <a:gd name="T15" fmla="*/ 2 h 6"/>
                    <a:gd name="T16" fmla="*/ 0 w 4"/>
                    <a:gd name="T17" fmla="*/ 2 h 6"/>
                    <a:gd name="T18" fmla="*/ 0 w 4"/>
                    <a:gd name="T19" fmla="*/ 0 h 6"/>
                    <a:gd name="T20" fmla="*/ 0 w 4"/>
                    <a:gd name="T21" fmla="*/ 0 h 6"/>
                    <a:gd name="T22" fmla="*/ 0 w 4"/>
                    <a:gd name="T23" fmla="*/ 6 h 6"/>
                    <a:gd name="T24" fmla="*/ 0 w 4"/>
                    <a:gd name="T25" fmla="*/ 6 h 6"/>
                    <a:gd name="T26" fmla="*/ 0 w 4"/>
                    <a:gd name="T27" fmla="*/ 3 h 6"/>
                    <a:gd name="T28" fmla="*/ 1 w 4"/>
                    <a:gd name="T29" fmla="*/ 3 h 6"/>
                    <a:gd name="T30" fmla="*/ 1 w 4"/>
                    <a:gd name="T31" fmla="*/ 3 h 6"/>
                    <a:gd name="T32" fmla="*/ 2 w 4"/>
                    <a:gd name="T33" fmla="*/ 3 h 6"/>
                    <a:gd name="T34" fmla="*/ 2 w 4"/>
                    <a:gd name="T35" fmla="*/ 4 h 6"/>
                    <a:gd name="T36" fmla="*/ 2 w 4"/>
                    <a:gd name="T37" fmla="*/ 4 h 6"/>
                    <a:gd name="T38" fmla="*/ 2 w 4"/>
                    <a:gd name="T39" fmla="*/ 6 h 6"/>
                    <a:gd name="T40" fmla="*/ 4 w 4"/>
                    <a:gd name="T41" fmla="*/ 6 h 6"/>
                    <a:gd name="T42" fmla="*/ 4 w 4"/>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4" y="6"/>
                      </a:moveTo>
                      <a:lnTo>
                        <a:pt x="4" y="0"/>
                      </a:lnTo>
                      <a:lnTo>
                        <a:pt x="2" y="0"/>
                      </a:lnTo>
                      <a:lnTo>
                        <a:pt x="2"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2" y="4"/>
                      </a:lnTo>
                      <a:lnTo>
                        <a:pt x="2" y="6"/>
                      </a:lnTo>
                      <a:lnTo>
                        <a:pt x="4" y="6"/>
                      </a:lnTo>
                      <a:lnTo>
                        <a:pt x="4"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1" name="Freeform 1069"/>
                <p:cNvSpPr>
                  <a:spLocks/>
                </p:cNvSpPr>
                <p:nvPr/>
              </p:nvSpPr>
              <p:spPr bwMode="auto">
                <a:xfrm>
                  <a:off x="3471070" y="5207460"/>
                  <a:ext cx="22420" cy="44835"/>
                </a:xfrm>
                <a:custGeom>
                  <a:avLst/>
                  <a:gdLst>
                    <a:gd name="T0" fmla="*/ 3 w 3"/>
                    <a:gd name="T1" fmla="*/ 6 h 6"/>
                    <a:gd name="T2" fmla="*/ 3 w 3"/>
                    <a:gd name="T3" fmla="*/ 5 h 6"/>
                    <a:gd name="T4" fmla="*/ 0 w 3"/>
                    <a:gd name="T5" fmla="*/ 5 h 6"/>
                    <a:gd name="T6" fmla="*/ 0 w 3"/>
                    <a:gd name="T7" fmla="*/ 3 h 6"/>
                    <a:gd name="T8" fmla="*/ 2 w 3"/>
                    <a:gd name="T9" fmla="*/ 3 h 6"/>
                    <a:gd name="T10" fmla="*/ 2 w 3"/>
                    <a:gd name="T11" fmla="*/ 3 h 6"/>
                    <a:gd name="T12" fmla="*/ 0 w 3"/>
                    <a:gd name="T13" fmla="*/ 3 h 6"/>
                    <a:gd name="T14" fmla="*/ 0 w 3"/>
                    <a:gd name="T15" fmla="*/ 1 h 6"/>
                    <a:gd name="T16" fmla="*/ 3 w 3"/>
                    <a:gd name="T17" fmla="*/ 1 h 6"/>
                    <a:gd name="T18" fmla="*/ 3 w 3"/>
                    <a:gd name="T19" fmla="*/ 0 h 6"/>
                    <a:gd name="T20" fmla="*/ 0 w 3"/>
                    <a:gd name="T21" fmla="*/ 0 h 6"/>
                    <a:gd name="T22" fmla="*/ 0 w 3"/>
                    <a:gd name="T23" fmla="*/ 6 h 6"/>
                    <a:gd name="T24" fmla="*/ 3 w 3"/>
                    <a:gd name="T25" fmla="*/ 6 h 6"/>
                    <a:gd name="T26" fmla="*/ 3 w 3"/>
                    <a:gd name="T2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6"/>
                      </a:moveTo>
                      <a:lnTo>
                        <a:pt x="3" y="5"/>
                      </a:lnTo>
                      <a:lnTo>
                        <a:pt x="0" y="5"/>
                      </a:lnTo>
                      <a:lnTo>
                        <a:pt x="0" y="3"/>
                      </a:lnTo>
                      <a:lnTo>
                        <a:pt x="2" y="3"/>
                      </a:lnTo>
                      <a:lnTo>
                        <a:pt x="2" y="3"/>
                      </a:lnTo>
                      <a:lnTo>
                        <a:pt x="0" y="3"/>
                      </a:lnTo>
                      <a:lnTo>
                        <a:pt x="0" y="1"/>
                      </a:lnTo>
                      <a:lnTo>
                        <a:pt x="3" y="1"/>
                      </a:lnTo>
                      <a:lnTo>
                        <a:pt x="3"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2" name="Freeform 1070"/>
                <p:cNvSpPr>
                  <a:spLocks/>
                </p:cNvSpPr>
                <p:nvPr/>
              </p:nvSpPr>
              <p:spPr bwMode="auto">
                <a:xfrm>
                  <a:off x="3269309" y="5274710"/>
                  <a:ext cx="22420" cy="37365"/>
                </a:xfrm>
                <a:custGeom>
                  <a:avLst/>
                  <a:gdLst>
                    <a:gd name="T0" fmla="*/ 3 w 3"/>
                    <a:gd name="T1" fmla="*/ 5 h 5"/>
                    <a:gd name="T2" fmla="*/ 3 w 3"/>
                    <a:gd name="T3" fmla="*/ 4 h 5"/>
                    <a:gd name="T4" fmla="*/ 1 w 3"/>
                    <a:gd name="T5" fmla="*/ 4 h 5"/>
                    <a:gd name="T6" fmla="*/ 1 w 3"/>
                    <a:gd name="T7" fmla="*/ 3 h 5"/>
                    <a:gd name="T8" fmla="*/ 2 w 3"/>
                    <a:gd name="T9" fmla="*/ 3 h 5"/>
                    <a:gd name="T10" fmla="*/ 2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2" y="3"/>
                      </a:lnTo>
                      <a:lnTo>
                        <a:pt x="2"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3" name="Freeform 1071"/>
                <p:cNvSpPr>
                  <a:spLocks noEditPoints="1"/>
                </p:cNvSpPr>
                <p:nvPr/>
              </p:nvSpPr>
              <p:spPr bwMode="auto">
                <a:xfrm>
                  <a:off x="3299199" y="5274710"/>
                  <a:ext cx="29890" cy="44835"/>
                </a:xfrm>
                <a:custGeom>
                  <a:avLst/>
                  <a:gdLst>
                    <a:gd name="T0" fmla="*/ 4 w 4"/>
                    <a:gd name="T1" fmla="*/ 6 h 6"/>
                    <a:gd name="T2" fmla="*/ 4 w 4"/>
                    <a:gd name="T3" fmla="*/ 5 h 6"/>
                    <a:gd name="T4" fmla="*/ 3 w 4"/>
                    <a:gd name="T5" fmla="*/ 5 h 6"/>
                    <a:gd name="T6" fmla="*/ 3 w 4"/>
                    <a:gd name="T7" fmla="*/ 4 h 6"/>
                    <a:gd name="T8" fmla="*/ 4 w 4"/>
                    <a:gd name="T9" fmla="*/ 4 h 6"/>
                    <a:gd name="T10" fmla="*/ 4 w 4"/>
                    <a:gd name="T11" fmla="*/ 1 h 6"/>
                    <a:gd name="T12" fmla="*/ 3 w 4"/>
                    <a:gd name="T13" fmla="*/ 1 h 6"/>
                    <a:gd name="T14" fmla="*/ 3 w 4"/>
                    <a:gd name="T15" fmla="*/ 0 h 6"/>
                    <a:gd name="T16" fmla="*/ 1 w 4"/>
                    <a:gd name="T17" fmla="*/ 0 h 6"/>
                    <a:gd name="T18" fmla="*/ 1 w 4"/>
                    <a:gd name="T19" fmla="*/ 1 h 6"/>
                    <a:gd name="T20" fmla="*/ 0 w 4"/>
                    <a:gd name="T21" fmla="*/ 1 h 6"/>
                    <a:gd name="T22" fmla="*/ 0 w 4"/>
                    <a:gd name="T23" fmla="*/ 4 h 6"/>
                    <a:gd name="T24" fmla="*/ 1 w 4"/>
                    <a:gd name="T25" fmla="*/ 4 h 6"/>
                    <a:gd name="T26" fmla="*/ 1 w 4"/>
                    <a:gd name="T27" fmla="*/ 5 h 6"/>
                    <a:gd name="T28" fmla="*/ 3 w 4"/>
                    <a:gd name="T29" fmla="*/ 5 h 6"/>
                    <a:gd name="T30" fmla="*/ 3 w 4"/>
                    <a:gd name="T31" fmla="*/ 6 h 6"/>
                    <a:gd name="T32" fmla="*/ 4 w 4"/>
                    <a:gd name="T33" fmla="*/ 6 h 6"/>
                    <a:gd name="T34" fmla="*/ 4 w 4"/>
                    <a:gd name="T35" fmla="*/ 6 h 6"/>
                    <a:gd name="T36" fmla="*/ 3 w 4"/>
                    <a:gd name="T37" fmla="*/ 4 h 6"/>
                    <a:gd name="T38" fmla="*/ 1 w 4"/>
                    <a:gd name="T39" fmla="*/ 4 h 6"/>
                    <a:gd name="T40" fmla="*/ 1 w 4"/>
                    <a:gd name="T41" fmla="*/ 1 h 6"/>
                    <a:gd name="T42" fmla="*/ 3 w 4"/>
                    <a:gd name="T43" fmla="*/ 1 h 6"/>
                    <a:gd name="T44" fmla="*/ 3 w 4"/>
                    <a:gd name="T45" fmla="*/ 4 h 6"/>
                    <a:gd name="T46" fmla="*/ 3 w 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5"/>
                      </a:lnTo>
                      <a:lnTo>
                        <a:pt x="3" y="5"/>
                      </a:lnTo>
                      <a:lnTo>
                        <a:pt x="3" y="4"/>
                      </a:lnTo>
                      <a:lnTo>
                        <a:pt x="4" y="4"/>
                      </a:lnTo>
                      <a:lnTo>
                        <a:pt x="4" y="1"/>
                      </a:lnTo>
                      <a:lnTo>
                        <a:pt x="3" y="1"/>
                      </a:lnTo>
                      <a:lnTo>
                        <a:pt x="3" y="0"/>
                      </a:lnTo>
                      <a:lnTo>
                        <a:pt x="1" y="0"/>
                      </a:lnTo>
                      <a:lnTo>
                        <a:pt x="1" y="1"/>
                      </a:lnTo>
                      <a:lnTo>
                        <a:pt x="0" y="1"/>
                      </a:lnTo>
                      <a:lnTo>
                        <a:pt x="0" y="4"/>
                      </a:lnTo>
                      <a:lnTo>
                        <a:pt x="1" y="4"/>
                      </a:lnTo>
                      <a:lnTo>
                        <a:pt x="1" y="5"/>
                      </a:lnTo>
                      <a:lnTo>
                        <a:pt x="3" y="5"/>
                      </a:lnTo>
                      <a:lnTo>
                        <a:pt x="3" y="6"/>
                      </a:lnTo>
                      <a:lnTo>
                        <a:pt x="4" y="6"/>
                      </a:lnTo>
                      <a:lnTo>
                        <a:pt x="4" y="6"/>
                      </a:lnTo>
                      <a:close/>
                      <a:moveTo>
                        <a:pt x="3" y="4"/>
                      </a:moveTo>
                      <a:lnTo>
                        <a:pt x="1" y="4"/>
                      </a:lnTo>
                      <a:lnTo>
                        <a:pt x="1" y="1"/>
                      </a:lnTo>
                      <a:lnTo>
                        <a:pt x="3" y="1"/>
                      </a:lnTo>
                      <a:lnTo>
                        <a:pt x="3" y="4"/>
                      </a:lnTo>
                      <a:lnTo>
                        <a:pt x="3"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4" name="Freeform 1072"/>
                <p:cNvSpPr>
                  <a:spLocks/>
                </p:cNvSpPr>
                <p:nvPr/>
              </p:nvSpPr>
              <p:spPr bwMode="auto">
                <a:xfrm>
                  <a:off x="3336564"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5" name="Freeform 1073"/>
                <p:cNvSpPr>
                  <a:spLocks/>
                </p:cNvSpPr>
                <p:nvPr/>
              </p:nvSpPr>
              <p:spPr bwMode="auto">
                <a:xfrm>
                  <a:off x="3373925" y="5274710"/>
                  <a:ext cx="7475" cy="37365"/>
                </a:xfrm>
                <a:custGeom>
                  <a:avLst/>
                  <a:gdLst>
                    <a:gd name="T0" fmla="*/ 1 w 1"/>
                    <a:gd name="T1" fmla="*/ 5 h 5"/>
                    <a:gd name="T2" fmla="*/ 1 w 1"/>
                    <a:gd name="T3" fmla="*/ 0 h 5"/>
                    <a:gd name="T4" fmla="*/ 0 w 1"/>
                    <a:gd name="T5" fmla="*/ 0 h 5"/>
                    <a:gd name="T6" fmla="*/ 0 w 1"/>
                    <a:gd name="T7" fmla="*/ 5 h 5"/>
                    <a:gd name="T8" fmla="*/ 1 w 1"/>
                    <a:gd name="T9" fmla="*/ 5 h 5"/>
                    <a:gd name="T10" fmla="*/ 1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1" y="5"/>
                      </a:moveTo>
                      <a:lnTo>
                        <a:pt x="1" y="0"/>
                      </a:lnTo>
                      <a:lnTo>
                        <a:pt x="0" y="0"/>
                      </a:lnTo>
                      <a:lnTo>
                        <a:pt x="0" y="5"/>
                      </a:lnTo>
                      <a:lnTo>
                        <a:pt x="1" y="5"/>
                      </a:lnTo>
                      <a:lnTo>
                        <a:pt x="1"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6" name="Freeform 1074"/>
                <p:cNvSpPr>
                  <a:spLocks noEditPoints="1"/>
                </p:cNvSpPr>
                <p:nvPr/>
              </p:nvSpPr>
              <p:spPr bwMode="auto">
                <a:xfrm>
                  <a:off x="3388870" y="5274710"/>
                  <a:ext cx="22420" cy="37365"/>
                </a:xfrm>
                <a:custGeom>
                  <a:avLst/>
                  <a:gdLst>
                    <a:gd name="T0" fmla="*/ 3 w 3"/>
                    <a:gd name="T1" fmla="*/ 3 h 5"/>
                    <a:gd name="T2" fmla="*/ 3 w 3"/>
                    <a:gd name="T3" fmla="*/ 1 h 5"/>
                    <a:gd name="T4" fmla="*/ 3 w 3"/>
                    <a:gd name="T5" fmla="*/ 1 h 5"/>
                    <a:gd name="T6" fmla="*/ 3 w 3"/>
                    <a:gd name="T7" fmla="*/ 0 h 5"/>
                    <a:gd name="T8" fmla="*/ 0 w 3"/>
                    <a:gd name="T9" fmla="*/ 0 h 5"/>
                    <a:gd name="T10" fmla="*/ 0 w 3"/>
                    <a:gd name="T11" fmla="*/ 5 h 5"/>
                    <a:gd name="T12" fmla="*/ 0 w 3"/>
                    <a:gd name="T13" fmla="*/ 5 h 5"/>
                    <a:gd name="T14" fmla="*/ 0 w 3"/>
                    <a:gd name="T15" fmla="*/ 4 h 5"/>
                    <a:gd name="T16" fmla="*/ 3 w 3"/>
                    <a:gd name="T17" fmla="*/ 4 h 5"/>
                    <a:gd name="T18" fmla="*/ 3 w 3"/>
                    <a:gd name="T19" fmla="*/ 3 h 5"/>
                    <a:gd name="T20" fmla="*/ 3 w 3"/>
                    <a:gd name="T21" fmla="*/ 3 h 5"/>
                    <a:gd name="T22" fmla="*/ 3 w 3"/>
                    <a:gd name="T23" fmla="*/ 3 h 5"/>
                    <a:gd name="T24" fmla="*/ 3 w 3"/>
                    <a:gd name="T25" fmla="*/ 3 h 5"/>
                    <a:gd name="T26" fmla="*/ 0 w 3"/>
                    <a:gd name="T27" fmla="*/ 3 h 5"/>
                    <a:gd name="T28" fmla="*/ 0 w 3"/>
                    <a:gd name="T29" fmla="*/ 1 h 5"/>
                    <a:gd name="T30" fmla="*/ 3 w 3"/>
                    <a:gd name="T31" fmla="*/ 1 h 5"/>
                    <a:gd name="T32" fmla="*/ 3 w 3"/>
                    <a:gd name="T33" fmla="*/ 3 h 5"/>
                    <a:gd name="T34" fmla="*/ 3 w 3"/>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3" y="3"/>
                      </a:moveTo>
                      <a:lnTo>
                        <a:pt x="3" y="1"/>
                      </a:lnTo>
                      <a:lnTo>
                        <a:pt x="3" y="1"/>
                      </a:lnTo>
                      <a:lnTo>
                        <a:pt x="3" y="0"/>
                      </a:lnTo>
                      <a:lnTo>
                        <a:pt x="0" y="0"/>
                      </a:lnTo>
                      <a:lnTo>
                        <a:pt x="0" y="5"/>
                      </a:lnTo>
                      <a:lnTo>
                        <a:pt x="0" y="5"/>
                      </a:lnTo>
                      <a:lnTo>
                        <a:pt x="0" y="4"/>
                      </a:lnTo>
                      <a:lnTo>
                        <a:pt x="3" y="4"/>
                      </a:lnTo>
                      <a:lnTo>
                        <a:pt x="3" y="3"/>
                      </a:lnTo>
                      <a:lnTo>
                        <a:pt x="3" y="3"/>
                      </a:lnTo>
                      <a:lnTo>
                        <a:pt x="3" y="3"/>
                      </a:lnTo>
                      <a:close/>
                      <a:moveTo>
                        <a:pt x="3" y="3"/>
                      </a:moveTo>
                      <a:lnTo>
                        <a:pt x="0" y="3"/>
                      </a:lnTo>
                      <a:lnTo>
                        <a:pt x="0"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7" name="Freeform 1075"/>
                <p:cNvSpPr>
                  <a:spLocks/>
                </p:cNvSpPr>
                <p:nvPr/>
              </p:nvSpPr>
              <p:spPr bwMode="auto">
                <a:xfrm>
                  <a:off x="3441180"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3 w 4"/>
                    <a:gd name="T13" fmla="*/ 5 h 5"/>
                    <a:gd name="T14" fmla="*/ 3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3" y="5"/>
                      </a:lnTo>
                      <a:lnTo>
                        <a:pt x="3"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8" name="Freeform 1076"/>
                <p:cNvSpPr>
                  <a:spLocks/>
                </p:cNvSpPr>
                <p:nvPr/>
              </p:nvSpPr>
              <p:spPr bwMode="auto">
                <a:xfrm>
                  <a:off x="3478540" y="5274710"/>
                  <a:ext cx="22420" cy="37365"/>
                </a:xfrm>
                <a:custGeom>
                  <a:avLst/>
                  <a:gdLst>
                    <a:gd name="T0" fmla="*/ 3 w 3"/>
                    <a:gd name="T1" fmla="*/ 5 h 5"/>
                    <a:gd name="T2" fmla="*/ 3 w 3"/>
                    <a:gd name="T3" fmla="*/ 4 h 5"/>
                    <a:gd name="T4" fmla="*/ 1 w 3"/>
                    <a:gd name="T5" fmla="*/ 4 h 5"/>
                    <a:gd name="T6" fmla="*/ 1 w 3"/>
                    <a:gd name="T7" fmla="*/ 3 h 5"/>
                    <a:gd name="T8" fmla="*/ 3 w 3"/>
                    <a:gd name="T9" fmla="*/ 3 h 5"/>
                    <a:gd name="T10" fmla="*/ 3 w 3"/>
                    <a:gd name="T11" fmla="*/ 2 h 5"/>
                    <a:gd name="T12" fmla="*/ 1 w 3"/>
                    <a:gd name="T13" fmla="*/ 2 h 5"/>
                    <a:gd name="T14" fmla="*/ 1 w 3"/>
                    <a:gd name="T15" fmla="*/ 1 h 5"/>
                    <a:gd name="T16" fmla="*/ 3 w 3"/>
                    <a:gd name="T17" fmla="*/ 1 h 5"/>
                    <a:gd name="T18" fmla="*/ 3 w 3"/>
                    <a:gd name="T19" fmla="*/ 0 h 5"/>
                    <a:gd name="T20" fmla="*/ 0 w 3"/>
                    <a:gd name="T21" fmla="*/ 0 h 5"/>
                    <a:gd name="T22" fmla="*/ 0 w 3"/>
                    <a:gd name="T23" fmla="*/ 5 h 5"/>
                    <a:gd name="T24" fmla="*/ 3 w 3"/>
                    <a:gd name="T25" fmla="*/ 5 h 5"/>
                    <a:gd name="T26" fmla="*/ 3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3" y="5"/>
                      </a:moveTo>
                      <a:lnTo>
                        <a:pt x="3" y="4"/>
                      </a:lnTo>
                      <a:lnTo>
                        <a:pt x="1" y="4"/>
                      </a:lnTo>
                      <a:lnTo>
                        <a:pt x="1" y="3"/>
                      </a:lnTo>
                      <a:lnTo>
                        <a:pt x="3" y="3"/>
                      </a:lnTo>
                      <a:lnTo>
                        <a:pt x="3" y="2"/>
                      </a:lnTo>
                      <a:lnTo>
                        <a:pt x="1" y="2"/>
                      </a:lnTo>
                      <a:lnTo>
                        <a:pt x="1" y="1"/>
                      </a:lnTo>
                      <a:lnTo>
                        <a:pt x="3" y="1"/>
                      </a:lnTo>
                      <a:lnTo>
                        <a:pt x="3" y="0"/>
                      </a:lnTo>
                      <a:lnTo>
                        <a:pt x="0" y="0"/>
                      </a:lnTo>
                      <a:lnTo>
                        <a:pt x="0"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19" name="Freeform 1077"/>
                <p:cNvSpPr>
                  <a:spLocks/>
                </p:cNvSpPr>
                <p:nvPr/>
              </p:nvSpPr>
              <p:spPr bwMode="auto">
                <a:xfrm>
                  <a:off x="3515905" y="5274710"/>
                  <a:ext cx="29890" cy="37365"/>
                </a:xfrm>
                <a:custGeom>
                  <a:avLst/>
                  <a:gdLst>
                    <a:gd name="T0" fmla="*/ 4 w 4"/>
                    <a:gd name="T1" fmla="*/ 4 h 5"/>
                    <a:gd name="T2" fmla="*/ 4 w 4"/>
                    <a:gd name="T3" fmla="*/ 3 h 5"/>
                    <a:gd name="T4" fmla="*/ 2 w 4"/>
                    <a:gd name="T5" fmla="*/ 3 h 5"/>
                    <a:gd name="T6" fmla="*/ 2 w 4"/>
                    <a:gd name="T7" fmla="*/ 2 h 5"/>
                    <a:gd name="T8" fmla="*/ 0 w 4"/>
                    <a:gd name="T9" fmla="*/ 2 h 5"/>
                    <a:gd name="T10" fmla="*/ 0 w 4"/>
                    <a:gd name="T11" fmla="*/ 1 h 5"/>
                    <a:gd name="T12" fmla="*/ 2 w 4"/>
                    <a:gd name="T13" fmla="*/ 1 h 5"/>
                    <a:gd name="T14" fmla="*/ 2 w 4"/>
                    <a:gd name="T15" fmla="*/ 1 h 5"/>
                    <a:gd name="T16" fmla="*/ 4 w 4"/>
                    <a:gd name="T17" fmla="*/ 1 h 5"/>
                    <a:gd name="T18" fmla="*/ 4 w 4"/>
                    <a:gd name="T19" fmla="*/ 1 h 5"/>
                    <a:gd name="T20" fmla="*/ 2 w 4"/>
                    <a:gd name="T21" fmla="*/ 1 h 5"/>
                    <a:gd name="T22" fmla="*/ 2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2 w 4"/>
                    <a:gd name="T37" fmla="*/ 3 h 5"/>
                    <a:gd name="T38" fmla="*/ 2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2 w 4"/>
                    <a:gd name="T53" fmla="*/ 5 h 5"/>
                    <a:gd name="T54" fmla="*/ 2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2" y="3"/>
                      </a:lnTo>
                      <a:lnTo>
                        <a:pt x="2" y="2"/>
                      </a:lnTo>
                      <a:lnTo>
                        <a:pt x="0" y="2"/>
                      </a:lnTo>
                      <a:lnTo>
                        <a:pt x="0" y="1"/>
                      </a:lnTo>
                      <a:lnTo>
                        <a:pt x="2" y="1"/>
                      </a:lnTo>
                      <a:lnTo>
                        <a:pt x="2" y="1"/>
                      </a:lnTo>
                      <a:lnTo>
                        <a:pt x="4" y="1"/>
                      </a:lnTo>
                      <a:lnTo>
                        <a:pt x="4" y="1"/>
                      </a:lnTo>
                      <a:lnTo>
                        <a:pt x="2" y="1"/>
                      </a:lnTo>
                      <a:lnTo>
                        <a:pt x="2" y="0"/>
                      </a:lnTo>
                      <a:lnTo>
                        <a:pt x="0" y="0"/>
                      </a:lnTo>
                      <a:lnTo>
                        <a:pt x="0" y="1"/>
                      </a:lnTo>
                      <a:lnTo>
                        <a:pt x="0" y="1"/>
                      </a:lnTo>
                      <a:lnTo>
                        <a:pt x="0" y="2"/>
                      </a:lnTo>
                      <a:lnTo>
                        <a:pt x="0" y="2"/>
                      </a:lnTo>
                      <a:lnTo>
                        <a:pt x="0" y="3"/>
                      </a:lnTo>
                      <a:lnTo>
                        <a:pt x="2" y="3"/>
                      </a:lnTo>
                      <a:lnTo>
                        <a:pt x="2" y="4"/>
                      </a:lnTo>
                      <a:lnTo>
                        <a:pt x="0" y="4"/>
                      </a:lnTo>
                      <a:lnTo>
                        <a:pt x="0" y="4"/>
                      </a:lnTo>
                      <a:lnTo>
                        <a:pt x="0" y="4"/>
                      </a:lnTo>
                      <a:lnTo>
                        <a:pt x="0" y="4"/>
                      </a:lnTo>
                      <a:lnTo>
                        <a:pt x="0" y="4"/>
                      </a:lnTo>
                      <a:lnTo>
                        <a:pt x="0" y="5"/>
                      </a:lnTo>
                      <a:lnTo>
                        <a:pt x="2" y="5"/>
                      </a:lnTo>
                      <a:lnTo>
                        <a:pt x="2"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0" name="Freeform 1078"/>
                <p:cNvSpPr>
                  <a:spLocks/>
                </p:cNvSpPr>
                <p:nvPr/>
              </p:nvSpPr>
              <p:spPr bwMode="auto">
                <a:xfrm>
                  <a:off x="3545795" y="5274710"/>
                  <a:ext cx="29890" cy="37365"/>
                </a:xfrm>
                <a:custGeom>
                  <a:avLst/>
                  <a:gdLst>
                    <a:gd name="T0" fmla="*/ 4 w 4"/>
                    <a:gd name="T1" fmla="*/ 1 h 5"/>
                    <a:gd name="T2" fmla="*/ 4 w 4"/>
                    <a:gd name="T3" fmla="*/ 0 h 5"/>
                    <a:gd name="T4" fmla="*/ 0 w 4"/>
                    <a:gd name="T5" fmla="*/ 0 h 5"/>
                    <a:gd name="T6" fmla="*/ 0 w 4"/>
                    <a:gd name="T7" fmla="*/ 1 h 5"/>
                    <a:gd name="T8" fmla="*/ 2 w 4"/>
                    <a:gd name="T9" fmla="*/ 1 h 5"/>
                    <a:gd name="T10" fmla="*/ 2 w 4"/>
                    <a:gd name="T11" fmla="*/ 5 h 5"/>
                    <a:gd name="T12" fmla="*/ 2 w 4"/>
                    <a:gd name="T13" fmla="*/ 5 h 5"/>
                    <a:gd name="T14" fmla="*/ 2 w 4"/>
                    <a:gd name="T15" fmla="*/ 1 h 5"/>
                    <a:gd name="T16" fmla="*/ 4 w 4"/>
                    <a:gd name="T17" fmla="*/ 1 h 5"/>
                    <a:gd name="T18" fmla="*/ 4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1"/>
                      </a:moveTo>
                      <a:lnTo>
                        <a:pt x="4" y="0"/>
                      </a:lnTo>
                      <a:lnTo>
                        <a:pt x="0" y="0"/>
                      </a:lnTo>
                      <a:lnTo>
                        <a:pt x="0" y="1"/>
                      </a:lnTo>
                      <a:lnTo>
                        <a:pt x="2" y="1"/>
                      </a:lnTo>
                      <a:lnTo>
                        <a:pt x="2" y="5"/>
                      </a:lnTo>
                      <a:lnTo>
                        <a:pt x="2" y="5"/>
                      </a:lnTo>
                      <a:lnTo>
                        <a:pt x="2" y="1"/>
                      </a:lnTo>
                      <a:lnTo>
                        <a:pt x="4" y="1"/>
                      </a:lnTo>
                      <a:lnTo>
                        <a:pt x="4"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1" name="Freeform 1079"/>
                <p:cNvSpPr>
                  <a:spLocks/>
                </p:cNvSpPr>
                <p:nvPr/>
              </p:nvSpPr>
              <p:spPr bwMode="auto">
                <a:xfrm>
                  <a:off x="3687770" y="5207460"/>
                  <a:ext cx="37365" cy="44835"/>
                </a:xfrm>
                <a:custGeom>
                  <a:avLst/>
                  <a:gdLst>
                    <a:gd name="T0" fmla="*/ 5 w 5"/>
                    <a:gd name="T1" fmla="*/ 6 h 6"/>
                    <a:gd name="T2" fmla="*/ 5 w 5"/>
                    <a:gd name="T3" fmla="*/ 0 h 6"/>
                    <a:gd name="T4" fmla="*/ 4 w 5"/>
                    <a:gd name="T5" fmla="*/ 0 h 6"/>
                    <a:gd name="T6" fmla="*/ 4 w 5"/>
                    <a:gd name="T7" fmla="*/ 1 h 6"/>
                    <a:gd name="T8" fmla="*/ 4 w 5"/>
                    <a:gd name="T9" fmla="*/ 1 h 6"/>
                    <a:gd name="T10" fmla="*/ 4 w 5"/>
                    <a:gd name="T11" fmla="*/ 2 h 6"/>
                    <a:gd name="T12" fmla="*/ 3 w 5"/>
                    <a:gd name="T13" fmla="*/ 2 h 6"/>
                    <a:gd name="T14" fmla="*/ 3 w 5"/>
                    <a:gd name="T15" fmla="*/ 3 h 6"/>
                    <a:gd name="T16" fmla="*/ 2 w 5"/>
                    <a:gd name="T17" fmla="*/ 3 h 6"/>
                    <a:gd name="T18" fmla="*/ 2 w 5"/>
                    <a:gd name="T19" fmla="*/ 2 h 6"/>
                    <a:gd name="T20" fmla="*/ 1 w 5"/>
                    <a:gd name="T21" fmla="*/ 2 h 6"/>
                    <a:gd name="T22" fmla="*/ 1 w 5"/>
                    <a:gd name="T23" fmla="*/ 1 h 6"/>
                    <a:gd name="T24" fmla="*/ 0 w 5"/>
                    <a:gd name="T25" fmla="*/ 1 h 6"/>
                    <a:gd name="T26" fmla="*/ 0 w 5"/>
                    <a:gd name="T27" fmla="*/ 0 h 6"/>
                    <a:gd name="T28" fmla="*/ 0 w 5"/>
                    <a:gd name="T29" fmla="*/ 0 h 6"/>
                    <a:gd name="T30" fmla="*/ 0 w 5"/>
                    <a:gd name="T31" fmla="*/ 6 h 6"/>
                    <a:gd name="T32" fmla="*/ 0 w 5"/>
                    <a:gd name="T33" fmla="*/ 6 h 6"/>
                    <a:gd name="T34" fmla="*/ 0 w 5"/>
                    <a:gd name="T35" fmla="*/ 2 h 6"/>
                    <a:gd name="T36" fmla="*/ 1 w 5"/>
                    <a:gd name="T37" fmla="*/ 2 h 6"/>
                    <a:gd name="T38" fmla="*/ 1 w 5"/>
                    <a:gd name="T39" fmla="*/ 3 h 6"/>
                    <a:gd name="T40" fmla="*/ 2 w 5"/>
                    <a:gd name="T41" fmla="*/ 3 h 6"/>
                    <a:gd name="T42" fmla="*/ 2 w 5"/>
                    <a:gd name="T43" fmla="*/ 3 h 6"/>
                    <a:gd name="T44" fmla="*/ 3 w 5"/>
                    <a:gd name="T45" fmla="*/ 3 h 6"/>
                    <a:gd name="T46" fmla="*/ 3 w 5"/>
                    <a:gd name="T47" fmla="*/ 3 h 6"/>
                    <a:gd name="T48" fmla="*/ 4 w 5"/>
                    <a:gd name="T49" fmla="*/ 3 h 6"/>
                    <a:gd name="T50" fmla="*/ 4 w 5"/>
                    <a:gd name="T51" fmla="*/ 2 h 6"/>
                    <a:gd name="T52" fmla="*/ 4 w 5"/>
                    <a:gd name="T53" fmla="*/ 2 h 6"/>
                    <a:gd name="T54" fmla="*/ 4 w 5"/>
                    <a:gd name="T55" fmla="*/ 6 h 6"/>
                    <a:gd name="T56" fmla="*/ 5 w 5"/>
                    <a:gd name="T57" fmla="*/ 6 h 6"/>
                    <a:gd name="T58" fmla="*/ 5 w 5"/>
                    <a:gd name="T5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6">
                      <a:moveTo>
                        <a:pt x="5" y="6"/>
                      </a:moveTo>
                      <a:lnTo>
                        <a:pt x="5" y="0"/>
                      </a:lnTo>
                      <a:lnTo>
                        <a:pt x="4" y="0"/>
                      </a:lnTo>
                      <a:lnTo>
                        <a:pt x="4" y="1"/>
                      </a:lnTo>
                      <a:lnTo>
                        <a:pt x="4" y="1"/>
                      </a:lnTo>
                      <a:lnTo>
                        <a:pt x="4" y="2"/>
                      </a:lnTo>
                      <a:lnTo>
                        <a:pt x="3" y="2"/>
                      </a:lnTo>
                      <a:lnTo>
                        <a:pt x="3" y="3"/>
                      </a:lnTo>
                      <a:lnTo>
                        <a:pt x="2" y="3"/>
                      </a:lnTo>
                      <a:lnTo>
                        <a:pt x="2" y="2"/>
                      </a:lnTo>
                      <a:lnTo>
                        <a:pt x="1" y="2"/>
                      </a:lnTo>
                      <a:lnTo>
                        <a:pt x="1" y="1"/>
                      </a:lnTo>
                      <a:lnTo>
                        <a:pt x="0" y="1"/>
                      </a:lnTo>
                      <a:lnTo>
                        <a:pt x="0" y="0"/>
                      </a:lnTo>
                      <a:lnTo>
                        <a:pt x="0" y="0"/>
                      </a:lnTo>
                      <a:lnTo>
                        <a:pt x="0" y="6"/>
                      </a:lnTo>
                      <a:lnTo>
                        <a:pt x="0" y="6"/>
                      </a:lnTo>
                      <a:lnTo>
                        <a:pt x="0" y="2"/>
                      </a:lnTo>
                      <a:lnTo>
                        <a:pt x="1" y="2"/>
                      </a:lnTo>
                      <a:lnTo>
                        <a:pt x="1" y="3"/>
                      </a:lnTo>
                      <a:lnTo>
                        <a:pt x="2" y="3"/>
                      </a:lnTo>
                      <a:lnTo>
                        <a:pt x="2" y="3"/>
                      </a:lnTo>
                      <a:lnTo>
                        <a:pt x="3" y="3"/>
                      </a:lnTo>
                      <a:lnTo>
                        <a:pt x="3" y="3"/>
                      </a:lnTo>
                      <a:lnTo>
                        <a:pt x="4" y="3"/>
                      </a:lnTo>
                      <a:lnTo>
                        <a:pt x="4" y="2"/>
                      </a:lnTo>
                      <a:lnTo>
                        <a:pt x="4" y="2"/>
                      </a:lnTo>
                      <a:lnTo>
                        <a:pt x="4" y="6"/>
                      </a:lnTo>
                      <a:lnTo>
                        <a:pt x="5" y="6"/>
                      </a:lnTo>
                      <a:lnTo>
                        <a:pt x="5"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2" name="Freeform 1080"/>
                <p:cNvSpPr>
                  <a:spLocks noEditPoints="1"/>
                </p:cNvSpPr>
                <p:nvPr/>
              </p:nvSpPr>
              <p:spPr bwMode="auto">
                <a:xfrm>
                  <a:off x="3740080" y="5207460"/>
                  <a:ext cx="22420" cy="44835"/>
                </a:xfrm>
                <a:custGeom>
                  <a:avLst/>
                  <a:gdLst>
                    <a:gd name="T0" fmla="*/ 3 w 3"/>
                    <a:gd name="T1" fmla="*/ 6 h 6"/>
                    <a:gd name="T2" fmla="*/ 3 w 3"/>
                    <a:gd name="T3" fmla="*/ 3 h 6"/>
                    <a:gd name="T4" fmla="*/ 2 w 3"/>
                    <a:gd name="T5" fmla="*/ 3 h 6"/>
                    <a:gd name="T6" fmla="*/ 2 w 3"/>
                    <a:gd name="T7" fmla="*/ 2 h 6"/>
                    <a:gd name="T8" fmla="*/ 2 w 3"/>
                    <a:gd name="T9" fmla="*/ 2 h 6"/>
                    <a:gd name="T10" fmla="*/ 2 w 3"/>
                    <a:gd name="T11" fmla="*/ 0 h 6"/>
                    <a:gd name="T12" fmla="*/ 1 w 3"/>
                    <a:gd name="T13" fmla="*/ 0 h 6"/>
                    <a:gd name="T14" fmla="*/ 1 w 3"/>
                    <a:gd name="T15" fmla="*/ 2 h 6"/>
                    <a:gd name="T16" fmla="*/ 0 w 3"/>
                    <a:gd name="T17" fmla="*/ 2 h 6"/>
                    <a:gd name="T18" fmla="*/ 0 w 3"/>
                    <a:gd name="T19" fmla="*/ 3 h 6"/>
                    <a:gd name="T20" fmla="*/ 0 w 3"/>
                    <a:gd name="T21" fmla="*/ 3 h 6"/>
                    <a:gd name="T22" fmla="*/ 0 w 3"/>
                    <a:gd name="T23" fmla="*/ 6 h 6"/>
                    <a:gd name="T24" fmla="*/ 0 w 3"/>
                    <a:gd name="T25" fmla="*/ 6 h 6"/>
                    <a:gd name="T26" fmla="*/ 0 w 3"/>
                    <a:gd name="T27" fmla="*/ 4 h 6"/>
                    <a:gd name="T28" fmla="*/ 2 w 3"/>
                    <a:gd name="T29" fmla="*/ 4 h 6"/>
                    <a:gd name="T30" fmla="*/ 2 w 3"/>
                    <a:gd name="T31" fmla="*/ 6 h 6"/>
                    <a:gd name="T32" fmla="*/ 3 w 3"/>
                    <a:gd name="T33" fmla="*/ 6 h 6"/>
                    <a:gd name="T34" fmla="*/ 3 w 3"/>
                    <a:gd name="T35" fmla="*/ 6 h 6"/>
                    <a:gd name="T36" fmla="*/ 2 w 3"/>
                    <a:gd name="T37" fmla="*/ 3 h 6"/>
                    <a:gd name="T38" fmla="*/ 1 w 3"/>
                    <a:gd name="T39" fmla="*/ 3 h 6"/>
                    <a:gd name="T40" fmla="*/ 1 w 3"/>
                    <a:gd name="T41" fmla="*/ 2 h 6"/>
                    <a:gd name="T42" fmla="*/ 2 w 3"/>
                    <a:gd name="T43" fmla="*/ 2 h 6"/>
                    <a:gd name="T44" fmla="*/ 2 w 3"/>
                    <a:gd name="T45" fmla="*/ 3 h 6"/>
                    <a:gd name="T46" fmla="*/ 2 w 3"/>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6">
                      <a:moveTo>
                        <a:pt x="3" y="6"/>
                      </a:moveTo>
                      <a:lnTo>
                        <a:pt x="3" y="3"/>
                      </a:lnTo>
                      <a:lnTo>
                        <a:pt x="2" y="3"/>
                      </a:lnTo>
                      <a:lnTo>
                        <a:pt x="2" y="2"/>
                      </a:lnTo>
                      <a:lnTo>
                        <a:pt x="2" y="2"/>
                      </a:lnTo>
                      <a:lnTo>
                        <a:pt x="2" y="0"/>
                      </a:lnTo>
                      <a:lnTo>
                        <a:pt x="1" y="0"/>
                      </a:lnTo>
                      <a:lnTo>
                        <a:pt x="1" y="2"/>
                      </a:lnTo>
                      <a:lnTo>
                        <a:pt x="0" y="2"/>
                      </a:lnTo>
                      <a:lnTo>
                        <a:pt x="0" y="3"/>
                      </a:lnTo>
                      <a:lnTo>
                        <a:pt x="0" y="3"/>
                      </a:lnTo>
                      <a:lnTo>
                        <a:pt x="0" y="6"/>
                      </a:lnTo>
                      <a:lnTo>
                        <a:pt x="0" y="6"/>
                      </a:lnTo>
                      <a:lnTo>
                        <a:pt x="0" y="4"/>
                      </a:lnTo>
                      <a:lnTo>
                        <a:pt x="2" y="4"/>
                      </a:lnTo>
                      <a:lnTo>
                        <a:pt x="2" y="6"/>
                      </a:lnTo>
                      <a:lnTo>
                        <a:pt x="3" y="6"/>
                      </a:lnTo>
                      <a:lnTo>
                        <a:pt x="3" y="6"/>
                      </a:lnTo>
                      <a:close/>
                      <a:moveTo>
                        <a:pt x="2" y="3"/>
                      </a:moveTo>
                      <a:lnTo>
                        <a:pt x="1" y="3"/>
                      </a:lnTo>
                      <a:lnTo>
                        <a:pt x="1"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3" name="Freeform 1081"/>
                <p:cNvSpPr>
                  <a:spLocks/>
                </p:cNvSpPr>
                <p:nvPr/>
              </p:nvSpPr>
              <p:spPr bwMode="auto">
                <a:xfrm>
                  <a:off x="3777440" y="5207460"/>
                  <a:ext cx="22420" cy="44835"/>
                </a:xfrm>
                <a:custGeom>
                  <a:avLst/>
                  <a:gdLst>
                    <a:gd name="T0" fmla="*/ 3 w 3"/>
                    <a:gd name="T1" fmla="*/ 6 h 6"/>
                    <a:gd name="T2" fmla="*/ 3 w 3"/>
                    <a:gd name="T3" fmla="*/ 0 h 6"/>
                    <a:gd name="T4" fmla="*/ 3 w 3"/>
                    <a:gd name="T5" fmla="*/ 0 h 6"/>
                    <a:gd name="T6" fmla="*/ 3 w 3"/>
                    <a:gd name="T7" fmla="*/ 3 h 6"/>
                    <a:gd name="T8" fmla="*/ 2 w 3"/>
                    <a:gd name="T9" fmla="*/ 3 h 6"/>
                    <a:gd name="T10" fmla="*/ 2 w 3"/>
                    <a:gd name="T11" fmla="*/ 3 h 6"/>
                    <a:gd name="T12" fmla="*/ 1 w 3"/>
                    <a:gd name="T13" fmla="*/ 3 h 6"/>
                    <a:gd name="T14" fmla="*/ 1 w 3"/>
                    <a:gd name="T15" fmla="*/ 2 h 6"/>
                    <a:gd name="T16" fmla="*/ 0 w 3"/>
                    <a:gd name="T17" fmla="*/ 2 h 6"/>
                    <a:gd name="T18" fmla="*/ 0 w 3"/>
                    <a:gd name="T19" fmla="*/ 0 h 6"/>
                    <a:gd name="T20" fmla="*/ 0 w 3"/>
                    <a:gd name="T21" fmla="*/ 0 h 6"/>
                    <a:gd name="T22" fmla="*/ 0 w 3"/>
                    <a:gd name="T23" fmla="*/ 6 h 6"/>
                    <a:gd name="T24" fmla="*/ 0 w 3"/>
                    <a:gd name="T25" fmla="*/ 6 h 6"/>
                    <a:gd name="T26" fmla="*/ 0 w 3"/>
                    <a:gd name="T27" fmla="*/ 3 h 6"/>
                    <a:gd name="T28" fmla="*/ 1 w 3"/>
                    <a:gd name="T29" fmla="*/ 3 h 6"/>
                    <a:gd name="T30" fmla="*/ 1 w 3"/>
                    <a:gd name="T31" fmla="*/ 3 h 6"/>
                    <a:gd name="T32" fmla="*/ 2 w 3"/>
                    <a:gd name="T33" fmla="*/ 3 h 6"/>
                    <a:gd name="T34" fmla="*/ 2 w 3"/>
                    <a:gd name="T35" fmla="*/ 4 h 6"/>
                    <a:gd name="T36" fmla="*/ 3 w 3"/>
                    <a:gd name="T37" fmla="*/ 4 h 6"/>
                    <a:gd name="T38" fmla="*/ 3 w 3"/>
                    <a:gd name="T39" fmla="*/ 6 h 6"/>
                    <a:gd name="T40" fmla="*/ 3 w 3"/>
                    <a:gd name="T41" fmla="*/ 6 h 6"/>
                    <a:gd name="T42" fmla="*/ 3 w 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6">
                      <a:moveTo>
                        <a:pt x="3" y="6"/>
                      </a:moveTo>
                      <a:lnTo>
                        <a:pt x="3" y="0"/>
                      </a:lnTo>
                      <a:lnTo>
                        <a:pt x="3" y="0"/>
                      </a:lnTo>
                      <a:lnTo>
                        <a:pt x="3" y="3"/>
                      </a:lnTo>
                      <a:lnTo>
                        <a:pt x="2" y="3"/>
                      </a:lnTo>
                      <a:lnTo>
                        <a:pt x="2" y="3"/>
                      </a:lnTo>
                      <a:lnTo>
                        <a:pt x="1" y="3"/>
                      </a:lnTo>
                      <a:lnTo>
                        <a:pt x="1" y="2"/>
                      </a:lnTo>
                      <a:lnTo>
                        <a:pt x="0" y="2"/>
                      </a:lnTo>
                      <a:lnTo>
                        <a:pt x="0" y="0"/>
                      </a:lnTo>
                      <a:lnTo>
                        <a:pt x="0" y="0"/>
                      </a:lnTo>
                      <a:lnTo>
                        <a:pt x="0" y="6"/>
                      </a:lnTo>
                      <a:lnTo>
                        <a:pt x="0" y="6"/>
                      </a:lnTo>
                      <a:lnTo>
                        <a:pt x="0" y="3"/>
                      </a:lnTo>
                      <a:lnTo>
                        <a:pt x="1" y="3"/>
                      </a:lnTo>
                      <a:lnTo>
                        <a:pt x="1" y="3"/>
                      </a:lnTo>
                      <a:lnTo>
                        <a:pt x="2" y="3"/>
                      </a:lnTo>
                      <a:lnTo>
                        <a:pt x="2" y="4"/>
                      </a:lnTo>
                      <a:lnTo>
                        <a:pt x="3" y="4"/>
                      </a:lnTo>
                      <a:lnTo>
                        <a:pt x="3"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4" name="Freeform 1082"/>
                <p:cNvSpPr>
                  <a:spLocks/>
                </p:cNvSpPr>
                <p:nvPr/>
              </p:nvSpPr>
              <p:spPr bwMode="auto">
                <a:xfrm>
                  <a:off x="3814805" y="5207460"/>
                  <a:ext cx="29890" cy="44835"/>
                </a:xfrm>
                <a:custGeom>
                  <a:avLst/>
                  <a:gdLst>
                    <a:gd name="T0" fmla="*/ 4 w 4"/>
                    <a:gd name="T1" fmla="*/ 5 h 6"/>
                    <a:gd name="T2" fmla="*/ 4 w 4"/>
                    <a:gd name="T3" fmla="*/ 0 h 6"/>
                    <a:gd name="T4" fmla="*/ 3 w 4"/>
                    <a:gd name="T5" fmla="*/ 0 h 6"/>
                    <a:gd name="T6" fmla="*/ 3 w 4"/>
                    <a:gd name="T7" fmla="*/ 5 h 6"/>
                    <a:gd name="T8" fmla="*/ 1 w 4"/>
                    <a:gd name="T9" fmla="*/ 5 h 6"/>
                    <a:gd name="T10" fmla="*/ 1 w 4"/>
                    <a:gd name="T11" fmla="*/ 0 h 6"/>
                    <a:gd name="T12" fmla="*/ 0 w 4"/>
                    <a:gd name="T13" fmla="*/ 0 h 6"/>
                    <a:gd name="T14" fmla="*/ 0 w 4"/>
                    <a:gd name="T15" fmla="*/ 5 h 6"/>
                    <a:gd name="T16" fmla="*/ 1 w 4"/>
                    <a:gd name="T17" fmla="*/ 5 h 6"/>
                    <a:gd name="T18" fmla="*/ 1 w 4"/>
                    <a:gd name="T19" fmla="*/ 6 h 6"/>
                    <a:gd name="T20" fmla="*/ 3 w 4"/>
                    <a:gd name="T21" fmla="*/ 6 h 6"/>
                    <a:gd name="T22" fmla="*/ 3 w 4"/>
                    <a:gd name="T23" fmla="*/ 5 h 6"/>
                    <a:gd name="T24" fmla="*/ 4 w 4"/>
                    <a:gd name="T25" fmla="*/ 5 h 6"/>
                    <a:gd name="T26" fmla="*/ 4 w 4"/>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6">
                      <a:moveTo>
                        <a:pt x="4" y="5"/>
                      </a:moveTo>
                      <a:lnTo>
                        <a:pt x="4" y="0"/>
                      </a:lnTo>
                      <a:lnTo>
                        <a:pt x="3" y="0"/>
                      </a:lnTo>
                      <a:lnTo>
                        <a:pt x="3" y="5"/>
                      </a:lnTo>
                      <a:lnTo>
                        <a:pt x="1" y="5"/>
                      </a:lnTo>
                      <a:lnTo>
                        <a:pt x="1" y="0"/>
                      </a:lnTo>
                      <a:lnTo>
                        <a:pt x="0" y="0"/>
                      </a:lnTo>
                      <a:lnTo>
                        <a:pt x="0" y="5"/>
                      </a:lnTo>
                      <a:lnTo>
                        <a:pt x="1" y="5"/>
                      </a:lnTo>
                      <a:lnTo>
                        <a:pt x="1" y="6"/>
                      </a:lnTo>
                      <a:lnTo>
                        <a:pt x="3" y="6"/>
                      </a:lnTo>
                      <a:lnTo>
                        <a:pt x="3" y="5"/>
                      </a:lnTo>
                      <a:lnTo>
                        <a:pt x="4" y="5"/>
                      </a:lnTo>
                      <a:lnTo>
                        <a:pt x="4"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5" name="Freeform 1083"/>
                <p:cNvSpPr>
                  <a:spLocks noEditPoints="1"/>
                </p:cNvSpPr>
                <p:nvPr/>
              </p:nvSpPr>
              <p:spPr bwMode="auto">
                <a:xfrm>
                  <a:off x="3852166" y="5207460"/>
                  <a:ext cx="29890" cy="44835"/>
                </a:xfrm>
                <a:custGeom>
                  <a:avLst/>
                  <a:gdLst>
                    <a:gd name="T0" fmla="*/ 4 w 4"/>
                    <a:gd name="T1" fmla="*/ 6 h 6"/>
                    <a:gd name="T2" fmla="*/ 4 w 4"/>
                    <a:gd name="T3" fmla="*/ 3 h 6"/>
                    <a:gd name="T4" fmla="*/ 3 w 4"/>
                    <a:gd name="T5" fmla="*/ 3 h 6"/>
                    <a:gd name="T6" fmla="*/ 3 w 4"/>
                    <a:gd name="T7" fmla="*/ 2 h 6"/>
                    <a:gd name="T8" fmla="*/ 2 w 4"/>
                    <a:gd name="T9" fmla="*/ 2 h 6"/>
                    <a:gd name="T10" fmla="*/ 2 w 4"/>
                    <a:gd name="T11" fmla="*/ 0 h 6"/>
                    <a:gd name="T12" fmla="*/ 2 w 4"/>
                    <a:gd name="T13" fmla="*/ 0 h 6"/>
                    <a:gd name="T14" fmla="*/ 2 w 4"/>
                    <a:gd name="T15" fmla="*/ 2 h 6"/>
                    <a:gd name="T16" fmla="*/ 1 w 4"/>
                    <a:gd name="T17" fmla="*/ 2 h 6"/>
                    <a:gd name="T18" fmla="*/ 1 w 4"/>
                    <a:gd name="T19" fmla="*/ 3 h 6"/>
                    <a:gd name="T20" fmla="*/ 0 w 4"/>
                    <a:gd name="T21" fmla="*/ 3 h 6"/>
                    <a:gd name="T22" fmla="*/ 0 w 4"/>
                    <a:gd name="T23" fmla="*/ 6 h 6"/>
                    <a:gd name="T24" fmla="*/ 1 w 4"/>
                    <a:gd name="T25" fmla="*/ 6 h 6"/>
                    <a:gd name="T26" fmla="*/ 1 w 4"/>
                    <a:gd name="T27" fmla="*/ 4 h 6"/>
                    <a:gd name="T28" fmla="*/ 3 w 4"/>
                    <a:gd name="T29" fmla="*/ 4 h 6"/>
                    <a:gd name="T30" fmla="*/ 3 w 4"/>
                    <a:gd name="T31" fmla="*/ 6 h 6"/>
                    <a:gd name="T32" fmla="*/ 4 w 4"/>
                    <a:gd name="T33" fmla="*/ 6 h 6"/>
                    <a:gd name="T34" fmla="*/ 4 w 4"/>
                    <a:gd name="T35" fmla="*/ 6 h 6"/>
                    <a:gd name="T36" fmla="*/ 2 w 4"/>
                    <a:gd name="T37" fmla="*/ 3 h 6"/>
                    <a:gd name="T38" fmla="*/ 2 w 4"/>
                    <a:gd name="T39" fmla="*/ 3 h 6"/>
                    <a:gd name="T40" fmla="*/ 2 w 4"/>
                    <a:gd name="T41" fmla="*/ 2 h 6"/>
                    <a:gd name="T42" fmla="*/ 2 w 4"/>
                    <a:gd name="T43" fmla="*/ 2 h 6"/>
                    <a:gd name="T44" fmla="*/ 2 w 4"/>
                    <a:gd name="T45" fmla="*/ 3 h 6"/>
                    <a:gd name="T46" fmla="*/ 2 w 4"/>
                    <a:gd name="T4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6">
                      <a:moveTo>
                        <a:pt x="4" y="6"/>
                      </a:moveTo>
                      <a:lnTo>
                        <a:pt x="4" y="3"/>
                      </a:lnTo>
                      <a:lnTo>
                        <a:pt x="3" y="3"/>
                      </a:lnTo>
                      <a:lnTo>
                        <a:pt x="3" y="2"/>
                      </a:lnTo>
                      <a:lnTo>
                        <a:pt x="2" y="2"/>
                      </a:lnTo>
                      <a:lnTo>
                        <a:pt x="2" y="0"/>
                      </a:lnTo>
                      <a:lnTo>
                        <a:pt x="2" y="0"/>
                      </a:lnTo>
                      <a:lnTo>
                        <a:pt x="2" y="2"/>
                      </a:lnTo>
                      <a:lnTo>
                        <a:pt x="1" y="2"/>
                      </a:lnTo>
                      <a:lnTo>
                        <a:pt x="1" y="3"/>
                      </a:lnTo>
                      <a:lnTo>
                        <a:pt x="0" y="3"/>
                      </a:lnTo>
                      <a:lnTo>
                        <a:pt x="0" y="6"/>
                      </a:lnTo>
                      <a:lnTo>
                        <a:pt x="1" y="6"/>
                      </a:lnTo>
                      <a:lnTo>
                        <a:pt x="1" y="4"/>
                      </a:lnTo>
                      <a:lnTo>
                        <a:pt x="3" y="4"/>
                      </a:lnTo>
                      <a:lnTo>
                        <a:pt x="3" y="6"/>
                      </a:lnTo>
                      <a:lnTo>
                        <a:pt x="4" y="6"/>
                      </a:lnTo>
                      <a:lnTo>
                        <a:pt x="4" y="6"/>
                      </a:lnTo>
                      <a:close/>
                      <a:moveTo>
                        <a:pt x="2" y="3"/>
                      </a:moveTo>
                      <a:lnTo>
                        <a:pt x="2" y="3"/>
                      </a:lnTo>
                      <a:lnTo>
                        <a:pt x="2" y="2"/>
                      </a:lnTo>
                      <a:lnTo>
                        <a:pt x="2" y="2"/>
                      </a:lnTo>
                      <a:lnTo>
                        <a:pt x="2" y="3"/>
                      </a:lnTo>
                      <a:lnTo>
                        <a:pt x="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6" name="Freeform 1084"/>
                <p:cNvSpPr>
                  <a:spLocks/>
                </p:cNvSpPr>
                <p:nvPr/>
              </p:nvSpPr>
              <p:spPr bwMode="auto">
                <a:xfrm>
                  <a:off x="3889531" y="5207460"/>
                  <a:ext cx="22420" cy="44835"/>
                </a:xfrm>
                <a:custGeom>
                  <a:avLst/>
                  <a:gdLst>
                    <a:gd name="T0" fmla="*/ 3 w 3"/>
                    <a:gd name="T1" fmla="*/ 6 h 6"/>
                    <a:gd name="T2" fmla="*/ 3 w 3"/>
                    <a:gd name="T3" fmla="*/ 5 h 6"/>
                    <a:gd name="T4" fmla="*/ 1 w 3"/>
                    <a:gd name="T5" fmla="*/ 5 h 6"/>
                    <a:gd name="T6" fmla="*/ 1 w 3"/>
                    <a:gd name="T7" fmla="*/ 0 h 6"/>
                    <a:gd name="T8" fmla="*/ 0 w 3"/>
                    <a:gd name="T9" fmla="*/ 0 h 6"/>
                    <a:gd name="T10" fmla="*/ 0 w 3"/>
                    <a:gd name="T11" fmla="*/ 6 h 6"/>
                    <a:gd name="T12" fmla="*/ 3 w 3"/>
                    <a:gd name="T13" fmla="*/ 6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3" y="5"/>
                      </a:lnTo>
                      <a:lnTo>
                        <a:pt x="1" y="5"/>
                      </a:lnTo>
                      <a:lnTo>
                        <a:pt x="1" y="0"/>
                      </a:lnTo>
                      <a:lnTo>
                        <a:pt x="0" y="0"/>
                      </a:lnTo>
                      <a:lnTo>
                        <a:pt x="0" y="6"/>
                      </a:lnTo>
                      <a:lnTo>
                        <a:pt x="3" y="6"/>
                      </a:lnTo>
                      <a:lnTo>
                        <a:pt x="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7" name="Freeform 1085"/>
                <p:cNvSpPr>
                  <a:spLocks/>
                </p:cNvSpPr>
                <p:nvPr/>
              </p:nvSpPr>
              <p:spPr bwMode="auto">
                <a:xfrm>
                  <a:off x="3687770" y="5274710"/>
                  <a:ext cx="0" cy="37365"/>
                </a:xfrm>
                <a:custGeom>
                  <a:avLst/>
                  <a:gdLst>
                    <a:gd name="T0" fmla="*/ 5 h 5"/>
                    <a:gd name="T1" fmla="*/ 0 h 5"/>
                    <a:gd name="T2" fmla="*/ 0 h 5"/>
                    <a:gd name="T3" fmla="*/ 5 h 5"/>
                    <a:gd name="T4" fmla="*/ 5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0"/>
                      </a:lnTo>
                      <a:lnTo>
                        <a:pt x="0" y="0"/>
                      </a:lnTo>
                      <a:lnTo>
                        <a:pt x="0" y="5"/>
                      </a:lnTo>
                      <a:lnTo>
                        <a:pt x="0" y="5"/>
                      </a:lnTo>
                      <a:lnTo>
                        <a:pt x="0"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8" name="Freeform 1086"/>
                <p:cNvSpPr>
                  <a:spLocks/>
                </p:cNvSpPr>
                <p:nvPr/>
              </p:nvSpPr>
              <p:spPr bwMode="auto">
                <a:xfrm>
                  <a:off x="3702715" y="5274710"/>
                  <a:ext cx="22420" cy="37365"/>
                </a:xfrm>
                <a:custGeom>
                  <a:avLst/>
                  <a:gdLst>
                    <a:gd name="T0" fmla="*/ 3 w 3"/>
                    <a:gd name="T1" fmla="*/ 5 h 5"/>
                    <a:gd name="T2" fmla="*/ 3 w 3"/>
                    <a:gd name="T3" fmla="*/ 0 h 5"/>
                    <a:gd name="T4" fmla="*/ 3 w 3"/>
                    <a:gd name="T5" fmla="*/ 0 h 5"/>
                    <a:gd name="T6" fmla="*/ 3 w 3"/>
                    <a:gd name="T7" fmla="*/ 3 h 5"/>
                    <a:gd name="T8" fmla="*/ 2 w 3"/>
                    <a:gd name="T9" fmla="*/ 3 h 5"/>
                    <a:gd name="T10" fmla="*/ 2 w 3"/>
                    <a:gd name="T11" fmla="*/ 2 h 5"/>
                    <a:gd name="T12" fmla="*/ 1 w 3"/>
                    <a:gd name="T13" fmla="*/ 2 h 5"/>
                    <a:gd name="T14" fmla="*/ 1 w 3"/>
                    <a:gd name="T15" fmla="*/ 1 h 5"/>
                    <a:gd name="T16" fmla="*/ 1 w 3"/>
                    <a:gd name="T17" fmla="*/ 1 h 5"/>
                    <a:gd name="T18" fmla="*/ 1 w 3"/>
                    <a:gd name="T19" fmla="*/ 0 h 5"/>
                    <a:gd name="T20" fmla="*/ 0 w 3"/>
                    <a:gd name="T21" fmla="*/ 0 h 5"/>
                    <a:gd name="T22" fmla="*/ 0 w 3"/>
                    <a:gd name="T23" fmla="*/ 5 h 5"/>
                    <a:gd name="T24" fmla="*/ 1 w 3"/>
                    <a:gd name="T25" fmla="*/ 5 h 5"/>
                    <a:gd name="T26" fmla="*/ 1 w 3"/>
                    <a:gd name="T27" fmla="*/ 2 h 5"/>
                    <a:gd name="T28" fmla="*/ 1 w 3"/>
                    <a:gd name="T29" fmla="*/ 2 h 5"/>
                    <a:gd name="T30" fmla="*/ 1 w 3"/>
                    <a:gd name="T31" fmla="*/ 3 h 5"/>
                    <a:gd name="T32" fmla="*/ 2 w 3"/>
                    <a:gd name="T33" fmla="*/ 3 h 5"/>
                    <a:gd name="T34" fmla="*/ 2 w 3"/>
                    <a:gd name="T35" fmla="*/ 4 h 5"/>
                    <a:gd name="T36" fmla="*/ 3 w 3"/>
                    <a:gd name="T37" fmla="*/ 4 h 5"/>
                    <a:gd name="T38" fmla="*/ 3 w 3"/>
                    <a:gd name="T39" fmla="*/ 5 h 5"/>
                    <a:gd name="T40" fmla="*/ 3 w 3"/>
                    <a:gd name="T41" fmla="*/ 5 h 5"/>
                    <a:gd name="T42" fmla="*/ 3 w 3"/>
                    <a:gd name="T4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5">
                      <a:moveTo>
                        <a:pt x="3" y="5"/>
                      </a:moveTo>
                      <a:lnTo>
                        <a:pt x="3" y="0"/>
                      </a:lnTo>
                      <a:lnTo>
                        <a:pt x="3" y="0"/>
                      </a:lnTo>
                      <a:lnTo>
                        <a:pt x="3" y="3"/>
                      </a:lnTo>
                      <a:lnTo>
                        <a:pt x="2" y="3"/>
                      </a:lnTo>
                      <a:lnTo>
                        <a:pt x="2" y="2"/>
                      </a:lnTo>
                      <a:lnTo>
                        <a:pt x="1" y="2"/>
                      </a:lnTo>
                      <a:lnTo>
                        <a:pt x="1" y="1"/>
                      </a:lnTo>
                      <a:lnTo>
                        <a:pt x="1" y="1"/>
                      </a:lnTo>
                      <a:lnTo>
                        <a:pt x="1" y="0"/>
                      </a:lnTo>
                      <a:lnTo>
                        <a:pt x="0" y="0"/>
                      </a:lnTo>
                      <a:lnTo>
                        <a:pt x="0" y="5"/>
                      </a:lnTo>
                      <a:lnTo>
                        <a:pt x="1" y="5"/>
                      </a:lnTo>
                      <a:lnTo>
                        <a:pt x="1" y="2"/>
                      </a:lnTo>
                      <a:lnTo>
                        <a:pt x="1" y="2"/>
                      </a:lnTo>
                      <a:lnTo>
                        <a:pt x="1" y="3"/>
                      </a:lnTo>
                      <a:lnTo>
                        <a:pt x="2" y="3"/>
                      </a:lnTo>
                      <a:lnTo>
                        <a:pt x="2" y="4"/>
                      </a:lnTo>
                      <a:lnTo>
                        <a:pt x="3" y="4"/>
                      </a:lnTo>
                      <a:lnTo>
                        <a:pt x="3" y="5"/>
                      </a:lnTo>
                      <a:lnTo>
                        <a:pt x="3" y="5"/>
                      </a:lnTo>
                      <a:lnTo>
                        <a:pt x="3" y="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29" name="Freeform 1087"/>
                <p:cNvSpPr>
                  <a:spLocks noEditPoints="1"/>
                </p:cNvSpPr>
                <p:nvPr/>
              </p:nvSpPr>
              <p:spPr bwMode="auto">
                <a:xfrm>
                  <a:off x="3740080" y="5274710"/>
                  <a:ext cx="29890" cy="37365"/>
                </a:xfrm>
                <a:custGeom>
                  <a:avLst/>
                  <a:gdLst>
                    <a:gd name="T0" fmla="*/ 4 w 4"/>
                    <a:gd name="T1" fmla="*/ 3 h 5"/>
                    <a:gd name="T2" fmla="*/ 4 w 4"/>
                    <a:gd name="T3" fmla="*/ 1 h 5"/>
                    <a:gd name="T4" fmla="*/ 3 w 4"/>
                    <a:gd name="T5" fmla="*/ 1 h 5"/>
                    <a:gd name="T6" fmla="*/ 3 w 4"/>
                    <a:gd name="T7" fmla="*/ 0 h 5"/>
                    <a:gd name="T8" fmla="*/ 0 w 4"/>
                    <a:gd name="T9" fmla="*/ 0 h 5"/>
                    <a:gd name="T10" fmla="*/ 0 w 4"/>
                    <a:gd name="T11" fmla="*/ 5 h 5"/>
                    <a:gd name="T12" fmla="*/ 1 w 4"/>
                    <a:gd name="T13" fmla="*/ 5 h 5"/>
                    <a:gd name="T14" fmla="*/ 1 w 4"/>
                    <a:gd name="T15" fmla="*/ 4 h 5"/>
                    <a:gd name="T16" fmla="*/ 3 w 4"/>
                    <a:gd name="T17" fmla="*/ 4 h 5"/>
                    <a:gd name="T18" fmla="*/ 3 w 4"/>
                    <a:gd name="T19" fmla="*/ 3 h 5"/>
                    <a:gd name="T20" fmla="*/ 4 w 4"/>
                    <a:gd name="T21" fmla="*/ 3 h 5"/>
                    <a:gd name="T22" fmla="*/ 4 w 4"/>
                    <a:gd name="T23" fmla="*/ 3 h 5"/>
                    <a:gd name="T24" fmla="*/ 3 w 4"/>
                    <a:gd name="T25" fmla="*/ 3 h 5"/>
                    <a:gd name="T26" fmla="*/ 1 w 4"/>
                    <a:gd name="T27" fmla="*/ 3 h 5"/>
                    <a:gd name="T28" fmla="*/ 1 w 4"/>
                    <a:gd name="T29" fmla="*/ 1 h 5"/>
                    <a:gd name="T30" fmla="*/ 3 w 4"/>
                    <a:gd name="T31" fmla="*/ 1 h 5"/>
                    <a:gd name="T32" fmla="*/ 3 w 4"/>
                    <a:gd name="T33" fmla="*/ 3 h 5"/>
                    <a:gd name="T34" fmla="*/ 3 w 4"/>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5">
                      <a:moveTo>
                        <a:pt x="4" y="3"/>
                      </a:moveTo>
                      <a:lnTo>
                        <a:pt x="4" y="1"/>
                      </a:lnTo>
                      <a:lnTo>
                        <a:pt x="3" y="1"/>
                      </a:lnTo>
                      <a:lnTo>
                        <a:pt x="3" y="0"/>
                      </a:lnTo>
                      <a:lnTo>
                        <a:pt x="0" y="0"/>
                      </a:lnTo>
                      <a:lnTo>
                        <a:pt x="0" y="5"/>
                      </a:lnTo>
                      <a:lnTo>
                        <a:pt x="1" y="5"/>
                      </a:lnTo>
                      <a:lnTo>
                        <a:pt x="1" y="4"/>
                      </a:lnTo>
                      <a:lnTo>
                        <a:pt x="3" y="4"/>
                      </a:lnTo>
                      <a:lnTo>
                        <a:pt x="3" y="3"/>
                      </a:lnTo>
                      <a:lnTo>
                        <a:pt x="4" y="3"/>
                      </a:lnTo>
                      <a:lnTo>
                        <a:pt x="4" y="3"/>
                      </a:lnTo>
                      <a:close/>
                      <a:moveTo>
                        <a:pt x="3" y="3"/>
                      </a:moveTo>
                      <a:lnTo>
                        <a:pt x="1" y="3"/>
                      </a:lnTo>
                      <a:lnTo>
                        <a:pt x="1" y="1"/>
                      </a:lnTo>
                      <a:lnTo>
                        <a:pt x="3" y="1"/>
                      </a:lnTo>
                      <a:lnTo>
                        <a:pt x="3" y="3"/>
                      </a:lnTo>
                      <a:lnTo>
                        <a:pt x="3"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0" name="Freeform 1088"/>
                <p:cNvSpPr>
                  <a:spLocks/>
                </p:cNvSpPr>
                <p:nvPr/>
              </p:nvSpPr>
              <p:spPr bwMode="auto">
                <a:xfrm>
                  <a:off x="3777440" y="5274710"/>
                  <a:ext cx="29890" cy="37365"/>
                </a:xfrm>
                <a:custGeom>
                  <a:avLst/>
                  <a:gdLst>
                    <a:gd name="T0" fmla="*/ 4 w 4"/>
                    <a:gd name="T1" fmla="*/ 4 h 5"/>
                    <a:gd name="T2" fmla="*/ 4 w 4"/>
                    <a:gd name="T3" fmla="*/ 0 h 5"/>
                    <a:gd name="T4" fmla="*/ 3 w 4"/>
                    <a:gd name="T5" fmla="*/ 0 h 5"/>
                    <a:gd name="T6" fmla="*/ 3 w 4"/>
                    <a:gd name="T7" fmla="*/ 4 h 5"/>
                    <a:gd name="T8" fmla="*/ 1 w 4"/>
                    <a:gd name="T9" fmla="*/ 4 h 5"/>
                    <a:gd name="T10" fmla="*/ 1 w 4"/>
                    <a:gd name="T11" fmla="*/ 0 h 5"/>
                    <a:gd name="T12" fmla="*/ 0 w 4"/>
                    <a:gd name="T13" fmla="*/ 0 h 5"/>
                    <a:gd name="T14" fmla="*/ 0 w 4"/>
                    <a:gd name="T15" fmla="*/ 4 h 5"/>
                    <a:gd name="T16" fmla="*/ 1 w 4"/>
                    <a:gd name="T17" fmla="*/ 4 h 5"/>
                    <a:gd name="T18" fmla="*/ 1 w 4"/>
                    <a:gd name="T19" fmla="*/ 5 h 5"/>
                    <a:gd name="T20" fmla="*/ 3 w 4"/>
                    <a:gd name="T21" fmla="*/ 5 h 5"/>
                    <a:gd name="T22" fmla="*/ 3 w 4"/>
                    <a:gd name="T23" fmla="*/ 4 h 5"/>
                    <a:gd name="T24" fmla="*/ 4 w 4"/>
                    <a:gd name="T25" fmla="*/ 4 h 5"/>
                    <a:gd name="T26" fmla="*/ 4 w 4"/>
                    <a:gd name="T2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4" y="4"/>
                      </a:moveTo>
                      <a:lnTo>
                        <a:pt x="4" y="0"/>
                      </a:lnTo>
                      <a:lnTo>
                        <a:pt x="3" y="0"/>
                      </a:lnTo>
                      <a:lnTo>
                        <a:pt x="3" y="4"/>
                      </a:lnTo>
                      <a:lnTo>
                        <a:pt x="1" y="4"/>
                      </a:lnTo>
                      <a:lnTo>
                        <a:pt x="1" y="0"/>
                      </a:lnTo>
                      <a:lnTo>
                        <a:pt x="0" y="0"/>
                      </a:lnTo>
                      <a:lnTo>
                        <a:pt x="0" y="4"/>
                      </a:lnTo>
                      <a:lnTo>
                        <a:pt x="1" y="4"/>
                      </a:lnTo>
                      <a:lnTo>
                        <a:pt x="1"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1" name="Freeform 1089"/>
                <p:cNvSpPr>
                  <a:spLocks/>
                </p:cNvSpPr>
                <p:nvPr/>
              </p:nvSpPr>
              <p:spPr bwMode="auto">
                <a:xfrm>
                  <a:off x="3822276" y="5274710"/>
                  <a:ext cx="22420" cy="37365"/>
                </a:xfrm>
                <a:custGeom>
                  <a:avLst/>
                  <a:gdLst>
                    <a:gd name="T0" fmla="*/ 3 w 3"/>
                    <a:gd name="T1" fmla="*/ 1 h 5"/>
                    <a:gd name="T2" fmla="*/ 3 w 3"/>
                    <a:gd name="T3" fmla="*/ 0 h 5"/>
                    <a:gd name="T4" fmla="*/ 0 w 3"/>
                    <a:gd name="T5" fmla="*/ 0 h 5"/>
                    <a:gd name="T6" fmla="*/ 0 w 3"/>
                    <a:gd name="T7" fmla="*/ 1 h 5"/>
                    <a:gd name="T8" fmla="*/ 1 w 3"/>
                    <a:gd name="T9" fmla="*/ 1 h 5"/>
                    <a:gd name="T10" fmla="*/ 1 w 3"/>
                    <a:gd name="T11" fmla="*/ 5 h 5"/>
                    <a:gd name="T12" fmla="*/ 2 w 3"/>
                    <a:gd name="T13" fmla="*/ 5 h 5"/>
                    <a:gd name="T14" fmla="*/ 2 w 3"/>
                    <a:gd name="T15" fmla="*/ 1 h 5"/>
                    <a:gd name="T16" fmla="*/ 3 w 3"/>
                    <a:gd name="T17" fmla="*/ 1 h 5"/>
                    <a:gd name="T18" fmla="*/ 3 w 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1"/>
                      </a:moveTo>
                      <a:lnTo>
                        <a:pt x="3" y="0"/>
                      </a:lnTo>
                      <a:lnTo>
                        <a:pt x="0" y="0"/>
                      </a:lnTo>
                      <a:lnTo>
                        <a:pt x="0" y="1"/>
                      </a:lnTo>
                      <a:lnTo>
                        <a:pt x="1" y="1"/>
                      </a:lnTo>
                      <a:lnTo>
                        <a:pt x="1" y="5"/>
                      </a:lnTo>
                      <a:lnTo>
                        <a:pt x="2" y="5"/>
                      </a:lnTo>
                      <a:lnTo>
                        <a:pt x="2" y="1"/>
                      </a:lnTo>
                      <a:lnTo>
                        <a:pt x="3" y="1"/>
                      </a:lnTo>
                      <a:lnTo>
                        <a:pt x="3" y="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2" name="Freeform 1090"/>
                <p:cNvSpPr>
                  <a:spLocks/>
                </p:cNvSpPr>
                <p:nvPr/>
              </p:nvSpPr>
              <p:spPr bwMode="auto">
                <a:xfrm>
                  <a:off x="3859641" y="5274710"/>
                  <a:ext cx="29890" cy="37365"/>
                </a:xfrm>
                <a:custGeom>
                  <a:avLst/>
                  <a:gdLst>
                    <a:gd name="T0" fmla="*/ 4 w 4"/>
                    <a:gd name="T1" fmla="*/ 4 h 5"/>
                    <a:gd name="T2" fmla="*/ 4 w 4"/>
                    <a:gd name="T3" fmla="*/ 3 h 5"/>
                    <a:gd name="T4" fmla="*/ 3 w 4"/>
                    <a:gd name="T5" fmla="*/ 3 h 5"/>
                    <a:gd name="T6" fmla="*/ 3 w 4"/>
                    <a:gd name="T7" fmla="*/ 2 h 5"/>
                    <a:gd name="T8" fmla="*/ 0 w 4"/>
                    <a:gd name="T9" fmla="*/ 2 h 5"/>
                    <a:gd name="T10" fmla="*/ 0 w 4"/>
                    <a:gd name="T11" fmla="*/ 1 h 5"/>
                    <a:gd name="T12" fmla="*/ 3 w 4"/>
                    <a:gd name="T13" fmla="*/ 1 h 5"/>
                    <a:gd name="T14" fmla="*/ 3 w 4"/>
                    <a:gd name="T15" fmla="*/ 1 h 5"/>
                    <a:gd name="T16" fmla="*/ 4 w 4"/>
                    <a:gd name="T17" fmla="*/ 1 h 5"/>
                    <a:gd name="T18" fmla="*/ 4 w 4"/>
                    <a:gd name="T19" fmla="*/ 1 h 5"/>
                    <a:gd name="T20" fmla="*/ 3 w 4"/>
                    <a:gd name="T21" fmla="*/ 1 h 5"/>
                    <a:gd name="T22" fmla="*/ 3 w 4"/>
                    <a:gd name="T23" fmla="*/ 0 h 5"/>
                    <a:gd name="T24" fmla="*/ 0 w 4"/>
                    <a:gd name="T25" fmla="*/ 0 h 5"/>
                    <a:gd name="T26" fmla="*/ 0 w 4"/>
                    <a:gd name="T27" fmla="*/ 1 h 5"/>
                    <a:gd name="T28" fmla="*/ 0 w 4"/>
                    <a:gd name="T29" fmla="*/ 1 h 5"/>
                    <a:gd name="T30" fmla="*/ 0 w 4"/>
                    <a:gd name="T31" fmla="*/ 2 h 5"/>
                    <a:gd name="T32" fmla="*/ 0 w 4"/>
                    <a:gd name="T33" fmla="*/ 2 h 5"/>
                    <a:gd name="T34" fmla="*/ 0 w 4"/>
                    <a:gd name="T35" fmla="*/ 3 h 5"/>
                    <a:gd name="T36" fmla="*/ 3 w 4"/>
                    <a:gd name="T37" fmla="*/ 3 h 5"/>
                    <a:gd name="T38" fmla="*/ 3 w 4"/>
                    <a:gd name="T39" fmla="*/ 4 h 5"/>
                    <a:gd name="T40" fmla="*/ 0 w 4"/>
                    <a:gd name="T41" fmla="*/ 4 h 5"/>
                    <a:gd name="T42" fmla="*/ 0 w 4"/>
                    <a:gd name="T43" fmla="*/ 4 h 5"/>
                    <a:gd name="T44" fmla="*/ 0 w 4"/>
                    <a:gd name="T45" fmla="*/ 4 h 5"/>
                    <a:gd name="T46" fmla="*/ 0 w 4"/>
                    <a:gd name="T47" fmla="*/ 4 h 5"/>
                    <a:gd name="T48" fmla="*/ 0 w 4"/>
                    <a:gd name="T49" fmla="*/ 4 h 5"/>
                    <a:gd name="T50" fmla="*/ 0 w 4"/>
                    <a:gd name="T51" fmla="*/ 5 h 5"/>
                    <a:gd name="T52" fmla="*/ 3 w 4"/>
                    <a:gd name="T53" fmla="*/ 5 h 5"/>
                    <a:gd name="T54" fmla="*/ 3 w 4"/>
                    <a:gd name="T55" fmla="*/ 4 h 5"/>
                    <a:gd name="T56" fmla="*/ 4 w 4"/>
                    <a:gd name="T57" fmla="*/ 4 h 5"/>
                    <a:gd name="T58" fmla="*/ 4 w 4"/>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5">
                      <a:moveTo>
                        <a:pt x="4" y="4"/>
                      </a:moveTo>
                      <a:lnTo>
                        <a:pt x="4" y="3"/>
                      </a:lnTo>
                      <a:lnTo>
                        <a:pt x="3" y="3"/>
                      </a:lnTo>
                      <a:lnTo>
                        <a:pt x="3" y="2"/>
                      </a:lnTo>
                      <a:lnTo>
                        <a:pt x="0" y="2"/>
                      </a:lnTo>
                      <a:lnTo>
                        <a:pt x="0" y="1"/>
                      </a:lnTo>
                      <a:lnTo>
                        <a:pt x="3" y="1"/>
                      </a:lnTo>
                      <a:lnTo>
                        <a:pt x="3" y="1"/>
                      </a:lnTo>
                      <a:lnTo>
                        <a:pt x="4" y="1"/>
                      </a:lnTo>
                      <a:lnTo>
                        <a:pt x="4" y="1"/>
                      </a:lnTo>
                      <a:lnTo>
                        <a:pt x="3" y="1"/>
                      </a:lnTo>
                      <a:lnTo>
                        <a:pt x="3" y="0"/>
                      </a:lnTo>
                      <a:lnTo>
                        <a:pt x="0" y="0"/>
                      </a:lnTo>
                      <a:lnTo>
                        <a:pt x="0" y="1"/>
                      </a:lnTo>
                      <a:lnTo>
                        <a:pt x="0" y="1"/>
                      </a:lnTo>
                      <a:lnTo>
                        <a:pt x="0" y="2"/>
                      </a:lnTo>
                      <a:lnTo>
                        <a:pt x="0" y="2"/>
                      </a:lnTo>
                      <a:lnTo>
                        <a:pt x="0" y="3"/>
                      </a:lnTo>
                      <a:lnTo>
                        <a:pt x="3" y="3"/>
                      </a:lnTo>
                      <a:lnTo>
                        <a:pt x="3" y="4"/>
                      </a:lnTo>
                      <a:lnTo>
                        <a:pt x="0" y="4"/>
                      </a:lnTo>
                      <a:lnTo>
                        <a:pt x="0" y="4"/>
                      </a:lnTo>
                      <a:lnTo>
                        <a:pt x="0" y="4"/>
                      </a:lnTo>
                      <a:lnTo>
                        <a:pt x="0" y="4"/>
                      </a:lnTo>
                      <a:lnTo>
                        <a:pt x="0" y="4"/>
                      </a:lnTo>
                      <a:lnTo>
                        <a:pt x="0" y="5"/>
                      </a:lnTo>
                      <a:lnTo>
                        <a:pt x="3" y="5"/>
                      </a:lnTo>
                      <a:lnTo>
                        <a:pt x="3" y="4"/>
                      </a:lnTo>
                      <a:lnTo>
                        <a:pt x="4" y="4"/>
                      </a:lnTo>
                      <a:lnTo>
                        <a:pt x="4"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3" name="Freeform 1091"/>
                <p:cNvSpPr>
                  <a:spLocks noEditPoints="1"/>
                </p:cNvSpPr>
                <p:nvPr/>
              </p:nvSpPr>
              <p:spPr bwMode="auto">
                <a:xfrm>
                  <a:off x="5182274" y="5185040"/>
                  <a:ext cx="418461" cy="149450"/>
                </a:xfrm>
                <a:custGeom>
                  <a:avLst/>
                  <a:gdLst>
                    <a:gd name="T0" fmla="*/ 31 w 56"/>
                    <a:gd name="T1" fmla="*/ 20 h 20"/>
                    <a:gd name="T2" fmla="*/ 31 w 56"/>
                    <a:gd name="T3" fmla="*/ 0 h 20"/>
                    <a:gd name="T4" fmla="*/ 56 w 56"/>
                    <a:gd name="T5" fmla="*/ 0 h 20"/>
                    <a:gd name="T6" fmla="*/ 56 w 56"/>
                    <a:gd name="T7" fmla="*/ 20 h 20"/>
                    <a:gd name="T8" fmla="*/ 31 w 56"/>
                    <a:gd name="T9" fmla="*/ 20 h 20"/>
                    <a:gd name="T10" fmla="*/ 31 w 56"/>
                    <a:gd name="T11" fmla="*/ 20 h 20"/>
                    <a:gd name="T12" fmla="*/ 0 w 56"/>
                    <a:gd name="T13" fmla="*/ 20 h 20"/>
                    <a:gd name="T14" fmla="*/ 0 w 56"/>
                    <a:gd name="T15" fmla="*/ 0 h 20"/>
                    <a:gd name="T16" fmla="*/ 25 w 56"/>
                    <a:gd name="T17" fmla="*/ 0 h 20"/>
                    <a:gd name="T18" fmla="*/ 25 w 56"/>
                    <a:gd name="T19" fmla="*/ 20 h 20"/>
                    <a:gd name="T20" fmla="*/ 0 w 56"/>
                    <a:gd name="T21" fmla="*/ 20 h 20"/>
                    <a:gd name="T22" fmla="*/ 0 w 56"/>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0">
                      <a:moveTo>
                        <a:pt x="31" y="20"/>
                      </a:moveTo>
                      <a:lnTo>
                        <a:pt x="31" y="0"/>
                      </a:lnTo>
                      <a:lnTo>
                        <a:pt x="56" y="0"/>
                      </a:lnTo>
                      <a:lnTo>
                        <a:pt x="56" y="20"/>
                      </a:lnTo>
                      <a:lnTo>
                        <a:pt x="31" y="20"/>
                      </a:lnTo>
                      <a:lnTo>
                        <a:pt x="31" y="20"/>
                      </a:lnTo>
                      <a:close/>
                      <a:moveTo>
                        <a:pt x="0" y="20"/>
                      </a:moveTo>
                      <a:lnTo>
                        <a:pt x="0" y="0"/>
                      </a:lnTo>
                      <a:lnTo>
                        <a:pt x="25" y="0"/>
                      </a:lnTo>
                      <a:lnTo>
                        <a:pt x="25" y="20"/>
                      </a:lnTo>
                      <a:lnTo>
                        <a:pt x="0" y="20"/>
                      </a:lnTo>
                      <a:lnTo>
                        <a:pt x="0" y="20"/>
                      </a:lnTo>
                      <a:close/>
                    </a:path>
                  </a:pathLst>
                </a:custGeom>
                <a:noFill/>
                <a:ln w="15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4" name="Freeform 1092"/>
                <p:cNvSpPr>
                  <a:spLocks/>
                </p:cNvSpPr>
                <p:nvPr/>
              </p:nvSpPr>
              <p:spPr bwMode="auto">
                <a:xfrm>
                  <a:off x="5234584" y="5207460"/>
                  <a:ext cx="104615" cy="104615"/>
                </a:xfrm>
                <a:custGeom>
                  <a:avLst/>
                  <a:gdLst>
                    <a:gd name="T0" fmla="*/ 7 w 14"/>
                    <a:gd name="T1" fmla="*/ 0 h 14"/>
                    <a:gd name="T2" fmla="*/ 0 w 14"/>
                    <a:gd name="T3" fmla="*/ 5 h 14"/>
                    <a:gd name="T4" fmla="*/ 3 w 14"/>
                    <a:gd name="T5" fmla="*/ 5 h 14"/>
                    <a:gd name="T6" fmla="*/ 3 w 14"/>
                    <a:gd name="T7" fmla="*/ 14 h 14"/>
                    <a:gd name="T8" fmla="*/ 11 w 14"/>
                    <a:gd name="T9" fmla="*/ 14 h 14"/>
                    <a:gd name="T10" fmla="*/ 11 w 14"/>
                    <a:gd name="T11" fmla="*/ 5 h 14"/>
                    <a:gd name="T12" fmla="*/ 14 w 14"/>
                    <a:gd name="T13" fmla="*/ 5 h 14"/>
                    <a:gd name="T14" fmla="*/ 7 w 14"/>
                    <a:gd name="T15" fmla="*/ 0 h 14"/>
                    <a:gd name="T16" fmla="*/ 7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7" y="0"/>
                      </a:moveTo>
                      <a:lnTo>
                        <a:pt x="0" y="5"/>
                      </a:lnTo>
                      <a:lnTo>
                        <a:pt x="3" y="5"/>
                      </a:lnTo>
                      <a:lnTo>
                        <a:pt x="3" y="14"/>
                      </a:lnTo>
                      <a:lnTo>
                        <a:pt x="11" y="14"/>
                      </a:lnTo>
                      <a:lnTo>
                        <a:pt x="11" y="5"/>
                      </a:lnTo>
                      <a:lnTo>
                        <a:pt x="14" y="5"/>
                      </a:lnTo>
                      <a:lnTo>
                        <a:pt x="7" y="0"/>
                      </a:lnTo>
                      <a:lnTo>
                        <a:pt x="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2735" name="Freeform 1093"/>
                <p:cNvSpPr>
                  <a:spLocks/>
                </p:cNvSpPr>
                <p:nvPr/>
              </p:nvSpPr>
              <p:spPr bwMode="auto">
                <a:xfrm>
                  <a:off x="5458759" y="5207460"/>
                  <a:ext cx="97145" cy="112090"/>
                </a:xfrm>
                <a:custGeom>
                  <a:avLst/>
                  <a:gdLst>
                    <a:gd name="T0" fmla="*/ 0 w 13"/>
                    <a:gd name="T1" fmla="*/ 7 h 15"/>
                    <a:gd name="T2" fmla="*/ 5 w 13"/>
                    <a:gd name="T3" fmla="*/ 15 h 15"/>
                    <a:gd name="T4" fmla="*/ 5 w 13"/>
                    <a:gd name="T5" fmla="*/ 11 h 15"/>
                    <a:gd name="T6" fmla="*/ 13 w 13"/>
                    <a:gd name="T7" fmla="*/ 11 h 15"/>
                    <a:gd name="T8" fmla="*/ 13 w 13"/>
                    <a:gd name="T9" fmla="*/ 4 h 15"/>
                    <a:gd name="T10" fmla="*/ 5 w 13"/>
                    <a:gd name="T11" fmla="*/ 4 h 15"/>
                    <a:gd name="T12" fmla="*/ 5 w 13"/>
                    <a:gd name="T13" fmla="*/ 0 h 15"/>
                    <a:gd name="T14" fmla="*/ 0 w 13"/>
                    <a:gd name="T15" fmla="*/ 7 h 15"/>
                    <a:gd name="T16" fmla="*/ 0 w 13"/>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
                      <a:moveTo>
                        <a:pt x="0" y="7"/>
                      </a:moveTo>
                      <a:lnTo>
                        <a:pt x="5" y="15"/>
                      </a:lnTo>
                      <a:lnTo>
                        <a:pt x="5" y="11"/>
                      </a:lnTo>
                      <a:lnTo>
                        <a:pt x="13" y="11"/>
                      </a:lnTo>
                      <a:lnTo>
                        <a:pt x="13" y="4"/>
                      </a:lnTo>
                      <a:lnTo>
                        <a:pt x="5" y="4"/>
                      </a:lnTo>
                      <a:lnTo>
                        <a:pt x="5" y="0"/>
                      </a:lnTo>
                      <a:lnTo>
                        <a:pt x="0" y="7"/>
                      </a:lnTo>
                      <a:lnTo>
                        <a:pt x="0"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grpSp>
          <p:nvGrpSpPr>
            <p:cNvPr id="3004" name="Gruppieren 3003"/>
            <p:cNvGrpSpPr/>
            <p:nvPr/>
          </p:nvGrpSpPr>
          <p:grpSpPr>
            <a:xfrm>
              <a:off x="6034430" y="3195637"/>
              <a:ext cx="1034659" cy="1209676"/>
              <a:chOff x="6904037" y="3195637"/>
              <a:chExt cx="1034659" cy="1209676"/>
            </a:xfrm>
          </p:grpSpPr>
          <p:grpSp>
            <p:nvGrpSpPr>
              <p:cNvPr id="3003" name="Gruppieren 3002"/>
              <p:cNvGrpSpPr/>
              <p:nvPr/>
            </p:nvGrpSpPr>
            <p:grpSpPr>
              <a:xfrm>
                <a:off x="6904037" y="3195637"/>
                <a:ext cx="866383" cy="1209676"/>
                <a:chOff x="6904037" y="3195637"/>
                <a:chExt cx="866383" cy="1209676"/>
              </a:xfrm>
            </p:grpSpPr>
            <p:sp>
              <p:nvSpPr>
                <p:cNvPr id="3002" name="Freeform 114"/>
                <p:cNvSpPr>
                  <a:spLocks/>
                </p:cNvSpPr>
                <p:nvPr/>
              </p:nvSpPr>
              <p:spPr bwMode="auto">
                <a:xfrm>
                  <a:off x="6906820"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solidFill>
                  <a:schemeClr val="bg1"/>
                </a:solidFill>
                <a:ln w="12700" cap="flat">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40" name="Line 115"/>
                <p:cNvSpPr>
                  <a:spLocks noChangeShapeType="1"/>
                </p:cNvSpPr>
                <p:nvPr/>
              </p:nvSpPr>
              <p:spPr bwMode="auto">
                <a:xfrm>
                  <a:off x="7006833"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1" name="Line 116"/>
                <p:cNvSpPr>
                  <a:spLocks noChangeShapeType="1"/>
                </p:cNvSpPr>
                <p:nvPr/>
              </p:nvSpPr>
              <p:spPr bwMode="auto">
                <a:xfrm>
                  <a:off x="7000483"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2" name="Oval 117"/>
                <p:cNvSpPr>
                  <a:spLocks noChangeArrowheads="1"/>
                </p:cNvSpPr>
                <p:nvPr/>
              </p:nvSpPr>
              <p:spPr bwMode="auto">
                <a:xfrm>
                  <a:off x="6967145"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3" name="Freeform 118"/>
                <p:cNvSpPr>
                  <a:spLocks/>
                </p:cNvSpPr>
                <p:nvPr/>
              </p:nvSpPr>
              <p:spPr bwMode="auto">
                <a:xfrm>
                  <a:off x="6952858"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4" name="Freeform 119"/>
                <p:cNvSpPr>
                  <a:spLocks/>
                </p:cNvSpPr>
                <p:nvPr/>
              </p:nvSpPr>
              <p:spPr bwMode="auto">
                <a:xfrm>
                  <a:off x="7081445"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5" name="Freeform 120"/>
                <p:cNvSpPr>
                  <a:spLocks/>
                </p:cNvSpPr>
                <p:nvPr/>
              </p:nvSpPr>
              <p:spPr bwMode="auto">
                <a:xfrm>
                  <a:off x="6906820"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6" name="Freeform 121"/>
                <p:cNvSpPr>
                  <a:spLocks/>
                </p:cNvSpPr>
                <p:nvPr/>
              </p:nvSpPr>
              <p:spPr bwMode="auto">
                <a:xfrm>
                  <a:off x="7187808"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7" name="Freeform 122"/>
                <p:cNvSpPr>
                  <a:spLocks/>
                </p:cNvSpPr>
                <p:nvPr/>
              </p:nvSpPr>
              <p:spPr bwMode="auto">
                <a:xfrm>
                  <a:off x="6906820"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8" name="Freeform 123"/>
                <p:cNvSpPr>
                  <a:spLocks/>
                </p:cNvSpPr>
                <p:nvPr/>
              </p:nvSpPr>
              <p:spPr bwMode="auto">
                <a:xfrm>
                  <a:off x="7163995"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49" name="Line 124"/>
                <p:cNvSpPr>
                  <a:spLocks noChangeShapeType="1"/>
                </p:cNvSpPr>
                <p:nvPr/>
              </p:nvSpPr>
              <p:spPr bwMode="auto">
                <a:xfrm>
                  <a:off x="710367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0" name="Line 125"/>
                <p:cNvSpPr>
                  <a:spLocks noChangeShapeType="1"/>
                </p:cNvSpPr>
                <p:nvPr/>
              </p:nvSpPr>
              <p:spPr bwMode="auto">
                <a:xfrm>
                  <a:off x="710367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1" name="Line 126"/>
                <p:cNvSpPr>
                  <a:spLocks noChangeShapeType="1"/>
                </p:cNvSpPr>
                <p:nvPr/>
              </p:nvSpPr>
              <p:spPr bwMode="auto">
                <a:xfrm>
                  <a:off x="725289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2" name="Line 127"/>
                <p:cNvSpPr>
                  <a:spLocks noChangeShapeType="1"/>
                </p:cNvSpPr>
                <p:nvPr/>
              </p:nvSpPr>
              <p:spPr bwMode="auto">
                <a:xfrm>
                  <a:off x="7252895"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3" name="Line 128"/>
                <p:cNvSpPr>
                  <a:spLocks noChangeShapeType="1"/>
                </p:cNvSpPr>
                <p:nvPr/>
              </p:nvSpPr>
              <p:spPr bwMode="auto">
                <a:xfrm flipH="1">
                  <a:off x="6995720"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4" name="Freeform 129"/>
                <p:cNvSpPr>
                  <a:spLocks/>
                </p:cNvSpPr>
                <p:nvPr/>
              </p:nvSpPr>
              <p:spPr bwMode="auto">
                <a:xfrm>
                  <a:off x="7081445"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5" name="Line 130"/>
                <p:cNvSpPr>
                  <a:spLocks noChangeShapeType="1"/>
                </p:cNvSpPr>
                <p:nvPr/>
              </p:nvSpPr>
              <p:spPr bwMode="auto">
                <a:xfrm>
                  <a:off x="7417995"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6" name="Line 131"/>
                <p:cNvSpPr>
                  <a:spLocks noChangeShapeType="1"/>
                </p:cNvSpPr>
                <p:nvPr/>
              </p:nvSpPr>
              <p:spPr bwMode="auto">
                <a:xfrm flipV="1">
                  <a:off x="7410058"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7" name="Line 132"/>
                <p:cNvSpPr>
                  <a:spLocks noChangeShapeType="1"/>
                </p:cNvSpPr>
                <p:nvPr/>
              </p:nvSpPr>
              <p:spPr bwMode="auto">
                <a:xfrm flipV="1">
                  <a:off x="7411645"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8" name="Line 133"/>
                <p:cNvSpPr>
                  <a:spLocks noChangeShapeType="1"/>
                </p:cNvSpPr>
                <p:nvPr/>
              </p:nvSpPr>
              <p:spPr bwMode="auto">
                <a:xfrm flipV="1">
                  <a:off x="7414820"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59" name="Line 134"/>
                <p:cNvSpPr>
                  <a:spLocks noChangeShapeType="1"/>
                </p:cNvSpPr>
                <p:nvPr/>
              </p:nvSpPr>
              <p:spPr bwMode="auto">
                <a:xfrm flipV="1">
                  <a:off x="7417995"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0" name="Line 135"/>
                <p:cNvSpPr>
                  <a:spLocks noChangeShapeType="1"/>
                </p:cNvSpPr>
                <p:nvPr/>
              </p:nvSpPr>
              <p:spPr bwMode="auto">
                <a:xfrm flipV="1">
                  <a:off x="7419583"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1" name="Line 136"/>
                <p:cNvSpPr>
                  <a:spLocks noChangeShapeType="1"/>
                </p:cNvSpPr>
                <p:nvPr/>
              </p:nvSpPr>
              <p:spPr bwMode="auto">
                <a:xfrm flipV="1">
                  <a:off x="7422758"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2" name="Line 137"/>
                <p:cNvSpPr>
                  <a:spLocks noChangeShapeType="1"/>
                </p:cNvSpPr>
                <p:nvPr/>
              </p:nvSpPr>
              <p:spPr bwMode="auto">
                <a:xfrm flipV="1">
                  <a:off x="7425933"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3" name="Freeform 138"/>
                <p:cNvSpPr>
                  <a:spLocks/>
                </p:cNvSpPr>
                <p:nvPr/>
              </p:nvSpPr>
              <p:spPr bwMode="auto">
                <a:xfrm>
                  <a:off x="7513245"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4" name="Freeform 139"/>
                <p:cNvSpPr>
                  <a:spLocks/>
                </p:cNvSpPr>
                <p:nvPr/>
              </p:nvSpPr>
              <p:spPr bwMode="auto">
                <a:xfrm>
                  <a:off x="7073508"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5" name="Freeform 140"/>
                <p:cNvSpPr>
                  <a:spLocks/>
                </p:cNvSpPr>
                <p:nvPr/>
              </p:nvSpPr>
              <p:spPr bwMode="auto">
                <a:xfrm>
                  <a:off x="7068745"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6" name="Line 141"/>
                <p:cNvSpPr>
                  <a:spLocks noChangeShapeType="1"/>
                </p:cNvSpPr>
                <p:nvPr/>
              </p:nvSpPr>
              <p:spPr bwMode="auto">
                <a:xfrm>
                  <a:off x="7019533"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7" name="Freeform 142"/>
                <p:cNvSpPr>
                  <a:spLocks/>
                </p:cNvSpPr>
                <p:nvPr/>
              </p:nvSpPr>
              <p:spPr bwMode="auto">
                <a:xfrm>
                  <a:off x="6989370"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8" name="Line 143"/>
                <p:cNvSpPr>
                  <a:spLocks noChangeShapeType="1"/>
                </p:cNvSpPr>
                <p:nvPr/>
              </p:nvSpPr>
              <p:spPr bwMode="auto">
                <a:xfrm>
                  <a:off x="7233845"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69" name="Oval 144"/>
                <p:cNvSpPr>
                  <a:spLocks noChangeArrowheads="1"/>
                </p:cNvSpPr>
                <p:nvPr/>
              </p:nvSpPr>
              <p:spPr bwMode="auto">
                <a:xfrm>
                  <a:off x="7152883"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0" name="Oval 145"/>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1" name="Oval 146"/>
                <p:cNvSpPr>
                  <a:spLocks noChangeArrowheads="1"/>
                </p:cNvSpPr>
                <p:nvPr/>
              </p:nvSpPr>
              <p:spPr bwMode="auto">
                <a:xfrm>
                  <a:off x="7152883"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2" name="Freeform 147"/>
                <p:cNvSpPr>
                  <a:spLocks/>
                </p:cNvSpPr>
                <p:nvPr/>
              </p:nvSpPr>
              <p:spPr bwMode="auto">
                <a:xfrm>
                  <a:off x="7254483"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3" name="Freeform 148"/>
                <p:cNvSpPr>
                  <a:spLocks/>
                </p:cNvSpPr>
                <p:nvPr/>
              </p:nvSpPr>
              <p:spPr bwMode="auto">
                <a:xfrm>
                  <a:off x="7079858"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4" name="Rectangle 149"/>
                <p:cNvSpPr>
                  <a:spLocks noChangeArrowheads="1"/>
                </p:cNvSpPr>
                <p:nvPr/>
              </p:nvSpPr>
              <p:spPr bwMode="auto">
                <a:xfrm>
                  <a:off x="7089383"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5" name="Line 150"/>
                <p:cNvSpPr>
                  <a:spLocks noChangeShapeType="1"/>
                </p:cNvSpPr>
                <p:nvPr/>
              </p:nvSpPr>
              <p:spPr bwMode="auto">
                <a:xfrm flipH="1">
                  <a:off x="6994133"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6" name="Rectangle 151"/>
                <p:cNvSpPr>
                  <a:spLocks noChangeArrowheads="1"/>
                </p:cNvSpPr>
                <p:nvPr/>
              </p:nvSpPr>
              <p:spPr bwMode="auto">
                <a:xfrm>
                  <a:off x="7030645"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7" name="Rectangle 152"/>
                <p:cNvSpPr>
                  <a:spLocks noChangeArrowheads="1"/>
                </p:cNvSpPr>
                <p:nvPr/>
              </p:nvSpPr>
              <p:spPr bwMode="auto">
                <a:xfrm>
                  <a:off x="7030645"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78" name="Rectangle 153"/>
                <p:cNvSpPr>
                  <a:spLocks noChangeArrowheads="1"/>
                </p:cNvSpPr>
                <p:nvPr/>
              </p:nvSpPr>
              <p:spPr bwMode="auto">
                <a:xfrm>
                  <a:off x="7287820"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79" name="Rectangle 154"/>
                <p:cNvSpPr>
                  <a:spLocks noChangeArrowheads="1"/>
                </p:cNvSpPr>
                <p:nvPr/>
              </p:nvSpPr>
              <p:spPr bwMode="auto">
                <a:xfrm>
                  <a:off x="7287820"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0" name="Line 155"/>
                <p:cNvSpPr>
                  <a:spLocks noChangeShapeType="1"/>
                </p:cNvSpPr>
                <p:nvPr/>
              </p:nvSpPr>
              <p:spPr bwMode="auto">
                <a:xfrm>
                  <a:off x="728305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1" name="Line 156"/>
                <p:cNvSpPr>
                  <a:spLocks noChangeShapeType="1"/>
                </p:cNvSpPr>
                <p:nvPr/>
              </p:nvSpPr>
              <p:spPr bwMode="auto">
                <a:xfrm>
                  <a:off x="7270358"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2" name="Line 157"/>
                <p:cNvSpPr>
                  <a:spLocks noChangeShapeType="1"/>
                </p:cNvSpPr>
                <p:nvPr/>
              </p:nvSpPr>
              <p:spPr bwMode="auto">
                <a:xfrm>
                  <a:off x="7073508"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3" name="Line 158"/>
                <p:cNvSpPr>
                  <a:spLocks noChangeShapeType="1"/>
                </p:cNvSpPr>
                <p:nvPr/>
              </p:nvSpPr>
              <p:spPr bwMode="auto">
                <a:xfrm>
                  <a:off x="708779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4" name="Line 159"/>
                <p:cNvSpPr>
                  <a:spLocks noChangeShapeType="1"/>
                </p:cNvSpPr>
                <p:nvPr/>
              </p:nvSpPr>
              <p:spPr bwMode="auto">
                <a:xfrm>
                  <a:off x="7271945"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5" name="Line 160"/>
                <p:cNvSpPr>
                  <a:spLocks noChangeShapeType="1"/>
                </p:cNvSpPr>
                <p:nvPr/>
              </p:nvSpPr>
              <p:spPr bwMode="auto">
                <a:xfrm>
                  <a:off x="7090970"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6" name="Line 161"/>
                <p:cNvSpPr>
                  <a:spLocks noChangeShapeType="1"/>
                </p:cNvSpPr>
                <p:nvPr/>
              </p:nvSpPr>
              <p:spPr bwMode="auto">
                <a:xfrm flipH="1">
                  <a:off x="7089383"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7" name="Freeform 162"/>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88" name="Freeform 163"/>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89" name="Freeform 164"/>
                <p:cNvSpPr>
                  <a:spLocks/>
                </p:cNvSpPr>
                <p:nvPr/>
              </p:nvSpPr>
              <p:spPr bwMode="auto">
                <a:xfrm>
                  <a:off x="6978258"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0" name="Line 165"/>
                <p:cNvSpPr>
                  <a:spLocks noChangeShapeType="1"/>
                </p:cNvSpPr>
                <p:nvPr/>
              </p:nvSpPr>
              <p:spPr bwMode="auto">
                <a:xfrm>
                  <a:off x="7248133"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1" name="Line 166"/>
                <p:cNvSpPr>
                  <a:spLocks noChangeShapeType="1"/>
                </p:cNvSpPr>
                <p:nvPr/>
              </p:nvSpPr>
              <p:spPr bwMode="auto">
                <a:xfrm>
                  <a:off x="7427520"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2" name="Line 167"/>
                <p:cNvSpPr>
                  <a:spLocks noChangeShapeType="1"/>
                </p:cNvSpPr>
                <p:nvPr/>
              </p:nvSpPr>
              <p:spPr bwMode="auto">
                <a:xfrm flipH="1">
                  <a:off x="7252895"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3" name="Freeform 168"/>
                <p:cNvSpPr>
                  <a:spLocks/>
                </p:cNvSpPr>
                <p:nvPr/>
              </p:nvSpPr>
              <p:spPr bwMode="auto">
                <a:xfrm>
                  <a:off x="7233845"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4" name="Freeform 169"/>
                <p:cNvSpPr>
                  <a:spLocks/>
                </p:cNvSpPr>
                <p:nvPr/>
              </p:nvSpPr>
              <p:spPr bwMode="auto">
                <a:xfrm>
                  <a:off x="7105258"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5" name="Freeform 170"/>
                <p:cNvSpPr>
                  <a:spLocks/>
                </p:cNvSpPr>
                <p:nvPr/>
              </p:nvSpPr>
              <p:spPr bwMode="auto">
                <a:xfrm>
                  <a:off x="7079858"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6" name="Freeform 114"/>
                <p:cNvSpPr>
                  <a:spLocks/>
                </p:cNvSpPr>
                <p:nvPr/>
              </p:nvSpPr>
              <p:spPr bwMode="auto">
                <a:xfrm>
                  <a:off x="6904037"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938" name="Gruppieren 2937"/>
              <p:cNvGrpSpPr/>
              <p:nvPr/>
            </p:nvGrpSpPr>
            <p:grpSpPr>
              <a:xfrm>
                <a:off x="7676758" y="3254375"/>
                <a:ext cx="261938" cy="254001"/>
                <a:chOff x="5408613" y="3254375"/>
                <a:chExt cx="261938" cy="254001"/>
              </a:xfrm>
            </p:grpSpPr>
            <p:sp>
              <p:nvSpPr>
                <p:cNvPr id="2997"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998"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99"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0"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01"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grpSp>
        <p:nvGrpSpPr>
          <p:cNvPr id="3072" name="Gruppieren 3071"/>
          <p:cNvGrpSpPr/>
          <p:nvPr/>
        </p:nvGrpSpPr>
        <p:grpSpPr>
          <a:xfrm flipH="1">
            <a:off x="6290379" y="3337961"/>
            <a:ext cx="1071741" cy="1230782"/>
            <a:chOff x="4635892" y="3195637"/>
            <a:chExt cx="1034659" cy="1209676"/>
          </a:xfrm>
        </p:grpSpPr>
        <p:grpSp>
          <p:nvGrpSpPr>
            <p:cNvPr id="3073" name="Gruppieren 3072"/>
            <p:cNvGrpSpPr/>
            <p:nvPr/>
          </p:nvGrpSpPr>
          <p:grpSpPr>
            <a:xfrm>
              <a:off x="5408613" y="3254375"/>
              <a:ext cx="261938" cy="254001"/>
              <a:chOff x="5408613" y="3254375"/>
              <a:chExt cx="261938" cy="254001"/>
            </a:xfrm>
          </p:grpSpPr>
          <p:sp>
            <p:nvSpPr>
              <p:cNvPr id="3132" name="Freeform 171"/>
              <p:cNvSpPr>
                <a:spLocks/>
              </p:cNvSpPr>
              <p:nvPr/>
            </p:nvSpPr>
            <p:spPr bwMode="auto">
              <a:xfrm>
                <a:off x="5408613" y="3254375"/>
                <a:ext cx="52388" cy="53975"/>
              </a:xfrm>
              <a:custGeom>
                <a:avLst/>
                <a:gdLst>
                  <a:gd name="T0" fmla="*/ 8 w 47"/>
                  <a:gd name="T1" fmla="*/ 38 h 48"/>
                  <a:gd name="T2" fmla="*/ 9 w 47"/>
                  <a:gd name="T3" fmla="*/ 8 h 48"/>
                  <a:gd name="T4" fmla="*/ 39 w 47"/>
                  <a:gd name="T5" fmla="*/ 10 h 48"/>
                  <a:gd name="T6" fmla="*/ 38 w 47"/>
                  <a:gd name="T7" fmla="*/ 40 h 48"/>
                  <a:gd name="T8" fmla="*/ 8 w 47"/>
                  <a:gd name="T9" fmla="*/ 38 h 48"/>
                </a:gdLst>
                <a:ahLst/>
                <a:cxnLst>
                  <a:cxn ang="0">
                    <a:pos x="T0" y="T1"/>
                  </a:cxn>
                  <a:cxn ang="0">
                    <a:pos x="T2" y="T3"/>
                  </a:cxn>
                  <a:cxn ang="0">
                    <a:pos x="T4" y="T5"/>
                  </a:cxn>
                  <a:cxn ang="0">
                    <a:pos x="T6" y="T7"/>
                  </a:cxn>
                  <a:cxn ang="0">
                    <a:pos x="T8" y="T9"/>
                  </a:cxn>
                </a:cxnLst>
                <a:rect l="0" t="0" r="r" b="b"/>
                <a:pathLst>
                  <a:path w="47" h="48">
                    <a:moveTo>
                      <a:pt x="8" y="38"/>
                    </a:moveTo>
                    <a:cubicBezTo>
                      <a:pt x="0" y="30"/>
                      <a:pt x="0" y="16"/>
                      <a:pt x="9" y="8"/>
                    </a:cubicBezTo>
                    <a:cubicBezTo>
                      <a:pt x="18" y="0"/>
                      <a:pt x="31" y="1"/>
                      <a:pt x="39" y="10"/>
                    </a:cubicBezTo>
                    <a:cubicBezTo>
                      <a:pt x="47" y="18"/>
                      <a:pt x="47" y="32"/>
                      <a:pt x="38" y="40"/>
                    </a:cubicBezTo>
                    <a:cubicBezTo>
                      <a:pt x="29" y="48"/>
                      <a:pt x="16" y="47"/>
                      <a:pt x="8" y="38"/>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33" name="Freeform 174"/>
              <p:cNvSpPr>
                <a:spLocks/>
              </p:cNvSpPr>
              <p:nvPr/>
            </p:nvSpPr>
            <p:spPr bwMode="auto">
              <a:xfrm>
                <a:off x="5441950" y="3284538"/>
                <a:ext cx="95250" cy="90488"/>
              </a:xfrm>
              <a:custGeom>
                <a:avLst/>
                <a:gdLst>
                  <a:gd name="T0" fmla="*/ 82 w 86"/>
                  <a:gd name="T1" fmla="*/ 0 h 82"/>
                  <a:gd name="T2" fmla="*/ 61 w 86"/>
                  <a:gd name="T3" fmla="*/ 61 h 82"/>
                  <a:gd name="T4" fmla="*/ 0 w 86"/>
                  <a:gd name="T5" fmla="*/ 77 h 82"/>
                </a:gdLst>
                <a:ahLst/>
                <a:cxnLst>
                  <a:cxn ang="0">
                    <a:pos x="T0" y="T1"/>
                  </a:cxn>
                  <a:cxn ang="0">
                    <a:pos x="T2" y="T3"/>
                  </a:cxn>
                  <a:cxn ang="0">
                    <a:pos x="T4" y="T5"/>
                  </a:cxn>
                </a:cxnLst>
                <a:rect l="0" t="0" r="r" b="b"/>
                <a:pathLst>
                  <a:path w="86" h="82">
                    <a:moveTo>
                      <a:pt x="82" y="0"/>
                    </a:moveTo>
                    <a:cubicBezTo>
                      <a:pt x="86" y="22"/>
                      <a:pt x="79" y="45"/>
                      <a:pt x="61" y="61"/>
                    </a:cubicBezTo>
                    <a:cubicBezTo>
                      <a:pt x="44" y="77"/>
                      <a:pt x="21" y="82"/>
                      <a:pt x="0" y="7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4" name="Freeform 175"/>
              <p:cNvSpPr>
                <a:spLocks/>
              </p:cNvSpPr>
              <p:nvPr/>
            </p:nvSpPr>
            <p:spPr bwMode="auto">
              <a:xfrm>
                <a:off x="5453063" y="3298825"/>
                <a:ext cx="127000" cy="119063"/>
              </a:xfrm>
              <a:custGeom>
                <a:avLst/>
                <a:gdLst>
                  <a:gd name="T0" fmla="*/ 0 w 115"/>
                  <a:gd name="T1" fmla="*/ 107 h 108"/>
                  <a:gd name="T2" fmla="*/ 80 w 115"/>
                  <a:gd name="T3" fmla="*/ 78 h 108"/>
                  <a:gd name="T4" fmla="*/ 115 w 115"/>
                  <a:gd name="T5" fmla="*/ 0 h 108"/>
                </a:gdLst>
                <a:ahLst/>
                <a:cxnLst>
                  <a:cxn ang="0">
                    <a:pos x="T0" y="T1"/>
                  </a:cxn>
                  <a:cxn ang="0">
                    <a:pos x="T2" y="T3"/>
                  </a:cxn>
                  <a:cxn ang="0">
                    <a:pos x="T4" y="T5"/>
                  </a:cxn>
                </a:cxnLst>
                <a:rect l="0" t="0" r="r" b="b"/>
                <a:pathLst>
                  <a:path w="115" h="108">
                    <a:moveTo>
                      <a:pt x="0" y="107"/>
                    </a:moveTo>
                    <a:cubicBezTo>
                      <a:pt x="28" y="108"/>
                      <a:pt x="58" y="99"/>
                      <a:pt x="80" y="78"/>
                    </a:cubicBezTo>
                    <a:cubicBezTo>
                      <a:pt x="103" y="57"/>
                      <a:pt x="115" y="29"/>
                      <a:pt x="115"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5" name="Freeform 176"/>
              <p:cNvSpPr>
                <a:spLocks/>
              </p:cNvSpPr>
              <p:nvPr/>
            </p:nvSpPr>
            <p:spPr bwMode="auto">
              <a:xfrm>
                <a:off x="5462588" y="3313113"/>
                <a:ext cx="161925" cy="149225"/>
              </a:xfrm>
              <a:custGeom>
                <a:avLst/>
                <a:gdLst>
                  <a:gd name="T0" fmla="*/ 0 w 146"/>
                  <a:gd name="T1" fmla="*/ 135 h 135"/>
                  <a:gd name="T2" fmla="*/ 99 w 146"/>
                  <a:gd name="T3" fmla="*/ 95 h 135"/>
                  <a:gd name="T4" fmla="*/ 146 w 146"/>
                  <a:gd name="T5" fmla="*/ 0 h 135"/>
                </a:gdLst>
                <a:ahLst/>
                <a:cxnLst>
                  <a:cxn ang="0">
                    <a:pos x="T0" y="T1"/>
                  </a:cxn>
                  <a:cxn ang="0">
                    <a:pos x="T2" y="T3"/>
                  </a:cxn>
                  <a:cxn ang="0">
                    <a:pos x="T4" y="T5"/>
                  </a:cxn>
                </a:cxnLst>
                <a:rect l="0" t="0" r="r" b="b"/>
                <a:pathLst>
                  <a:path w="146" h="135">
                    <a:moveTo>
                      <a:pt x="0" y="135"/>
                    </a:moveTo>
                    <a:cubicBezTo>
                      <a:pt x="36" y="134"/>
                      <a:pt x="71" y="121"/>
                      <a:pt x="99" y="95"/>
                    </a:cubicBezTo>
                    <a:cubicBezTo>
                      <a:pt x="127" y="69"/>
                      <a:pt x="143" y="35"/>
                      <a:pt x="146"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6" name="Freeform 177"/>
              <p:cNvSpPr>
                <a:spLocks/>
              </p:cNvSpPr>
              <p:nvPr/>
            </p:nvSpPr>
            <p:spPr bwMode="auto">
              <a:xfrm>
                <a:off x="5472113" y="3325813"/>
                <a:ext cx="198438" cy="182563"/>
              </a:xfrm>
              <a:custGeom>
                <a:avLst/>
                <a:gdLst>
                  <a:gd name="T0" fmla="*/ 0 w 179"/>
                  <a:gd name="T1" fmla="*/ 165 h 165"/>
                  <a:gd name="T2" fmla="*/ 121 w 179"/>
                  <a:gd name="T3" fmla="*/ 117 h 165"/>
                  <a:gd name="T4" fmla="*/ 179 w 179"/>
                  <a:gd name="T5" fmla="*/ 0 h 165"/>
                </a:gdLst>
                <a:ahLst/>
                <a:cxnLst>
                  <a:cxn ang="0">
                    <a:pos x="T0" y="T1"/>
                  </a:cxn>
                  <a:cxn ang="0">
                    <a:pos x="T2" y="T3"/>
                  </a:cxn>
                  <a:cxn ang="0">
                    <a:pos x="T4" y="T5"/>
                  </a:cxn>
                </a:cxnLst>
                <a:rect l="0" t="0" r="r" b="b"/>
                <a:pathLst>
                  <a:path w="179" h="165">
                    <a:moveTo>
                      <a:pt x="0" y="165"/>
                    </a:moveTo>
                    <a:cubicBezTo>
                      <a:pt x="44" y="165"/>
                      <a:pt x="87" y="148"/>
                      <a:pt x="121" y="117"/>
                    </a:cubicBezTo>
                    <a:cubicBezTo>
                      <a:pt x="155" y="85"/>
                      <a:pt x="175" y="43"/>
                      <a:pt x="17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074" name="Gruppieren 3073"/>
            <p:cNvGrpSpPr/>
            <p:nvPr/>
          </p:nvGrpSpPr>
          <p:grpSpPr>
            <a:xfrm>
              <a:off x="4635892" y="3195637"/>
              <a:ext cx="863600" cy="1209676"/>
              <a:chOff x="4635892" y="3195637"/>
              <a:chExt cx="863600" cy="1209676"/>
            </a:xfrm>
          </p:grpSpPr>
          <p:sp>
            <p:nvSpPr>
              <p:cNvPr id="3075" name="Line 115"/>
              <p:cNvSpPr>
                <a:spLocks noChangeShapeType="1"/>
              </p:cNvSpPr>
              <p:nvPr/>
            </p:nvSpPr>
            <p:spPr bwMode="auto">
              <a:xfrm>
                <a:off x="4738688" y="411797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6" name="Line 116"/>
              <p:cNvSpPr>
                <a:spLocks noChangeShapeType="1"/>
              </p:cNvSpPr>
              <p:nvPr/>
            </p:nvSpPr>
            <p:spPr bwMode="auto">
              <a:xfrm>
                <a:off x="4732338" y="4125913"/>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7" name="Oval 117"/>
              <p:cNvSpPr>
                <a:spLocks noChangeArrowheads="1"/>
              </p:cNvSpPr>
              <p:nvPr/>
            </p:nvSpPr>
            <p:spPr bwMode="auto">
              <a:xfrm>
                <a:off x="4699000" y="4064000"/>
                <a:ext cx="50800" cy="49213"/>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8" name="Freeform 118"/>
              <p:cNvSpPr>
                <a:spLocks/>
              </p:cNvSpPr>
              <p:nvPr/>
            </p:nvSpPr>
            <p:spPr bwMode="auto">
              <a:xfrm>
                <a:off x="4684713" y="4049713"/>
                <a:ext cx="203200" cy="171450"/>
              </a:xfrm>
              <a:custGeom>
                <a:avLst/>
                <a:gdLst>
                  <a:gd name="T0" fmla="*/ 8 w 183"/>
                  <a:gd name="T1" fmla="*/ 49 h 154"/>
                  <a:gd name="T2" fmla="*/ 21 w 183"/>
                  <a:gd name="T3" fmla="*/ 8 h 154"/>
                  <a:gd name="T4" fmla="*/ 62 w 183"/>
                  <a:gd name="T5" fmla="*/ 20 h 154"/>
                  <a:gd name="T6" fmla="*/ 109 w 183"/>
                  <a:gd name="T7" fmla="*/ 97 h 154"/>
                  <a:gd name="T8" fmla="*/ 141 w 183"/>
                  <a:gd name="T9" fmla="*/ 119 h 154"/>
                  <a:gd name="T10" fmla="*/ 149 w 183"/>
                  <a:gd name="T11" fmla="*/ 130 h 154"/>
                  <a:gd name="T12" fmla="*/ 149 w 183"/>
                  <a:gd name="T13" fmla="*/ 142 h 154"/>
                  <a:gd name="T14" fmla="*/ 153 w 183"/>
                  <a:gd name="T15" fmla="*/ 142 h 154"/>
                  <a:gd name="T16" fmla="*/ 175 w 183"/>
                  <a:gd name="T17" fmla="*/ 139 h 154"/>
                  <a:gd name="T18" fmla="*/ 178 w 183"/>
                  <a:gd name="T19" fmla="*/ 154 h 154"/>
                  <a:gd name="T20" fmla="*/ 107 w 183"/>
                  <a:gd name="T21" fmla="*/ 154 h 154"/>
                  <a:gd name="T22" fmla="*/ 85 w 183"/>
                  <a:gd name="T23" fmla="*/ 154 h 154"/>
                  <a:gd name="T24" fmla="*/ 85 w 183"/>
                  <a:gd name="T25" fmla="*/ 143 h 154"/>
                  <a:gd name="T26" fmla="*/ 76 w 183"/>
                  <a:gd name="T27" fmla="*/ 143 h 154"/>
                  <a:gd name="T28" fmla="*/ 62 w 183"/>
                  <a:gd name="T29" fmla="*/ 130 h 154"/>
                  <a:gd name="T30" fmla="*/ 38 w 183"/>
                  <a:gd name="T31" fmla="*/ 101 h 154"/>
                  <a:gd name="T32" fmla="*/ 8 w 183"/>
                  <a:gd name="T3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54">
                    <a:moveTo>
                      <a:pt x="8" y="49"/>
                    </a:moveTo>
                    <a:cubicBezTo>
                      <a:pt x="0" y="35"/>
                      <a:pt x="6" y="16"/>
                      <a:pt x="21" y="8"/>
                    </a:cubicBezTo>
                    <a:cubicBezTo>
                      <a:pt x="35" y="0"/>
                      <a:pt x="54" y="5"/>
                      <a:pt x="62" y="20"/>
                    </a:cubicBezTo>
                    <a:cubicBezTo>
                      <a:pt x="79" y="51"/>
                      <a:pt x="101" y="87"/>
                      <a:pt x="109" y="97"/>
                    </a:cubicBezTo>
                    <a:cubicBezTo>
                      <a:pt x="118" y="107"/>
                      <a:pt x="125" y="115"/>
                      <a:pt x="141" y="119"/>
                    </a:cubicBezTo>
                    <a:cubicBezTo>
                      <a:pt x="147" y="121"/>
                      <a:pt x="149" y="126"/>
                      <a:pt x="149" y="130"/>
                    </a:cubicBezTo>
                    <a:cubicBezTo>
                      <a:pt x="149" y="134"/>
                      <a:pt x="149" y="142"/>
                      <a:pt x="149" y="142"/>
                    </a:cubicBezTo>
                    <a:cubicBezTo>
                      <a:pt x="153" y="142"/>
                      <a:pt x="153" y="142"/>
                      <a:pt x="153" y="142"/>
                    </a:cubicBezTo>
                    <a:cubicBezTo>
                      <a:pt x="153" y="142"/>
                      <a:pt x="167" y="128"/>
                      <a:pt x="175" y="139"/>
                    </a:cubicBezTo>
                    <a:cubicBezTo>
                      <a:pt x="183" y="150"/>
                      <a:pt x="181" y="154"/>
                      <a:pt x="178" y="154"/>
                    </a:cubicBezTo>
                    <a:cubicBezTo>
                      <a:pt x="107" y="154"/>
                      <a:pt x="107" y="154"/>
                      <a:pt x="107" y="154"/>
                    </a:cubicBezTo>
                    <a:cubicBezTo>
                      <a:pt x="85" y="154"/>
                      <a:pt x="85" y="154"/>
                      <a:pt x="85" y="154"/>
                    </a:cubicBezTo>
                    <a:cubicBezTo>
                      <a:pt x="85" y="143"/>
                      <a:pt x="85" y="143"/>
                      <a:pt x="85" y="143"/>
                    </a:cubicBezTo>
                    <a:cubicBezTo>
                      <a:pt x="76" y="143"/>
                      <a:pt x="76" y="143"/>
                      <a:pt x="76" y="143"/>
                    </a:cubicBezTo>
                    <a:cubicBezTo>
                      <a:pt x="76" y="143"/>
                      <a:pt x="69" y="137"/>
                      <a:pt x="62" y="130"/>
                    </a:cubicBezTo>
                    <a:cubicBezTo>
                      <a:pt x="56" y="124"/>
                      <a:pt x="38" y="101"/>
                      <a:pt x="38" y="101"/>
                    </a:cubicBezTo>
                    <a:cubicBezTo>
                      <a:pt x="38" y="101"/>
                      <a:pt x="15" y="62"/>
                      <a:pt x="8" y="4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79" name="Freeform 119"/>
              <p:cNvSpPr>
                <a:spLocks/>
              </p:cNvSpPr>
              <p:nvPr/>
            </p:nvSpPr>
            <p:spPr bwMode="auto">
              <a:xfrm>
                <a:off x="4813300" y="3414713"/>
                <a:ext cx="350838" cy="682625"/>
              </a:xfrm>
              <a:custGeom>
                <a:avLst/>
                <a:gdLst>
                  <a:gd name="T0" fmla="*/ 139 w 317"/>
                  <a:gd name="T1" fmla="*/ 43 h 617"/>
                  <a:gd name="T2" fmla="*/ 174 w 317"/>
                  <a:gd name="T3" fmla="*/ 112 h 617"/>
                  <a:gd name="T4" fmla="*/ 282 w 317"/>
                  <a:gd name="T5" fmla="*/ 340 h 617"/>
                  <a:gd name="T6" fmla="*/ 317 w 317"/>
                  <a:gd name="T7" fmla="*/ 463 h 617"/>
                  <a:gd name="T8" fmla="*/ 316 w 317"/>
                  <a:gd name="T9" fmla="*/ 532 h 617"/>
                  <a:gd name="T10" fmla="*/ 231 w 317"/>
                  <a:gd name="T11" fmla="*/ 617 h 617"/>
                  <a:gd name="T12" fmla="*/ 179 w 317"/>
                  <a:gd name="T13" fmla="*/ 599 h 617"/>
                  <a:gd name="T14" fmla="*/ 146 w 317"/>
                  <a:gd name="T15" fmla="*/ 532 h 617"/>
                  <a:gd name="T16" fmla="*/ 152 w 317"/>
                  <a:gd name="T17" fmla="*/ 441 h 617"/>
                  <a:gd name="T18" fmla="*/ 89 w 317"/>
                  <a:gd name="T19" fmla="*/ 307 h 617"/>
                  <a:gd name="T20" fmla="*/ 24 w 317"/>
                  <a:gd name="T21" fmla="*/ 187 h 617"/>
                  <a:gd name="T22" fmla="*/ 5 w 317"/>
                  <a:gd name="T23" fmla="*/ 129 h 617"/>
                  <a:gd name="T24" fmla="*/ 3 w 317"/>
                  <a:gd name="T25" fmla="*/ 119 h 617"/>
                  <a:gd name="T26" fmla="*/ 4 w 317"/>
                  <a:gd name="T27" fmla="*/ 62 h 617"/>
                  <a:gd name="T28" fmla="*/ 4 w 317"/>
                  <a:gd name="T29" fmla="*/ 60 h 617"/>
                  <a:gd name="T30" fmla="*/ 43 w 317"/>
                  <a:gd name="T31" fmla="*/ 10 h 617"/>
                  <a:gd name="T32" fmla="*/ 104 w 317"/>
                  <a:gd name="T33" fmla="*/ 9 h 617"/>
                  <a:gd name="T34" fmla="*/ 139 w 317"/>
                  <a:gd name="T35" fmla="*/ 4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617">
                    <a:moveTo>
                      <a:pt x="139" y="43"/>
                    </a:moveTo>
                    <a:cubicBezTo>
                      <a:pt x="147" y="60"/>
                      <a:pt x="147" y="60"/>
                      <a:pt x="174" y="112"/>
                    </a:cubicBezTo>
                    <a:cubicBezTo>
                      <a:pt x="179" y="124"/>
                      <a:pt x="265" y="305"/>
                      <a:pt x="282" y="340"/>
                    </a:cubicBezTo>
                    <a:cubicBezTo>
                      <a:pt x="300" y="375"/>
                      <a:pt x="311" y="400"/>
                      <a:pt x="317" y="463"/>
                    </a:cubicBezTo>
                    <a:cubicBezTo>
                      <a:pt x="316" y="532"/>
                      <a:pt x="316" y="532"/>
                      <a:pt x="316" y="532"/>
                    </a:cubicBezTo>
                    <a:cubicBezTo>
                      <a:pt x="316" y="579"/>
                      <a:pt x="278" y="617"/>
                      <a:pt x="231" y="617"/>
                    </a:cubicBezTo>
                    <a:cubicBezTo>
                      <a:pt x="211" y="617"/>
                      <a:pt x="194" y="610"/>
                      <a:pt x="179" y="599"/>
                    </a:cubicBezTo>
                    <a:cubicBezTo>
                      <a:pt x="159" y="584"/>
                      <a:pt x="146" y="559"/>
                      <a:pt x="146" y="532"/>
                    </a:cubicBezTo>
                    <a:cubicBezTo>
                      <a:pt x="146" y="532"/>
                      <a:pt x="161" y="471"/>
                      <a:pt x="152" y="441"/>
                    </a:cubicBezTo>
                    <a:cubicBezTo>
                      <a:pt x="146" y="401"/>
                      <a:pt x="108" y="344"/>
                      <a:pt x="89" y="307"/>
                    </a:cubicBezTo>
                    <a:cubicBezTo>
                      <a:pt x="69" y="270"/>
                      <a:pt x="35" y="208"/>
                      <a:pt x="24" y="187"/>
                    </a:cubicBezTo>
                    <a:cubicBezTo>
                      <a:pt x="14" y="166"/>
                      <a:pt x="7" y="142"/>
                      <a:pt x="5" y="129"/>
                    </a:cubicBezTo>
                    <a:cubicBezTo>
                      <a:pt x="5" y="129"/>
                      <a:pt x="4" y="126"/>
                      <a:pt x="3" y="119"/>
                    </a:cubicBezTo>
                    <a:cubicBezTo>
                      <a:pt x="2" y="106"/>
                      <a:pt x="0" y="82"/>
                      <a:pt x="4" y="62"/>
                    </a:cubicBezTo>
                    <a:cubicBezTo>
                      <a:pt x="4" y="61"/>
                      <a:pt x="4" y="60"/>
                      <a:pt x="4" y="60"/>
                    </a:cubicBezTo>
                    <a:cubicBezTo>
                      <a:pt x="9" y="39"/>
                      <a:pt x="22" y="20"/>
                      <a:pt x="43" y="10"/>
                    </a:cubicBezTo>
                    <a:cubicBezTo>
                      <a:pt x="63" y="0"/>
                      <a:pt x="85" y="1"/>
                      <a:pt x="104" y="9"/>
                    </a:cubicBezTo>
                    <a:cubicBezTo>
                      <a:pt x="119" y="16"/>
                      <a:pt x="131" y="28"/>
                      <a:pt x="139"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0" name="Freeform 120"/>
              <p:cNvSpPr>
                <a:spLocks/>
              </p:cNvSpPr>
              <p:nvPr/>
            </p:nvSpPr>
            <p:spPr bwMode="auto">
              <a:xfrm>
                <a:off x="4638675" y="3976688"/>
                <a:ext cx="373063" cy="200025"/>
              </a:xfrm>
              <a:custGeom>
                <a:avLst/>
                <a:gdLst>
                  <a:gd name="T0" fmla="*/ 266 w 337"/>
                  <a:gd name="T1" fmla="*/ 94 h 181"/>
                  <a:gd name="T2" fmla="*/ 234 w 337"/>
                  <a:gd name="T3" fmla="*/ 160 h 181"/>
                  <a:gd name="T4" fmla="*/ 149 w 337"/>
                  <a:gd name="T5" fmla="*/ 160 h 181"/>
                  <a:gd name="T6" fmla="*/ 104 w 337"/>
                  <a:gd name="T7" fmla="*/ 86 h 181"/>
                  <a:gd name="T8" fmla="*/ 63 w 337"/>
                  <a:gd name="T9" fmla="*/ 74 h 181"/>
                  <a:gd name="T10" fmla="*/ 50 w 337"/>
                  <a:gd name="T11" fmla="*/ 115 h 181"/>
                  <a:gd name="T12" fmla="*/ 80 w 337"/>
                  <a:gd name="T13" fmla="*/ 167 h 181"/>
                  <a:gd name="T14" fmla="*/ 47 w 337"/>
                  <a:gd name="T15" fmla="*/ 167 h 181"/>
                  <a:gd name="T16" fmla="*/ 38 w 337"/>
                  <a:gd name="T17" fmla="*/ 172 h 181"/>
                  <a:gd name="T18" fmla="*/ 23 w 337"/>
                  <a:gd name="T19" fmla="*/ 181 h 181"/>
                  <a:gd name="T20" fmla="*/ 23 w 337"/>
                  <a:gd name="T21" fmla="*/ 181 h 181"/>
                  <a:gd name="T22" fmla="*/ 0 w 337"/>
                  <a:gd name="T23" fmla="*/ 90 h 181"/>
                  <a:gd name="T24" fmla="*/ 23 w 337"/>
                  <a:gd name="T25" fmla="*/ 0 h 181"/>
                  <a:gd name="T26" fmla="*/ 38 w 337"/>
                  <a:gd name="T27" fmla="*/ 8 h 181"/>
                  <a:gd name="T28" fmla="*/ 111 w 337"/>
                  <a:gd name="T29" fmla="*/ 8 h 181"/>
                  <a:gd name="T30" fmla="*/ 118 w 337"/>
                  <a:gd name="T31" fmla="*/ 0 h 181"/>
                  <a:gd name="T32" fmla="*/ 133 w 337"/>
                  <a:gd name="T33" fmla="*/ 0 h 181"/>
                  <a:gd name="T34" fmla="*/ 139 w 337"/>
                  <a:gd name="T35" fmla="*/ 5 h 181"/>
                  <a:gd name="T36" fmla="*/ 234 w 337"/>
                  <a:gd name="T37" fmla="*/ 5 h 181"/>
                  <a:gd name="T38" fmla="*/ 265 w 337"/>
                  <a:gd name="T39" fmla="*/ 62 h 181"/>
                  <a:gd name="T40" fmla="*/ 269 w 337"/>
                  <a:gd name="T41" fmla="*/ 64 h 181"/>
                  <a:gd name="T42" fmla="*/ 286 w 337"/>
                  <a:gd name="T43" fmla="*/ 64 h 181"/>
                  <a:gd name="T44" fmla="*/ 306 w 337"/>
                  <a:gd name="T45" fmla="*/ 43 h 181"/>
                  <a:gd name="T46" fmla="*/ 337 w 337"/>
                  <a:gd name="T47" fmla="*/ 90 h 181"/>
                  <a:gd name="T48" fmla="*/ 311 w 337"/>
                  <a:gd name="T49" fmla="*/ 106 h 181"/>
                  <a:gd name="T50" fmla="*/ 286 w 337"/>
                  <a:gd name="T51" fmla="*/ 93 h 181"/>
                  <a:gd name="T52" fmla="*/ 268 w 337"/>
                  <a:gd name="T53" fmla="*/ 93 h 181"/>
                  <a:gd name="T54" fmla="*/ 266 w 337"/>
                  <a:gd name="T55" fmla="*/ 9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181">
                    <a:moveTo>
                      <a:pt x="266" y="94"/>
                    </a:moveTo>
                    <a:cubicBezTo>
                      <a:pt x="264" y="130"/>
                      <a:pt x="250" y="160"/>
                      <a:pt x="234" y="160"/>
                    </a:cubicBezTo>
                    <a:cubicBezTo>
                      <a:pt x="149" y="160"/>
                      <a:pt x="149" y="160"/>
                      <a:pt x="149" y="160"/>
                    </a:cubicBezTo>
                    <a:cubicBezTo>
                      <a:pt x="141" y="149"/>
                      <a:pt x="121" y="117"/>
                      <a:pt x="104" y="86"/>
                    </a:cubicBezTo>
                    <a:cubicBezTo>
                      <a:pt x="96" y="71"/>
                      <a:pt x="77" y="66"/>
                      <a:pt x="63" y="74"/>
                    </a:cubicBezTo>
                    <a:cubicBezTo>
                      <a:pt x="48" y="82"/>
                      <a:pt x="42" y="101"/>
                      <a:pt x="50" y="115"/>
                    </a:cubicBezTo>
                    <a:cubicBezTo>
                      <a:pt x="57" y="128"/>
                      <a:pt x="80" y="167"/>
                      <a:pt x="80" y="167"/>
                    </a:cubicBezTo>
                    <a:cubicBezTo>
                      <a:pt x="47" y="167"/>
                      <a:pt x="47" y="167"/>
                      <a:pt x="47" y="167"/>
                    </a:cubicBezTo>
                    <a:cubicBezTo>
                      <a:pt x="40" y="167"/>
                      <a:pt x="38" y="172"/>
                      <a:pt x="38" y="172"/>
                    </a:cubicBez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cubicBezTo>
                      <a:pt x="111" y="8"/>
                      <a:pt x="111" y="8"/>
                      <a:pt x="111" y="8"/>
                    </a:cubicBezTo>
                    <a:cubicBezTo>
                      <a:pt x="118" y="0"/>
                      <a:pt x="118" y="0"/>
                      <a:pt x="118" y="0"/>
                    </a:cubicBezTo>
                    <a:cubicBezTo>
                      <a:pt x="133" y="0"/>
                      <a:pt x="133" y="0"/>
                      <a:pt x="133" y="0"/>
                    </a:cubicBezTo>
                    <a:cubicBezTo>
                      <a:pt x="139" y="5"/>
                      <a:pt x="139" y="5"/>
                      <a:pt x="139" y="5"/>
                    </a:cubicBezTo>
                    <a:cubicBezTo>
                      <a:pt x="234" y="5"/>
                      <a:pt x="234" y="5"/>
                      <a:pt x="234" y="5"/>
                    </a:cubicBezTo>
                    <a:cubicBezTo>
                      <a:pt x="249" y="5"/>
                      <a:pt x="261" y="29"/>
                      <a:pt x="265" y="62"/>
                    </a:cubicBezTo>
                    <a:cubicBezTo>
                      <a:pt x="265" y="64"/>
                      <a:pt x="269" y="64"/>
                      <a:pt x="269" y="64"/>
                    </a:cubicBezTo>
                    <a:cubicBezTo>
                      <a:pt x="269" y="64"/>
                      <a:pt x="283" y="64"/>
                      <a:pt x="286" y="64"/>
                    </a:cubicBezTo>
                    <a:cubicBezTo>
                      <a:pt x="286" y="64"/>
                      <a:pt x="301" y="55"/>
                      <a:pt x="306" y="43"/>
                    </a:cubicBezTo>
                    <a:cubicBezTo>
                      <a:pt x="311" y="62"/>
                      <a:pt x="322" y="79"/>
                      <a:pt x="337" y="90"/>
                    </a:cubicBezTo>
                    <a:cubicBezTo>
                      <a:pt x="337" y="90"/>
                      <a:pt x="317" y="105"/>
                      <a:pt x="311" y="106"/>
                    </a:cubicBezTo>
                    <a:cubicBezTo>
                      <a:pt x="304" y="107"/>
                      <a:pt x="292" y="110"/>
                      <a:pt x="286" y="93"/>
                    </a:cubicBezTo>
                    <a:cubicBezTo>
                      <a:pt x="280" y="93"/>
                      <a:pt x="270" y="93"/>
                      <a:pt x="268" y="93"/>
                    </a:cubicBezTo>
                    <a:cubicBezTo>
                      <a:pt x="268" y="93"/>
                      <a:pt x="266" y="94"/>
                      <a:pt x="266" y="94"/>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1" name="Freeform 121"/>
              <p:cNvSpPr>
                <a:spLocks/>
              </p:cNvSpPr>
              <p:nvPr/>
            </p:nvSpPr>
            <p:spPr bwMode="auto">
              <a:xfrm>
                <a:off x="4919663" y="4044950"/>
                <a:ext cx="63500" cy="36513"/>
              </a:xfrm>
              <a:custGeom>
                <a:avLst/>
                <a:gdLst>
                  <a:gd name="T0" fmla="*/ 14 w 57"/>
                  <a:gd name="T1" fmla="*/ 3 h 34"/>
                  <a:gd name="T2" fmla="*/ 0 w 57"/>
                  <a:gd name="T3" fmla="*/ 18 h 34"/>
                  <a:gd name="T4" fmla="*/ 15 w 57"/>
                  <a:gd name="T5" fmla="*/ 32 h 34"/>
                  <a:gd name="T6" fmla="*/ 32 w 57"/>
                  <a:gd name="T7" fmla="*/ 32 h 34"/>
                  <a:gd name="T8" fmla="*/ 40 w 57"/>
                  <a:gd name="T9" fmla="*/ 34 h 34"/>
                  <a:gd name="T10" fmla="*/ 57 w 57"/>
                  <a:gd name="T11" fmla="*/ 17 h 34"/>
                  <a:gd name="T12" fmla="*/ 40 w 57"/>
                  <a:gd name="T13" fmla="*/ 1 h 34"/>
                  <a:gd name="T14" fmla="*/ 32 w 57"/>
                  <a:gd name="T15" fmla="*/ 3 h 34"/>
                  <a:gd name="T16" fmla="*/ 14 w 57"/>
                  <a:gd name="T17"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4" y="3"/>
                    </a:moveTo>
                    <a:cubicBezTo>
                      <a:pt x="6" y="3"/>
                      <a:pt x="0" y="9"/>
                      <a:pt x="0" y="18"/>
                    </a:cubicBezTo>
                    <a:cubicBezTo>
                      <a:pt x="0" y="26"/>
                      <a:pt x="6" y="32"/>
                      <a:pt x="15" y="32"/>
                    </a:cubicBezTo>
                    <a:cubicBezTo>
                      <a:pt x="32" y="32"/>
                      <a:pt x="32" y="32"/>
                      <a:pt x="32" y="32"/>
                    </a:cubicBezTo>
                    <a:cubicBezTo>
                      <a:pt x="34" y="33"/>
                      <a:pt x="37" y="34"/>
                      <a:pt x="40" y="34"/>
                    </a:cubicBezTo>
                    <a:cubicBezTo>
                      <a:pt x="50" y="34"/>
                      <a:pt x="57" y="27"/>
                      <a:pt x="57" y="17"/>
                    </a:cubicBezTo>
                    <a:cubicBezTo>
                      <a:pt x="57" y="8"/>
                      <a:pt x="49" y="0"/>
                      <a:pt x="40" y="1"/>
                    </a:cubicBezTo>
                    <a:cubicBezTo>
                      <a:pt x="37" y="1"/>
                      <a:pt x="34" y="1"/>
                      <a:pt x="32" y="3"/>
                    </a:cubicBezTo>
                    <a:lnTo>
                      <a:pt x="14" y="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2" name="Freeform 122"/>
              <p:cNvSpPr>
                <a:spLocks/>
              </p:cNvSpPr>
              <p:nvPr/>
            </p:nvSpPr>
            <p:spPr bwMode="auto">
              <a:xfrm>
                <a:off x="4638675" y="3976688"/>
                <a:ext cx="42863" cy="200025"/>
              </a:xfrm>
              <a:custGeom>
                <a:avLst/>
                <a:gdLst>
                  <a:gd name="T0" fmla="*/ 38 w 38"/>
                  <a:gd name="T1" fmla="*/ 172 h 181"/>
                  <a:gd name="T2" fmla="*/ 23 w 38"/>
                  <a:gd name="T3" fmla="*/ 181 h 181"/>
                  <a:gd name="T4" fmla="*/ 23 w 38"/>
                  <a:gd name="T5" fmla="*/ 181 h 181"/>
                  <a:gd name="T6" fmla="*/ 0 w 38"/>
                  <a:gd name="T7" fmla="*/ 90 h 181"/>
                  <a:gd name="T8" fmla="*/ 23 w 38"/>
                  <a:gd name="T9" fmla="*/ 0 h 181"/>
                  <a:gd name="T10" fmla="*/ 38 w 38"/>
                  <a:gd name="T11" fmla="*/ 8 h 181"/>
                  <a:gd name="T12" fmla="*/ 38 w 38"/>
                  <a:gd name="T13" fmla="*/ 172 h 181"/>
                </a:gdLst>
                <a:ahLst/>
                <a:cxnLst>
                  <a:cxn ang="0">
                    <a:pos x="T0" y="T1"/>
                  </a:cxn>
                  <a:cxn ang="0">
                    <a:pos x="T2" y="T3"/>
                  </a:cxn>
                  <a:cxn ang="0">
                    <a:pos x="T4" y="T5"/>
                  </a:cxn>
                  <a:cxn ang="0">
                    <a:pos x="T6" y="T7"/>
                  </a:cxn>
                  <a:cxn ang="0">
                    <a:pos x="T8" y="T9"/>
                  </a:cxn>
                  <a:cxn ang="0">
                    <a:pos x="T10" y="T11"/>
                  </a:cxn>
                  <a:cxn ang="0">
                    <a:pos x="T12" y="T13"/>
                  </a:cxn>
                </a:cxnLst>
                <a:rect l="0" t="0" r="r" b="b"/>
                <a:pathLst>
                  <a:path w="38" h="181">
                    <a:moveTo>
                      <a:pt x="38" y="172"/>
                    </a:moveTo>
                    <a:cubicBezTo>
                      <a:pt x="38" y="172"/>
                      <a:pt x="34" y="181"/>
                      <a:pt x="23" y="181"/>
                    </a:cubicBezTo>
                    <a:cubicBezTo>
                      <a:pt x="23" y="181"/>
                      <a:pt x="23" y="181"/>
                      <a:pt x="23" y="181"/>
                    </a:cubicBezTo>
                    <a:cubicBezTo>
                      <a:pt x="10" y="181"/>
                      <a:pt x="0" y="140"/>
                      <a:pt x="0" y="90"/>
                    </a:cubicBezTo>
                    <a:cubicBezTo>
                      <a:pt x="0" y="40"/>
                      <a:pt x="11" y="0"/>
                      <a:pt x="23" y="0"/>
                    </a:cubicBezTo>
                    <a:cubicBezTo>
                      <a:pt x="34" y="0"/>
                      <a:pt x="38" y="8"/>
                      <a:pt x="38" y="8"/>
                    </a:cubicBezTo>
                    <a:lnTo>
                      <a:pt x="38" y="17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3" name="Freeform 123"/>
              <p:cNvSpPr>
                <a:spLocks/>
              </p:cNvSpPr>
              <p:nvPr/>
            </p:nvSpPr>
            <p:spPr bwMode="auto">
              <a:xfrm>
                <a:off x="4895850" y="3983038"/>
                <a:ext cx="39688" cy="171450"/>
              </a:xfrm>
              <a:custGeom>
                <a:avLst/>
                <a:gdLst>
                  <a:gd name="T0" fmla="*/ 1 w 36"/>
                  <a:gd name="T1" fmla="*/ 155 h 155"/>
                  <a:gd name="T2" fmla="*/ 33 w 36"/>
                  <a:gd name="T3" fmla="*/ 89 h 155"/>
                  <a:gd name="T4" fmla="*/ 35 w 36"/>
                  <a:gd name="T5" fmla="*/ 88 h 155"/>
                  <a:gd name="T6" fmla="*/ 35 w 36"/>
                  <a:gd name="T7" fmla="*/ 88 h 155"/>
                  <a:gd name="T8" fmla="*/ 21 w 36"/>
                  <a:gd name="T9" fmla="*/ 74 h 155"/>
                  <a:gd name="T10" fmla="*/ 35 w 36"/>
                  <a:gd name="T11" fmla="*/ 59 h 155"/>
                  <a:gd name="T12" fmla="*/ 36 w 36"/>
                  <a:gd name="T13" fmla="*/ 59 h 155"/>
                  <a:gd name="T14" fmla="*/ 32 w 36"/>
                  <a:gd name="T15" fmla="*/ 57 h 155"/>
                  <a:gd name="T16" fmla="*/ 0 w 36"/>
                  <a:gd name="T17" fmla="*/ 0 h 155"/>
                  <a:gd name="T18" fmla="*/ 1 w 36"/>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55">
                    <a:moveTo>
                      <a:pt x="1" y="155"/>
                    </a:moveTo>
                    <a:cubicBezTo>
                      <a:pt x="17" y="155"/>
                      <a:pt x="31" y="125"/>
                      <a:pt x="33" y="89"/>
                    </a:cubicBezTo>
                    <a:cubicBezTo>
                      <a:pt x="33" y="89"/>
                      <a:pt x="35" y="88"/>
                      <a:pt x="35" y="88"/>
                    </a:cubicBezTo>
                    <a:cubicBezTo>
                      <a:pt x="35" y="88"/>
                      <a:pt x="35" y="88"/>
                      <a:pt x="35" y="88"/>
                    </a:cubicBezTo>
                    <a:cubicBezTo>
                      <a:pt x="27" y="88"/>
                      <a:pt x="21" y="82"/>
                      <a:pt x="21" y="74"/>
                    </a:cubicBezTo>
                    <a:cubicBezTo>
                      <a:pt x="21" y="65"/>
                      <a:pt x="27" y="59"/>
                      <a:pt x="35" y="59"/>
                    </a:cubicBezTo>
                    <a:cubicBezTo>
                      <a:pt x="36" y="59"/>
                      <a:pt x="36" y="59"/>
                      <a:pt x="36" y="59"/>
                    </a:cubicBezTo>
                    <a:cubicBezTo>
                      <a:pt x="36" y="59"/>
                      <a:pt x="32" y="59"/>
                      <a:pt x="32" y="57"/>
                    </a:cubicBezTo>
                    <a:cubicBezTo>
                      <a:pt x="28" y="24"/>
                      <a:pt x="15" y="0"/>
                      <a:pt x="0" y="0"/>
                    </a:cubicBezTo>
                    <a:lnTo>
                      <a:pt x="1" y="15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4" name="Line 124"/>
              <p:cNvSpPr>
                <a:spLocks noChangeShapeType="1"/>
              </p:cNvSpPr>
              <p:nvPr/>
            </p:nvSpPr>
            <p:spPr bwMode="auto">
              <a:xfrm>
                <a:off x="4835525"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5" name="Line 125"/>
              <p:cNvSpPr>
                <a:spLocks noChangeShapeType="1"/>
              </p:cNvSpPr>
              <p:nvPr/>
            </p:nvSpPr>
            <p:spPr bwMode="auto">
              <a:xfrm>
                <a:off x="4835525"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6" name="Line 126"/>
              <p:cNvSpPr>
                <a:spLocks noChangeShapeType="1"/>
              </p:cNvSpPr>
              <p:nvPr/>
            </p:nvSpPr>
            <p:spPr bwMode="auto">
              <a:xfrm>
                <a:off x="4984750"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7" name="Line 127"/>
              <p:cNvSpPr>
                <a:spLocks noChangeShapeType="1"/>
              </p:cNvSpPr>
              <p:nvPr/>
            </p:nvSpPr>
            <p:spPr bwMode="auto">
              <a:xfrm>
                <a:off x="4984750" y="43259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8" name="Line 128"/>
              <p:cNvSpPr>
                <a:spLocks noChangeShapeType="1"/>
              </p:cNvSpPr>
              <p:nvPr/>
            </p:nvSpPr>
            <p:spPr bwMode="auto">
              <a:xfrm flipH="1">
                <a:off x="4727575" y="4324350"/>
                <a:ext cx="3619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89" name="Freeform 129"/>
              <p:cNvSpPr>
                <a:spLocks/>
              </p:cNvSpPr>
              <p:nvPr/>
            </p:nvSpPr>
            <p:spPr bwMode="auto">
              <a:xfrm>
                <a:off x="4813300" y="3414713"/>
                <a:ext cx="155575" cy="149225"/>
              </a:xfrm>
              <a:custGeom>
                <a:avLst/>
                <a:gdLst>
                  <a:gd name="T0" fmla="*/ 3 w 141"/>
                  <a:gd name="T1" fmla="*/ 119 h 135"/>
                  <a:gd name="T2" fmla="*/ 4 w 141"/>
                  <a:gd name="T3" fmla="*/ 62 h 135"/>
                  <a:gd name="T4" fmla="*/ 4 w 141"/>
                  <a:gd name="T5" fmla="*/ 60 h 135"/>
                  <a:gd name="T6" fmla="*/ 43 w 141"/>
                  <a:gd name="T7" fmla="*/ 10 h 135"/>
                  <a:gd name="T8" fmla="*/ 104 w 141"/>
                  <a:gd name="T9" fmla="*/ 9 h 135"/>
                  <a:gd name="T10" fmla="*/ 126 w 141"/>
                  <a:gd name="T11" fmla="*/ 41 h 135"/>
                  <a:gd name="T12" fmla="*/ 136 w 141"/>
                  <a:gd name="T13" fmla="*/ 86 h 135"/>
                  <a:gd name="T14" fmla="*/ 123 w 141"/>
                  <a:gd name="T15" fmla="*/ 104 h 135"/>
                  <a:gd name="T16" fmla="*/ 97 w 141"/>
                  <a:gd name="T17" fmla="*/ 125 h 135"/>
                  <a:gd name="T18" fmla="*/ 50 w 141"/>
                  <a:gd name="T19" fmla="*/ 127 h 135"/>
                  <a:gd name="T20" fmla="*/ 28 w 141"/>
                  <a:gd name="T21" fmla="*/ 123 h 135"/>
                  <a:gd name="T22" fmla="*/ 3 w 141"/>
                  <a:gd name="T23" fmla="*/ 1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35">
                    <a:moveTo>
                      <a:pt x="3" y="119"/>
                    </a:moveTo>
                    <a:cubicBezTo>
                      <a:pt x="3" y="111"/>
                      <a:pt x="0" y="82"/>
                      <a:pt x="4" y="62"/>
                    </a:cubicBezTo>
                    <a:cubicBezTo>
                      <a:pt x="4" y="61"/>
                      <a:pt x="4" y="60"/>
                      <a:pt x="4" y="60"/>
                    </a:cubicBezTo>
                    <a:cubicBezTo>
                      <a:pt x="9" y="39"/>
                      <a:pt x="23" y="20"/>
                      <a:pt x="43" y="10"/>
                    </a:cubicBezTo>
                    <a:cubicBezTo>
                      <a:pt x="63" y="0"/>
                      <a:pt x="85" y="1"/>
                      <a:pt x="104" y="9"/>
                    </a:cubicBezTo>
                    <a:cubicBezTo>
                      <a:pt x="104" y="9"/>
                      <a:pt x="118" y="16"/>
                      <a:pt x="126" y="41"/>
                    </a:cubicBezTo>
                    <a:cubicBezTo>
                      <a:pt x="135" y="67"/>
                      <a:pt x="141" y="82"/>
                      <a:pt x="136" y="86"/>
                    </a:cubicBezTo>
                    <a:cubicBezTo>
                      <a:pt x="130" y="91"/>
                      <a:pt x="126" y="101"/>
                      <a:pt x="123" y="104"/>
                    </a:cubicBezTo>
                    <a:cubicBezTo>
                      <a:pt x="119" y="107"/>
                      <a:pt x="110" y="120"/>
                      <a:pt x="97" y="125"/>
                    </a:cubicBezTo>
                    <a:cubicBezTo>
                      <a:pt x="84" y="131"/>
                      <a:pt x="65" y="135"/>
                      <a:pt x="50" y="127"/>
                    </a:cubicBezTo>
                    <a:cubicBezTo>
                      <a:pt x="40" y="122"/>
                      <a:pt x="36" y="120"/>
                      <a:pt x="28" y="123"/>
                    </a:cubicBezTo>
                    <a:cubicBezTo>
                      <a:pt x="24" y="125"/>
                      <a:pt x="12" y="124"/>
                      <a:pt x="3" y="11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0" name="Line 130"/>
              <p:cNvSpPr>
                <a:spLocks noChangeShapeType="1"/>
              </p:cNvSpPr>
              <p:nvPr/>
            </p:nvSpPr>
            <p:spPr bwMode="auto">
              <a:xfrm>
                <a:off x="5149850" y="3305175"/>
                <a:ext cx="19050" cy="87313"/>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1" name="Line 131"/>
              <p:cNvSpPr>
                <a:spLocks noChangeShapeType="1"/>
              </p:cNvSpPr>
              <p:nvPr/>
            </p:nvSpPr>
            <p:spPr bwMode="auto">
              <a:xfrm flipV="1">
                <a:off x="5141913" y="3313113"/>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2" name="Line 132"/>
              <p:cNvSpPr>
                <a:spLocks noChangeShapeType="1"/>
              </p:cNvSpPr>
              <p:nvPr/>
            </p:nvSpPr>
            <p:spPr bwMode="auto">
              <a:xfrm flipV="1">
                <a:off x="5143500" y="3324225"/>
                <a:ext cx="11113"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3" name="Line 133"/>
              <p:cNvSpPr>
                <a:spLocks noChangeShapeType="1"/>
              </p:cNvSpPr>
              <p:nvPr/>
            </p:nvSpPr>
            <p:spPr bwMode="auto">
              <a:xfrm flipV="1">
                <a:off x="5146675" y="3335338"/>
                <a:ext cx="9525" cy="317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4" name="Line 134"/>
              <p:cNvSpPr>
                <a:spLocks noChangeShapeType="1"/>
              </p:cNvSpPr>
              <p:nvPr/>
            </p:nvSpPr>
            <p:spPr bwMode="auto">
              <a:xfrm flipV="1">
                <a:off x="5149850" y="3346450"/>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5" name="Line 135"/>
              <p:cNvSpPr>
                <a:spLocks noChangeShapeType="1"/>
              </p:cNvSpPr>
              <p:nvPr/>
            </p:nvSpPr>
            <p:spPr bwMode="auto">
              <a:xfrm flipV="1">
                <a:off x="5151438" y="3359150"/>
                <a:ext cx="11113"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6" name="Line 136"/>
              <p:cNvSpPr>
                <a:spLocks noChangeShapeType="1"/>
              </p:cNvSpPr>
              <p:nvPr/>
            </p:nvSpPr>
            <p:spPr bwMode="auto">
              <a:xfrm flipV="1">
                <a:off x="5154613" y="3370263"/>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7" name="Line 137"/>
              <p:cNvSpPr>
                <a:spLocks noChangeShapeType="1"/>
              </p:cNvSpPr>
              <p:nvPr/>
            </p:nvSpPr>
            <p:spPr bwMode="auto">
              <a:xfrm flipV="1">
                <a:off x="5157788" y="3381375"/>
                <a:ext cx="9525" cy="15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8" name="Freeform 138"/>
              <p:cNvSpPr>
                <a:spLocks/>
              </p:cNvSpPr>
              <p:nvPr/>
            </p:nvSpPr>
            <p:spPr bwMode="auto">
              <a:xfrm>
                <a:off x="5245100" y="3195637"/>
                <a:ext cx="231775" cy="153988"/>
              </a:xfrm>
              <a:custGeom>
                <a:avLst/>
                <a:gdLst>
                  <a:gd name="T0" fmla="*/ 190 w 210"/>
                  <a:gd name="T1" fmla="*/ 27 h 139"/>
                  <a:gd name="T2" fmla="*/ 185 w 210"/>
                  <a:gd name="T3" fmla="*/ 20 h 139"/>
                  <a:gd name="T4" fmla="*/ 118 w 210"/>
                  <a:gd name="T5" fmla="*/ 12 h 139"/>
                  <a:gd name="T6" fmla="*/ 67 w 210"/>
                  <a:gd name="T7" fmla="*/ 28 h 139"/>
                  <a:gd name="T8" fmla="*/ 17 w 210"/>
                  <a:gd name="T9" fmla="*/ 52 h 139"/>
                  <a:gd name="T10" fmla="*/ 2 w 210"/>
                  <a:gd name="T11" fmla="*/ 88 h 139"/>
                  <a:gd name="T12" fmla="*/ 33 w 210"/>
                  <a:gd name="T13" fmla="*/ 122 h 139"/>
                  <a:gd name="T14" fmla="*/ 71 w 210"/>
                  <a:gd name="T15" fmla="*/ 134 h 139"/>
                  <a:gd name="T16" fmla="*/ 129 w 210"/>
                  <a:gd name="T17" fmla="*/ 120 h 139"/>
                  <a:gd name="T18" fmla="*/ 171 w 210"/>
                  <a:gd name="T19" fmla="*/ 115 h 139"/>
                  <a:gd name="T20" fmla="*/ 198 w 210"/>
                  <a:gd name="T21" fmla="*/ 108 h 139"/>
                  <a:gd name="T22" fmla="*/ 207 w 210"/>
                  <a:gd name="T23" fmla="*/ 98 h 139"/>
                  <a:gd name="T24" fmla="*/ 205 w 210"/>
                  <a:gd name="T25" fmla="*/ 55 h 139"/>
                  <a:gd name="T26" fmla="*/ 190 w 210"/>
                  <a:gd name="T27" fmla="*/ 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39">
                    <a:moveTo>
                      <a:pt x="190" y="27"/>
                    </a:moveTo>
                    <a:cubicBezTo>
                      <a:pt x="188" y="24"/>
                      <a:pt x="187" y="22"/>
                      <a:pt x="185" y="20"/>
                    </a:cubicBezTo>
                    <a:cubicBezTo>
                      <a:pt x="170" y="0"/>
                      <a:pt x="132" y="6"/>
                      <a:pt x="118" y="12"/>
                    </a:cubicBezTo>
                    <a:cubicBezTo>
                      <a:pt x="105" y="18"/>
                      <a:pt x="83" y="23"/>
                      <a:pt x="67" y="28"/>
                    </a:cubicBezTo>
                    <a:cubicBezTo>
                      <a:pt x="67" y="28"/>
                      <a:pt x="37" y="31"/>
                      <a:pt x="17" y="52"/>
                    </a:cubicBezTo>
                    <a:cubicBezTo>
                      <a:pt x="17" y="52"/>
                      <a:pt x="0" y="81"/>
                      <a:pt x="2" y="88"/>
                    </a:cubicBezTo>
                    <a:cubicBezTo>
                      <a:pt x="5" y="96"/>
                      <a:pt x="26" y="117"/>
                      <a:pt x="33" y="122"/>
                    </a:cubicBezTo>
                    <a:cubicBezTo>
                      <a:pt x="39" y="126"/>
                      <a:pt x="51" y="139"/>
                      <a:pt x="71" y="134"/>
                    </a:cubicBezTo>
                    <a:cubicBezTo>
                      <a:pt x="91" y="130"/>
                      <a:pt x="125" y="120"/>
                      <a:pt x="129" y="120"/>
                    </a:cubicBezTo>
                    <a:cubicBezTo>
                      <a:pt x="133" y="120"/>
                      <a:pt x="162" y="119"/>
                      <a:pt x="171" y="115"/>
                    </a:cubicBezTo>
                    <a:cubicBezTo>
                      <a:pt x="178" y="116"/>
                      <a:pt x="188" y="112"/>
                      <a:pt x="198" y="108"/>
                    </a:cubicBezTo>
                    <a:cubicBezTo>
                      <a:pt x="198" y="108"/>
                      <a:pt x="205" y="99"/>
                      <a:pt x="207" y="98"/>
                    </a:cubicBezTo>
                    <a:cubicBezTo>
                      <a:pt x="209" y="87"/>
                      <a:pt x="210" y="70"/>
                      <a:pt x="205" y="55"/>
                    </a:cubicBezTo>
                    <a:cubicBezTo>
                      <a:pt x="200" y="39"/>
                      <a:pt x="190" y="27"/>
                      <a:pt x="190" y="27"/>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99" name="Freeform 139"/>
              <p:cNvSpPr>
                <a:spLocks/>
              </p:cNvSpPr>
              <p:nvPr/>
            </p:nvSpPr>
            <p:spPr bwMode="auto">
              <a:xfrm>
                <a:off x="4805363" y="3397250"/>
                <a:ext cx="123825" cy="74613"/>
              </a:xfrm>
              <a:custGeom>
                <a:avLst/>
                <a:gdLst>
                  <a:gd name="T0" fmla="*/ 0 w 112"/>
                  <a:gd name="T1" fmla="*/ 67 h 67"/>
                  <a:gd name="T2" fmla="*/ 44 w 112"/>
                  <a:gd name="T3" fmla="*/ 11 h 67"/>
                  <a:gd name="T4" fmla="*/ 112 w 112"/>
                  <a:gd name="T5" fmla="*/ 10 h 67"/>
                </a:gdLst>
                <a:ahLst/>
                <a:cxnLst>
                  <a:cxn ang="0">
                    <a:pos x="T0" y="T1"/>
                  </a:cxn>
                  <a:cxn ang="0">
                    <a:pos x="T2" y="T3"/>
                  </a:cxn>
                  <a:cxn ang="0">
                    <a:pos x="T4" y="T5"/>
                  </a:cxn>
                </a:cxnLst>
                <a:rect l="0" t="0" r="r" b="b"/>
                <a:pathLst>
                  <a:path w="112" h="67">
                    <a:moveTo>
                      <a:pt x="0" y="67"/>
                    </a:moveTo>
                    <a:cubicBezTo>
                      <a:pt x="5" y="44"/>
                      <a:pt x="20" y="23"/>
                      <a:pt x="44" y="11"/>
                    </a:cubicBezTo>
                    <a:cubicBezTo>
                      <a:pt x="66" y="0"/>
                      <a:pt x="91" y="1"/>
                      <a:pt x="112" y="1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0" name="Freeform 140"/>
              <p:cNvSpPr>
                <a:spLocks/>
              </p:cNvSpPr>
              <p:nvPr/>
            </p:nvSpPr>
            <p:spPr bwMode="auto">
              <a:xfrm>
                <a:off x="4800600" y="3397250"/>
                <a:ext cx="155575" cy="138113"/>
              </a:xfrm>
              <a:custGeom>
                <a:avLst/>
                <a:gdLst>
                  <a:gd name="T0" fmla="*/ 2 w 140"/>
                  <a:gd name="T1" fmla="*/ 124 h 124"/>
                  <a:gd name="T2" fmla="*/ 3 w 140"/>
                  <a:gd name="T3" fmla="*/ 70 h 124"/>
                  <a:gd name="T4" fmla="*/ 4 w 140"/>
                  <a:gd name="T5" fmla="*/ 67 h 124"/>
                  <a:gd name="T6" fmla="*/ 48 w 140"/>
                  <a:gd name="T7" fmla="*/ 11 h 124"/>
                  <a:gd name="T8" fmla="*/ 116 w 140"/>
                  <a:gd name="T9" fmla="*/ 11 h 124"/>
                  <a:gd name="T10" fmla="*/ 140 w 140"/>
                  <a:gd name="T11" fmla="*/ 43 h 124"/>
                </a:gdLst>
                <a:ahLst/>
                <a:cxnLst>
                  <a:cxn ang="0">
                    <a:pos x="T0" y="T1"/>
                  </a:cxn>
                  <a:cxn ang="0">
                    <a:pos x="T2" y="T3"/>
                  </a:cxn>
                  <a:cxn ang="0">
                    <a:pos x="T4" y="T5"/>
                  </a:cxn>
                  <a:cxn ang="0">
                    <a:pos x="T6" y="T7"/>
                  </a:cxn>
                  <a:cxn ang="0">
                    <a:pos x="T8" y="T9"/>
                  </a:cxn>
                  <a:cxn ang="0">
                    <a:pos x="T10" y="T11"/>
                  </a:cxn>
                </a:cxnLst>
                <a:rect l="0" t="0" r="r" b="b"/>
                <a:pathLst>
                  <a:path w="140" h="124">
                    <a:moveTo>
                      <a:pt x="2" y="124"/>
                    </a:moveTo>
                    <a:cubicBezTo>
                      <a:pt x="1" y="110"/>
                      <a:pt x="0" y="87"/>
                      <a:pt x="3" y="70"/>
                    </a:cubicBezTo>
                    <a:cubicBezTo>
                      <a:pt x="4" y="69"/>
                      <a:pt x="4" y="67"/>
                      <a:pt x="4" y="67"/>
                    </a:cubicBezTo>
                    <a:cubicBezTo>
                      <a:pt x="9" y="44"/>
                      <a:pt x="24" y="23"/>
                      <a:pt x="48" y="11"/>
                    </a:cubicBezTo>
                    <a:cubicBezTo>
                      <a:pt x="70" y="0"/>
                      <a:pt x="95" y="1"/>
                      <a:pt x="116" y="11"/>
                    </a:cubicBezTo>
                    <a:cubicBezTo>
                      <a:pt x="116" y="11"/>
                      <a:pt x="130" y="17"/>
                      <a:pt x="140" y="4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1" name="Line 141"/>
              <p:cNvSpPr>
                <a:spLocks noChangeShapeType="1"/>
              </p:cNvSpPr>
              <p:nvPr/>
            </p:nvSpPr>
            <p:spPr bwMode="auto">
              <a:xfrm>
                <a:off x="4751388" y="3367088"/>
                <a:ext cx="41275" cy="1524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2" name="Freeform 142"/>
              <p:cNvSpPr>
                <a:spLocks/>
              </p:cNvSpPr>
              <p:nvPr/>
            </p:nvSpPr>
            <p:spPr bwMode="auto">
              <a:xfrm>
                <a:off x="4721225" y="3386138"/>
                <a:ext cx="38100" cy="103188"/>
              </a:xfrm>
              <a:custGeom>
                <a:avLst/>
                <a:gdLst>
                  <a:gd name="T0" fmla="*/ 35 w 35"/>
                  <a:gd name="T1" fmla="*/ 91 h 93"/>
                  <a:gd name="T2" fmla="*/ 6 w 35"/>
                  <a:gd name="T3" fmla="*/ 50 h 93"/>
                  <a:gd name="T4" fmla="*/ 12 w 35"/>
                  <a:gd name="T5" fmla="*/ 0 h 93"/>
                  <a:gd name="T6" fmla="*/ 35 w 35"/>
                  <a:gd name="T7" fmla="*/ 91 h 93"/>
                </a:gdLst>
                <a:ahLst/>
                <a:cxnLst>
                  <a:cxn ang="0">
                    <a:pos x="T0" y="T1"/>
                  </a:cxn>
                  <a:cxn ang="0">
                    <a:pos x="T2" y="T3"/>
                  </a:cxn>
                  <a:cxn ang="0">
                    <a:pos x="T4" y="T5"/>
                  </a:cxn>
                  <a:cxn ang="0">
                    <a:pos x="T6" y="T7"/>
                  </a:cxn>
                </a:cxnLst>
                <a:rect l="0" t="0" r="r" b="b"/>
                <a:pathLst>
                  <a:path w="35" h="93">
                    <a:moveTo>
                      <a:pt x="35" y="91"/>
                    </a:moveTo>
                    <a:cubicBezTo>
                      <a:pt x="26" y="93"/>
                      <a:pt x="12" y="75"/>
                      <a:pt x="6" y="50"/>
                    </a:cubicBezTo>
                    <a:cubicBezTo>
                      <a:pt x="0" y="25"/>
                      <a:pt x="3" y="2"/>
                      <a:pt x="12" y="0"/>
                    </a:cubicBezTo>
                    <a:lnTo>
                      <a:pt x="35" y="9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3" name="Line 143"/>
              <p:cNvSpPr>
                <a:spLocks noChangeShapeType="1"/>
              </p:cNvSpPr>
              <p:nvPr/>
            </p:nvSpPr>
            <p:spPr bwMode="auto">
              <a:xfrm>
                <a:off x="4965700" y="3333750"/>
                <a:ext cx="25400" cy="1095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4" name="Oval 144"/>
              <p:cNvSpPr>
                <a:spLocks noChangeArrowheads="1"/>
              </p:cNvSpPr>
              <p:nvPr/>
            </p:nvSpPr>
            <p:spPr bwMode="auto">
              <a:xfrm>
                <a:off x="4884738" y="3481388"/>
                <a:ext cx="19050" cy="20638"/>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5" name="Oval 145"/>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6" name="Oval 146"/>
              <p:cNvSpPr>
                <a:spLocks noChangeArrowheads="1"/>
              </p:cNvSpPr>
              <p:nvPr/>
            </p:nvSpPr>
            <p:spPr bwMode="auto">
              <a:xfrm>
                <a:off x="4884738" y="3481388"/>
                <a:ext cx="19050" cy="20638"/>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7" name="Freeform 147"/>
              <p:cNvSpPr>
                <a:spLocks/>
              </p:cNvSpPr>
              <p:nvPr/>
            </p:nvSpPr>
            <p:spPr bwMode="auto">
              <a:xfrm>
                <a:off x="4986338" y="3924300"/>
                <a:ext cx="169863" cy="157163"/>
              </a:xfrm>
              <a:custGeom>
                <a:avLst/>
                <a:gdLst>
                  <a:gd name="T0" fmla="*/ 0 w 153"/>
                  <a:gd name="T1" fmla="*/ 69 h 143"/>
                  <a:gd name="T2" fmla="*/ 74 w 153"/>
                  <a:gd name="T3" fmla="*/ 143 h 143"/>
                  <a:gd name="T4" fmla="*/ 148 w 153"/>
                  <a:gd name="T5" fmla="*/ 69 h 143"/>
                  <a:gd name="T6" fmla="*/ 151 w 153"/>
                  <a:gd name="T7" fmla="*/ 19 h 143"/>
                  <a:gd name="T8" fmla="*/ 128 w 153"/>
                  <a:gd name="T9" fmla="*/ 1 h 143"/>
                  <a:gd name="T10" fmla="*/ 27 w 153"/>
                  <a:gd name="T11" fmla="*/ 8 h 143"/>
                  <a:gd name="T12" fmla="*/ 6 w 153"/>
                  <a:gd name="T13" fmla="*/ 26 h 143"/>
                  <a:gd name="T14" fmla="*/ 0 w 153"/>
                  <a:gd name="T15" fmla="*/ 6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43">
                    <a:moveTo>
                      <a:pt x="0" y="69"/>
                    </a:moveTo>
                    <a:cubicBezTo>
                      <a:pt x="0" y="110"/>
                      <a:pt x="33" y="143"/>
                      <a:pt x="74" y="143"/>
                    </a:cubicBezTo>
                    <a:cubicBezTo>
                      <a:pt x="115" y="143"/>
                      <a:pt x="148" y="110"/>
                      <a:pt x="148" y="69"/>
                    </a:cubicBezTo>
                    <a:cubicBezTo>
                      <a:pt x="148" y="69"/>
                      <a:pt x="152" y="29"/>
                      <a:pt x="151" y="19"/>
                    </a:cubicBezTo>
                    <a:cubicBezTo>
                      <a:pt x="150" y="9"/>
                      <a:pt x="153" y="0"/>
                      <a:pt x="128" y="1"/>
                    </a:cubicBezTo>
                    <a:cubicBezTo>
                      <a:pt x="103" y="2"/>
                      <a:pt x="36" y="8"/>
                      <a:pt x="27" y="8"/>
                    </a:cubicBezTo>
                    <a:cubicBezTo>
                      <a:pt x="18" y="8"/>
                      <a:pt x="10" y="11"/>
                      <a:pt x="6" y="26"/>
                    </a:cubicBezTo>
                    <a:cubicBezTo>
                      <a:pt x="3" y="40"/>
                      <a:pt x="0" y="69"/>
                      <a:pt x="0" y="69"/>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8" name="Freeform 148"/>
              <p:cNvSpPr>
                <a:spLocks/>
              </p:cNvSpPr>
              <p:nvPr/>
            </p:nvSpPr>
            <p:spPr bwMode="auto">
              <a:xfrm>
                <a:off x="4811713" y="4202113"/>
                <a:ext cx="247650" cy="44450"/>
              </a:xfrm>
              <a:custGeom>
                <a:avLst/>
                <a:gdLst>
                  <a:gd name="T0" fmla="*/ 225 w 225"/>
                  <a:gd name="T1" fmla="*/ 0 h 39"/>
                  <a:gd name="T2" fmla="*/ 204 w 225"/>
                  <a:gd name="T3" fmla="*/ 23 h 39"/>
                  <a:gd name="T4" fmla="*/ 180 w 225"/>
                  <a:gd name="T5" fmla="*/ 39 h 39"/>
                  <a:gd name="T6" fmla="*/ 0 w 225"/>
                  <a:gd name="T7" fmla="*/ 39 h 39"/>
                </a:gdLst>
                <a:ahLst/>
                <a:cxnLst>
                  <a:cxn ang="0">
                    <a:pos x="T0" y="T1"/>
                  </a:cxn>
                  <a:cxn ang="0">
                    <a:pos x="T2" y="T3"/>
                  </a:cxn>
                  <a:cxn ang="0">
                    <a:pos x="T4" y="T5"/>
                  </a:cxn>
                  <a:cxn ang="0">
                    <a:pos x="T6" y="T7"/>
                  </a:cxn>
                </a:cxnLst>
                <a:rect l="0" t="0" r="r" b="b"/>
                <a:pathLst>
                  <a:path w="225" h="39">
                    <a:moveTo>
                      <a:pt x="225" y="0"/>
                    </a:moveTo>
                    <a:cubicBezTo>
                      <a:pt x="225" y="0"/>
                      <a:pt x="215" y="12"/>
                      <a:pt x="204" y="23"/>
                    </a:cubicBezTo>
                    <a:cubicBezTo>
                      <a:pt x="196" y="30"/>
                      <a:pt x="188" y="37"/>
                      <a:pt x="180" y="39"/>
                    </a:cubicBezTo>
                    <a:cubicBezTo>
                      <a:pt x="0" y="39"/>
                      <a:pt x="0" y="39"/>
                      <a:pt x="0" y="3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09" name="Rectangle 149"/>
              <p:cNvSpPr>
                <a:spLocks noChangeArrowheads="1"/>
              </p:cNvSpPr>
              <p:nvPr/>
            </p:nvSpPr>
            <p:spPr bwMode="auto">
              <a:xfrm>
                <a:off x="4821238" y="4246563"/>
                <a:ext cx="180975" cy="42863"/>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0" name="Line 150"/>
              <p:cNvSpPr>
                <a:spLocks noChangeShapeType="1"/>
              </p:cNvSpPr>
              <p:nvPr/>
            </p:nvSpPr>
            <p:spPr bwMode="auto">
              <a:xfrm flipH="1">
                <a:off x="4725988" y="4376738"/>
                <a:ext cx="3778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1" name="Rectangle 151"/>
              <p:cNvSpPr>
                <a:spLocks noChangeArrowheads="1"/>
              </p:cNvSpPr>
              <p:nvPr/>
            </p:nvSpPr>
            <p:spPr bwMode="auto">
              <a:xfrm>
                <a:off x="4762500" y="4392613"/>
                <a:ext cx="42863"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2" name="Rectangle 152"/>
              <p:cNvSpPr>
                <a:spLocks noChangeArrowheads="1"/>
              </p:cNvSpPr>
              <p:nvPr/>
            </p:nvSpPr>
            <p:spPr bwMode="auto">
              <a:xfrm>
                <a:off x="4762500" y="4392613"/>
                <a:ext cx="42863"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3" name="Rectangle 153"/>
              <p:cNvSpPr>
                <a:spLocks noChangeArrowheads="1"/>
              </p:cNvSpPr>
              <p:nvPr/>
            </p:nvSpPr>
            <p:spPr bwMode="auto">
              <a:xfrm>
                <a:off x="5019675" y="4392613"/>
                <a:ext cx="44450" cy="127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14" name="Rectangle 154"/>
              <p:cNvSpPr>
                <a:spLocks noChangeArrowheads="1"/>
              </p:cNvSpPr>
              <p:nvPr/>
            </p:nvSpPr>
            <p:spPr bwMode="auto">
              <a:xfrm>
                <a:off x="5019675" y="4392613"/>
                <a:ext cx="44450" cy="12700"/>
              </a:xfrm>
              <a:prstGeom prst="rect">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5" name="Line 155"/>
              <p:cNvSpPr>
                <a:spLocks noChangeShapeType="1"/>
              </p:cNvSpPr>
              <p:nvPr/>
            </p:nvSpPr>
            <p:spPr bwMode="auto">
              <a:xfrm>
                <a:off x="501491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6" name="Line 156"/>
              <p:cNvSpPr>
                <a:spLocks noChangeShapeType="1"/>
              </p:cNvSpPr>
              <p:nvPr/>
            </p:nvSpPr>
            <p:spPr bwMode="auto">
              <a:xfrm>
                <a:off x="5002213"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7" name="Line 157"/>
              <p:cNvSpPr>
                <a:spLocks noChangeShapeType="1"/>
              </p:cNvSpPr>
              <p:nvPr/>
            </p:nvSpPr>
            <p:spPr bwMode="auto">
              <a:xfrm>
                <a:off x="4805363" y="4376738"/>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8" name="Line 158"/>
              <p:cNvSpPr>
                <a:spLocks noChangeShapeType="1"/>
              </p:cNvSpPr>
              <p:nvPr/>
            </p:nvSpPr>
            <p:spPr bwMode="auto">
              <a:xfrm>
                <a:off x="4819650" y="432435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19" name="Line 159"/>
              <p:cNvSpPr>
                <a:spLocks noChangeShapeType="1"/>
              </p:cNvSpPr>
              <p:nvPr/>
            </p:nvSpPr>
            <p:spPr bwMode="auto">
              <a:xfrm>
                <a:off x="5003800" y="4376738"/>
                <a:ext cx="0" cy="127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0" name="Line 160"/>
              <p:cNvSpPr>
                <a:spLocks noChangeShapeType="1"/>
              </p:cNvSpPr>
              <p:nvPr/>
            </p:nvSpPr>
            <p:spPr bwMode="auto">
              <a:xfrm>
                <a:off x="4822825" y="4376738"/>
                <a:ext cx="0" cy="1428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1" name="Line 161"/>
              <p:cNvSpPr>
                <a:spLocks noChangeShapeType="1"/>
              </p:cNvSpPr>
              <p:nvPr/>
            </p:nvSpPr>
            <p:spPr bwMode="auto">
              <a:xfrm flipH="1">
                <a:off x="4821238" y="4276725"/>
                <a:ext cx="1809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2" name="Freeform 162"/>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23" name="Freeform 163"/>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4" name="Freeform 164"/>
              <p:cNvSpPr>
                <a:spLocks/>
              </p:cNvSpPr>
              <p:nvPr/>
            </p:nvSpPr>
            <p:spPr bwMode="auto">
              <a:xfrm>
                <a:off x="4710113" y="3460750"/>
                <a:ext cx="101600" cy="100013"/>
              </a:xfrm>
              <a:custGeom>
                <a:avLst/>
                <a:gdLst>
                  <a:gd name="T0" fmla="*/ 53 w 92"/>
                  <a:gd name="T1" fmla="*/ 91 h 91"/>
                  <a:gd name="T2" fmla="*/ 42 w 92"/>
                  <a:gd name="T3" fmla="*/ 90 h 91"/>
                  <a:gd name="T4" fmla="*/ 6 w 92"/>
                  <a:gd name="T5" fmla="*/ 65 h 91"/>
                  <a:gd name="T6" fmla="*/ 5 w 92"/>
                  <a:gd name="T7" fmla="*/ 27 h 91"/>
                  <a:gd name="T8" fmla="*/ 36 w 92"/>
                  <a:gd name="T9" fmla="*/ 0 h 91"/>
                  <a:gd name="T10" fmla="*/ 40 w 92"/>
                  <a:gd name="T11" fmla="*/ 13 h 91"/>
                  <a:gd name="T12" fmla="*/ 17 w 92"/>
                  <a:gd name="T13" fmla="*/ 32 h 91"/>
                  <a:gd name="T14" fmla="*/ 18 w 92"/>
                  <a:gd name="T15" fmla="*/ 59 h 91"/>
                  <a:gd name="T16" fmla="*/ 45 w 92"/>
                  <a:gd name="T17" fmla="*/ 77 h 91"/>
                  <a:gd name="T18" fmla="*/ 84 w 92"/>
                  <a:gd name="T19" fmla="*/ 67 h 91"/>
                  <a:gd name="T20" fmla="*/ 92 w 92"/>
                  <a:gd name="T21" fmla="*/ 77 h 91"/>
                  <a:gd name="T22" fmla="*/ 53 w 92"/>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1">
                    <a:moveTo>
                      <a:pt x="53" y="91"/>
                    </a:moveTo>
                    <a:cubicBezTo>
                      <a:pt x="50" y="91"/>
                      <a:pt x="46" y="91"/>
                      <a:pt x="42" y="90"/>
                    </a:cubicBezTo>
                    <a:cubicBezTo>
                      <a:pt x="27" y="87"/>
                      <a:pt x="13" y="78"/>
                      <a:pt x="6" y="65"/>
                    </a:cubicBezTo>
                    <a:cubicBezTo>
                      <a:pt x="0" y="55"/>
                      <a:pt x="0" y="39"/>
                      <a:pt x="5" y="27"/>
                    </a:cubicBezTo>
                    <a:cubicBezTo>
                      <a:pt x="11" y="14"/>
                      <a:pt x="22" y="4"/>
                      <a:pt x="36" y="0"/>
                    </a:cubicBezTo>
                    <a:cubicBezTo>
                      <a:pt x="40" y="13"/>
                      <a:pt x="40" y="13"/>
                      <a:pt x="40" y="13"/>
                    </a:cubicBezTo>
                    <a:cubicBezTo>
                      <a:pt x="26" y="16"/>
                      <a:pt x="20" y="25"/>
                      <a:pt x="17" y="32"/>
                    </a:cubicBezTo>
                    <a:cubicBezTo>
                      <a:pt x="14" y="41"/>
                      <a:pt x="14" y="52"/>
                      <a:pt x="18" y="59"/>
                    </a:cubicBezTo>
                    <a:cubicBezTo>
                      <a:pt x="23" y="68"/>
                      <a:pt x="33" y="75"/>
                      <a:pt x="45" y="77"/>
                    </a:cubicBezTo>
                    <a:cubicBezTo>
                      <a:pt x="58" y="80"/>
                      <a:pt x="72" y="76"/>
                      <a:pt x="84" y="67"/>
                    </a:cubicBezTo>
                    <a:cubicBezTo>
                      <a:pt x="92" y="77"/>
                      <a:pt x="92" y="77"/>
                      <a:pt x="92" y="77"/>
                    </a:cubicBezTo>
                    <a:cubicBezTo>
                      <a:pt x="80" y="86"/>
                      <a:pt x="67" y="91"/>
                      <a:pt x="53" y="9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5" name="Line 165"/>
              <p:cNvSpPr>
                <a:spLocks noChangeShapeType="1"/>
              </p:cNvSpPr>
              <p:nvPr/>
            </p:nvSpPr>
            <p:spPr bwMode="auto">
              <a:xfrm>
                <a:off x="4979988" y="3400425"/>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6" name="Line 166"/>
              <p:cNvSpPr>
                <a:spLocks noChangeShapeType="1"/>
              </p:cNvSpPr>
              <p:nvPr/>
            </p:nvSpPr>
            <p:spPr bwMode="auto">
              <a:xfrm>
                <a:off x="5159375" y="3352800"/>
                <a:ext cx="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7" name="Line 167"/>
              <p:cNvSpPr>
                <a:spLocks noChangeShapeType="1"/>
              </p:cNvSpPr>
              <p:nvPr/>
            </p:nvSpPr>
            <p:spPr bwMode="auto">
              <a:xfrm flipH="1">
                <a:off x="4984750" y="3375025"/>
                <a:ext cx="180975" cy="47625"/>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8" name="Freeform 168"/>
              <p:cNvSpPr>
                <a:spLocks/>
              </p:cNvSpPr>
              <p:nvPr/>
            </p:nvSpPr>
            <p:spPr bwMode="auto">
              <a:xfrm>
                <a:off x="4965700" y="3506788"/>
                <a:ext cx="163513" cy="419100"/>
              </a:xfrm>
              <a:custGeom>
                <a:avLst/>
                <a:gdLst>
                  <a:gd name="T0" fmla="*/ 0 w 148"/>
                  <a:gd name="T1" fmla="*/ 0 h 378"/>
                  <a:gd name="T2" fmla="*/ 109 w 148"/>
                  <a:gd name="T3" fmla="*/ 263 h 378"/>
                  <a:gd name="T4" fmla="*/ 148 w 148"/>
                  <a:gd name="T5" fmla="*/ 378 h 378"/>
                </a:gdLst>
                <a:ahLst/>
                <a:cxnLst>
                  <a:cxn ang="0">
                    <a:pos x="T0" y="T1"/>
                  </a:cxn>
                  <a:cxn ang="0">
                    <a:pos x="T2" y="T3"/>
                  </a:cxn>
                  <a:cxn ang="0">
                    <a:pos x="T4" y="T5"/>
                  </a:cxn>
                </a:cxnLst>
                <a:rect l="0" t="0" r="r" b="b"/>
                <a:pathLst>
                  <a:path w="148" h="378">
                    <a:moveTo>
                      <a:pt x="0" y="0"/>
                    </a:moveTo>
                    <a:cubicBezTo>
                      <a:pt x="0" y="0"/>
                      <a:pt x="76" y="179"/>
                      <a:pt x="109" y="263"/>
                    </a:cubicBezTo>
                    <a:cubicBezTo>
                      <a:pt x="141" y="347"/>
                      <a:pt x="147" y="359"/>
                      <a:pt x="148" y="37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29" name="Freeform 169"/>
              <p:cNvSpPr>
                <a:spLocks/>
              </p:cNvSpPr>
              <p:nvPr/>
            </p:nvSpPr>
            <p:spPr bwMode="auto">
              <a:xfrm>
                <a:off x="4837113" y="3551238"/>
                <a:ext cx="184150" cy="381000"/>
              </a:xfrm>
              <a:custGeom>
                <a:avLst/>
                <a:gdLst>
                  <a:gd name="T0" fmla="*/ 166 w 166"/>
                  <a:gd name="T1" fmla="*/ 345 h 345"/>
                  <a:gd name="T2" fmla="*/ 133 w 166"/>
                  <a:gd name="T3" fmla="*/ 242 h 345"/>
                  <a:gd name="T4" fmla="*/ 0 w 166"/>
                  <a:gd name="T5" fmla="*/ 0 h 345"/>
                </a:gdLst>
                <a:ahLst/>
                <a:cxnLst>
                  <a:cxn ang="0">
                    <a:pos x="T0" y="T1"/>
                  </a:cxn>
                  <a:cxn ang="0">
                    <a:pos x="T2" y="T3"/>
                  </a:cxn>
                  <a:cxn ang="0">
                    <a:pos x="T4" y="T5"/>
                  </a:cxn>
                </a:cxnLst>
                <a:rect l="0" t="0" r="r" b="b"/>
                <a:pathLst>
                  <a:path w="166" h="345">
                    <a:moveTo>
                      <a:pt x="166" y="345"/>
                    </a:moveTo>
                    <a:cubicBezTo>
                      <a:pt x="165" y="301"/>
                      <a:pt x="151" y="269"/>
                      <a:pt x="133" y="242"/>
                    </a:cubicBezTo>
                    <a:cubicBezTo>
                      <a:pt x="114" y="215"/>
                      <a:pt x="14" y="79"/>
                      <a:pt x="0"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0" name="Freeform 170"/>
              <p:cNvSpPr>
                <a:spLocks/>
              </p:cNvSpPr>
              <p:nvPr/>
            </p:nvSpPr>
            <p:spPr bwMode="auto">
              <a:xfrm>
                <a:off x="4811713" y="4079875"/>
                <a:ext cx="146050" cy="82550"/>
              </a:xfrm>
              <a:custGeom>
                <a:avLst/>
                <a:gdLst>
                  <a:gd name="T0" fmla="*/ 131 w 133"/>
                  <a:gd name="T1" fmla="*/ 0 h 75"/>
                  <a:gd name="T2" fmla="*/ 116 w 133"/>
                  <a:gd name="T3" fmla="*/ 63 h 75"/>
                  <a:gd name="T4" fmla="*/ 83 w 133"/>
                  <a:gd name="T5" fmla="*/ 75 h 75"/>
                  <a:gd name="T6" fmla="*/ 0 w 133"/>
                  <a:gd name="T7" fmla="*/ 75 h 75"/>
                </a:gdLst>
                <a:ahLst/>
                <a:cxnLst>
                  <a:cxn ang="0">
                    <a:pos x="T0" y="T1"/>
                  </a:cxn>
                  <a:cxn ang="0">
                    <a:pos x="T2" y="T3"/>
                  </a:cxn>
                  <a:cxn ang="0">
                    <a:pos x="T4" y="T5"/>
                  </a:cxn>
                  <a:cxn ang="0">
                    <a:pos x="T6" y="T7"/>
                  </a:cxn>
                </a:cxnLst>
                <a:rect l="0" t="0" r="r" b="b"/>
                <a:pathLst>
                  <a:path w="133" h="75">
                    <a:moveTo>
                      <a:pt x="131" y="0"/>
                    </a:moveTo>
                    <a:cubicBezTo>
                      <a:pt x="131" y="0"/>
                      <a:pt x="133" y="26"/>
                      <a:pt x="116" y="63"/>
                    </a:cubicBezTo>
                    <a:cubicBezTo>
                      <a:pt x="110" y="73"/>
                      <a:pt x="103" y="75"/>
                      <a:pt x="83" y="75"/>
                    </a:cubicBezTo>
                    <a:cubicBezTo>
                      <a:pt x="0" y="75"/>
                      <a:pt x="0" y="75"/>
                      <a:pt x="0" y="75"/>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31" name="Freeform 114"/>
              <p:cNvSpPr>
                <a:spLocks/>
              </p:cNvSpPr>
              <p:nvPr/>
            </p:nvSpPr>
            <p:spPr bwMode="auto">
              <a:xfrm>
                <a:off x="4635892" y="3195637"/>
                <a:ext cx="863600" cy="1196975"/>
              </a:xfrm>
              <a:custGeom>
                <a:avLst/>
                <a:gdLst>
                  <a:gd name="T0" fmla="*/ 321 w 781"/>
                  <a:gd name="T1" fmla="*/ 1077 h 1082"/>
                  <a:gd name="T2" fmla="*/ 179 w 781"/>
                  <a:gd name="T3" fmla="*/ 1077 h 1082"/>
                  <a:gd name="T4" fmla="*/ 80 w 781"/>
                  <a:gd name="T5" fmla="*/ 1082 h 1082"/>
                  <a:gd name="T6" fmla="*/ 80 w 781"/>
                  <a:gd name="T7" fmla="*/ 1020 h 1082"/>
                  <a:gd name="T8" fmla="*/ 78 w 781"/>
                  <a:gd name="T9" fmla="*/ 987 h 1082"/>
                  <a:gd name="T10" fmla="*/ 111 w 781"/>
                  <a:gd name="T11" fmla="*/ 954 h 1082"/>
                  <a:gd name="T12" fmla="*/ 152 w 781"/>
                  <a:gd name="T13" fmla="*/ 938 h 1082"/>
                  <a:gd name="T14" fmla="*/ 156 w 781"/>
                  <a:gd name="T15" fmla="*/ 949 h 1082"/>
                  <a:gd name="T16" fmla="*/ 150 w 781"/>
                  <a:gd name="T17" fmla="*/ 926 h 1082"/>
                  <a:gd name="T18" fmla="*/ 127 w 781"/>
                  <a:gd name="T19" fmla="*/ 915 h 1082"/>
                  <a:gd name="T20" fmla="*/ 105 w 781"/>
                  <a:gd name="T21" fmla="*/ 902 h 1082"/>
                  <a:gd name="T22" fmla="*/ 47 w 781"/>
                  <a:gd name="T23" fmla="*/ 872 h 1082"/>
                  <a:gd name="T24" fmla="*/ 23 w 781"/>
                  <a:gd name="T25" fmla="*/ 887 h 1082"/>
                  <a:gd name="T26" fmla="*/ 0 w 781"/>
                  <a:gd name="T27" fmla="*/ 796 h 1082"/>
                  <a:gd name="T28" fmla="*/ 38 w 781"/>
                  <a:gd name="T29" fmla="*/ 713 h 1082"/>
                  <a:gd name="T30" fmla="*/ 119 w 781"/>
                  <a:gd name="T31" fmla="*/ 706 h 1082"/>
                  <a:gd name="T32" fmla="*/ 140 w 781"/>
                  <a:gd name="T33" fmla="*/ 711 h 1082"/>
                  <a:gd name="T34" fmla="*/ 265 w 781"/>
                  <a:gd name="T35" fmla="*/ 768 h 1082"/>
                  <a:gd name="T36" fmla="*/ 286 w 781"/>
                  <a:gd name="T37" fmla="*/ 770 h 1082"/>
                  <a:gd name="T38" fmla="*/ 247 w 781"/>
                  <a:gd name="T39" fmla="*/ 504 h 1082"/>
                  <a:gd name="T40" fmla="*/ 163 w 781"/>
                  <a:gd name="T41" fmla="*/ 326 h 1082"/>
                  <a:gd name="T42" fmla="*/ 107 w 781"/>
                  <a:gd name="T43" fmla="*/ 283 h 1082"/>
                  <a:gd name="T44" fmla="*/ 108 w 781"/>
                  <a:gd name="T45" fmla="*/ 264 h 1082"/>
                  <a:gd name="T46" fmla="*/ 86 w 781"/>
                  <a:gd name="T47" fmla="*/ 172 h 1082"/>
                  <a:gd name="T48" fmla="*/ 102 w 781"/>
                  <a:gd name="T49" fmla="*/ 155 h 1082"/>
                  <a:gd name="T50" fmla="*/ 128 w 781"/>
                  <a:gd name="T51" fmla="*/ 138 h 1082"/>
                  <a:gd name="T52" fmla="*/ 154 w 781"/>
                  <a:gd name="T53" fmla="*/ 159 h 1082"/>
                  <a:gd name="T54" fmla="*/ 199 w 781"/>
                  <a:gd name="T55" fmla="*/ 158 h 1082"/>
                  <a:gd name="T56" fmla="*/ 231 w 781"/>
                  <a:gd name="T57" fmla="*/ 131 h 1082"/>
                  <a:gd name="T58" fmla="*/ 247 w 781"/>
                  <a:gd name="T59" fmla="*/ 133 h 1082"/>
                  <a:gd name="T60" fmla="*/ 264 w 781"/>
                  <a:gd name="T61" fmla="*/ 114 h 1082"/>
                  <a:gd name="T62" fmla="*/ 292 w 781"/>
                  <a:gd name="T63" fmla="*/ 99 h 1082"/>
                  <a:gd name="T64" fmla="*/ 303 w 781"/>
                  <a:gd name="T65" fmla="*/ 116 h 1082"/>
                  <a:gd name="T66" fmla="*/ 296 w 781"/>
                  <a:gd name="T67" fmla="*/ 124 h 1082"/>
                  <a:gd name="T68" fmla="*/ 304 w 781"/>
                  <a:gd name="T69" fmla="*/ 132 h 1082"/>
                  <a:gd name="T70" fmla="*/ 462 w 781"/>
                  <a:gd name="T71" fmla="*/ 98 h 1082"/>
                  <a:gd name="T72" fmla="*/ 499 w 781"/>
                  <a:gd name="T73" fmla="*/ 75 h 1082"/>
                  <a:gd name="T74" fmla="*/ 615 w 781"/>
                  <a:gd name="T75" fmla="*/ 28 h 1082"/>
                  <a:gd name="T76" fmla="*/ 733 w 781"/>
                  <a:gd name="T77" fmla="*/ 20 h 1082"/>
                  <a:gd name="T78" fmla="*/ 748 w 781"/>
                  <a:gd name="T79" fmla="*/ 16 h 1082"/>
                  <a:gd name="T80" fmla="*/ 774 w 781"/>
                  <a:gd name="T81" fmla="*/ 51 h 1082"/>
                  <a:gd name="T82" fmla="*/ 768 w 781"/>
                  <a:gd name="T83" fmla="*/ 101 h 1082"/>
                  <a:gd name="T84" fmla="*/ 747 w 781"/>
                  <a:gd name="T85" fmla="*/ 107 h 1082"/>
                  <a:gd name="T86" fmla="*/ 657 w 781"/>
                  <a:gd name="T87" fmla="*/ 148 h 1082"/>
                  <a:gd name="T88" fmla="*/ 553 w 781"/>
                  <a:gd name="T89" fmla="*/ 174 h 1082"/>
                  <a:gd name="T90" fmla="*/ 494 w 781"/>
                  <a:gd name="T91" fmla="*/ 181 h 1082"/>
                  <a:gd name="T92" fmla="*/ 459 w 781"/>
                  <a:gd name="T93" fmla="*/ 178 h 1082"/>
                  <a:gd name="T94" fmla="*/ 314 w 781"/>
                  <a:gd name="T95" fmla="*/ 234 h 1082"/>
                  <a:gd name="T96" fmla="*/ 332 w 781"/>
                  <a:gd name="T97" fmla="*/ 309 h 1082"/>
                  <a:gd name="T98" fmla="*/ 476 w 781"/>
                  <a:gd name="T99" fmla="*/ 660 h 1082"/>
                  <a:gd name="T100" fmla="*/ 474 w 781"/>
                  <a:gd name="T101" fmla="*/ 791 h 1082"/>
                  <a:gd name="T102" fmla="*/ 381 w 781"/>
                  <a:gd name="T103" fmla="*/ 910 h 1082"/>
                  <a:gd name="T104" fmla="*/ 377 w 781"/>
                  <a:gd name="T105" fmla="*/ 950 h 1082"/>
                  <a:gd name="T106" fmla="*/ 381 w 781"/>
                  <a:gd name="T107" fmla="*/ 956 h 1082"/>
                  <a:gd name="T108" fmla="*/ 409 w 781"/>
                  <a:gd name="T109" fmla="*/ 1008 h 1082"/>
                  <a:gd name="T110" fmla="*/ 402 w 781"/>
                  <a:gd name="T111" fmla="*/ 1020 h 1082"/>
                  <a:gd name="T112" fmla="*/ 421 w 781"/>
                  <a:gd name="T113" fmla="*/ 1074 h 1082"/>
                  <a:gd name="T114" fmla="*/ 354 w 781"/>
                  <a:gd name="T115"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1082">
                    <a:moveTo>
                      <a:pt x="354" y="1082"/>
                    </a:moveTo>
                    <a:cubicBezTo>
                      <a:pt x="337" y="1082"/>
                      <a:pt x="326" y="1077"/>
                      <a:pt x="321" y="1077"/>
                    </a:cubicBezTo>
                    <a:cubicBezTo>
                      <a:pt x="316" y="1077"/>
                      <a:pt x="275" y="1080"/>
                      <a:pt x="250" y="1080"/>
                    </a:cubicBezTo>
                    <a:cubicBezTo>
                      <a:pt x="225" y="1080"/>
                      <a:pt x="184" y="1077"/>
                      <a:pt x="179" y="1077"/>
                    </a:cubicBezTo>
                    <a:cubicBezTo>
                      <a:pt x="174" y="1077"/>
                      <a:pt x="163" y="1081"/>
                      <a:pt x="147" y="1081"/>
                    </a:cubicBezTo>
                    <a:cubicBezTo>
                      <a:pt x="147" y="1081"/>
                      <a:pt x="88" y="1082"/>
                      <a:pt x="80" y="1082"/>
                    </a:cubicBezTo>
                    <a:cubicBezTo>
                      <a:pt x="72" y="1082"/>
                      <a:pt x="80" y="1062"/>
                      <a:pt x="80" y="1062"/>
                    </a:cubicBezTo>
                    <a:cubicBezTo>
                      <a:pt x="80" y="1020"/>
                      <a:pt x="80" y="1020"/>
                      <a:pt x="80" y="1020"/>
                    </a:cubicBezTo>
                    <a:cubicBezTo>
                      <a:pt x="78" y="1020"/>
                      <a:pt x="78" y="1020"/>
                      <a:pt x="78" y="1020"/>
                    </a:cubicBezTo>
                    <a:cubicBezTo>
                      <a:pt x="78" y="987"/>
                      <a:pt x="78" y="987"/>
                      <a:pt x="78" y="987"/>
                    </a:cubicBezTo>
                    <a:cubicBezTo>
                      <a:pt x="99" y="954"/>
                      <a:pt x="99" y="954"/>
                      <a:pt x="99" y="954"/>
                    </a:cubicBezTo>
                    <a:cubicBezTo>
                      <a:pt x="111" y="954"/>
                      <a:pt x="111" y="954"/>
                      <a:pt x="111" y="954"/>
                    </a:cubicBezTo>
                    <a:cubicBezTo>
                      <a:pt x="111" y="938"/>
                      <a:pt x="111" y="938"/>
                      <a:pt x="111" y="938"/>
                    </a:cubicBezTo>
                    <a:cubicBezTo>
                      <a:pt x="152" y="938"/>
                      <a:pt x="152" y="938"/>
                      <a:pt x="152" y="938"/>
                    </a:cubicBezTo>
                    <a:cubicBezTo>
                      <a:pt x="152" y="949"/>
                      <a:pt x="152" y="949"/>
                      <a:pt x="152" y="949"/>
                    </a:cubicBezTo>
                    <a:cubicBezTo>
                      <a:pt x="156" y="949"/>
                      <a:pt x="156" y="949"/>
                      <a:pt x="156" y="949"/>
                    </a:cubicBezTo>
                    <a:cubicBezTo>
                      <a:pt x="156" y="932"/>
                      <a:pt x="156" y="932"/>
                      <a:pt x="156" y="932"/>
                    </a:cubicBezTo>
                    <a:cubicBezTo>
                      <a:pt x="150" y="926"/>
                      <a:pt x="150" y="926"/>
                      <a:pt x="150" y="926"/>
                    </a:cubicBezTo>
                    <a:cubicBezTo>
                      <a:pt x="127" y="926"/>
                      <a:pt x="127" y="926"/>
                      <a:pt x="127" y="926"/>
                    </a:cubicBezTo>
                    <a:cubicBezTo>
                      <a:pt x="127" y="915"/>
                      <a:pt x="127" y="915"/>
                      <a:pt x="127" y="915"/>
                    </a:cubicBezTo>
                    <a:cubicBezTo>
                      <a:pt x="118" y="915"/>
                      <a:pt x="118" y="915"/>
                      <a:pt x="118" y="915"/>
                    </a:cubicBezTo>
                    <a:cubicBezTo>
                      <a:pt x="118" y="915"/>
                      <a:pt x="111" y="909"/>
                      <a:pt x="105" y="902"/>
                    </a:cubicBezTo>
                    <a:cubicBezTo>
                      <a:pt x="98" y="896"/>
                      <a:pt x="80" y="872"/>
                      <a:pt x="80" y="872"/>
                    </a:cubicBezTo>
                    <a:cubicBezTo>
                      <a:pt x="47" y="872"/>
                      <a:pt x="47" y="872"/>
                      <a:pt x="47" y="872"/>
                    </a:cubicBezTo>
                    <a:cubicBezTo>
                      <a:pt x="40" y="872"/>
                      <a:pt x="38" y="879"/>
                      <a:pt x="38" y="879"/>
                    </a:cubicBezTo>
                    <a:cubicBezTo>
                      <a:pt x="38" y="879"/>
                      <a:pt x="34" y="887"/>
                      <a:pt x="23" y="887"/>
                    </a:cubicBezTo>
                    <a:cubicBezTo>
                      <a:pt x="23" y="887"/>
                      <a:pt x="23" y="887"/>
                      <a:pt x="23" y="887"/>
                    </a:cubicBezTo>
                    <a:cubicBezTo>
                      <a:pt x="11" y="887"/>
                      <a:pt x="0" y="846"/>
                      <a:pt x="0" y="796"/>
                    </a:cubicBezTo>
                    <a:cubicBezTo>
                      <a:pt x="0" y="746"/>
                      <a:pt x="11" y="706"/>
                      <a:pt x="24" y="706"/>
                    </a:cubicBezTo>
                    <a:cubicBezTo>
                      <a:pt x="34" y="706"/>
                      <a:pt x="38" y="713"/>
                      <a:pt x="38" y="713"/>
                    </a:cubicBezTo>
                    <a:cubicBezTo>
                      <a:pt x="111" y="713"/>
                      <a:pt x="111" y="713"/>
                      <a:pt x="111" y="713"/>
                    </a:cubicBezTo>
                    <a:cubicBezTo>
                      <a:pt x="119" y="706"/>
                      <a:pt x="119" y="706"/>
                      <a:pt x="119" y="706"/>
                    </a:cubicBezTo>
                    <a:cubicBezTo>
                      <a:pt x="134" y="706"/>
                      <a:pt x="134" y="706"/>
                      <a:pt x="134" y="706"/>
                    </a:cubicBezTo>
                    <a:cubicBezTo>
                      <a:pt x="140" y="711"/>
                      <a:pt x="140" y="711"/>
                      <a:pt x="140" y="711"/>
                    </a:cubicBezTo>
                    <a:cubicBezTo>
                      <a:pt x="234" y="711"/>
                      <a:pt x="234" y="711"/>
                      <a:pt x="234" y="711"/>
                    </a:cubicBezTo>
                    <a:cubicBezTo>
                      <a:pt x="249" y="711"/>
                      <a:pt x="262" y="735"/>
                      <a:pt x="265" y="768"/>
                    </a:cubicBezTo>
                    <a:cubicBezTo>
                      <a:pt x="266" y="769"/>
                      <a:pt x="269" y="770"/>
                      <a:pt x="269" y="770"/>
                    </a:cubicBezTo>
                    <a:cubicBezTo>
                      <a:pt x="288" y="770"/>
                      <a:pt x="288" y="770"/>
                      <a:pt x="286" y="770"/>
                    </a:cubicBezTo>
                    <a:cubicBezTo>
                      <a:pt x="268" y="668"/>
                      <a:pt x="293" y="660"/>
                      <a:pt x="311" y="637"/>
                    </a:cubicBezTo>
                    <a:cubicBezTo>
                      <a:pt x="304" y="598"/>
                      <a:pt x="266" y="541"/>
                      <a:pt x="247" y="504"/>
                    </a:cubicBezTo>
                    <a:cubicBezTo>
                      <a:pt x="227" y="467"/>
                      <a:pt x="193" y="405"/>
                      <a:pt x="183" y="384"/>
                    </a:cubicBezTo>
                    <a:cubicBezTo>
                      <a:pt x="172" y="363"/>
                      <a:pt x="166" y="338"/>
                      <a:pt x="163" y="326"/>
                    </a:cubicBezTo>
                    <a:cubicBezTo>
                      <a:pt x="160" y="320"/>
                      <a:pt x="145" y="300"/>
                      <a:pt x="140" y="292"/>
                    </a:cubicBezTo>
                    <a:cubicBezTo>
                      <a:pt x="129" y="296"/>
                      <a:pt x="110" y="288"/>
                      <a:pt x="107" y="283"/>
                    </a:cubicBezTo>
                    <a:cubicBezTo>
                      <a:pt x="104" y="278"/>
                      <a:pt x="108" y="264"/>
                      <a:pt x="108" y="264"/>
                    </a:cubicBezTo>
                    <a:cubicBezTo>
                      <a:pt x="108" y="264"/>
                      <a:pt x="108" y="264"/>
                      <a:pt x="108" y="264"/>
                    </a:cubicBezTo>
                    <a:cubicBezTo>
                      <a:pt x="99" y="266"/>
                      <a:pt x="86" y="247"/>
                      <a:pt x="80" y="222"/>
                    </a:cubicBezTo>
                    <a:cubicBezTo>
                      <a:pt x="74" y="196"/>
                      <a:pt x="77" y="174"/>
                      <a:pt x="86" y="172"/>
                    </a:cubicBezTo>
                    <a:cubicBezTo>
                      <a:pt x="85" y="163"/>
                      <a:pt x="93" y="160"/>
                      <a:pt x="93" y="155"/>
                    </a:cubicBezTo>
                    <a:cubicBezTo>
                      <a:pt x="102" y="155"/>
                      <a:pt x="102" y="155"/>
                      <a:pt x="102" y="155"/>
                    </a:cubicBezTo>
                    <a:cubicBezTo>
                      <a:pt x="102" y="145"/>
                      <a:pt x="102" y="145"/>
                      <a:pt x="102" y="145"/>
                    </a:cubicBezTo>
                    <a:cubicBezTo>
                      <a:pt x="102" y="145"/>
                      <a:pt x="120" y="141"/>
                      <a:pt x="128" y="138"/>
                    </a:cubicBezTo>
                    <a:cubicBezTo>
                      <a:pt x="136" y="136"/>
                      <a:pt x="140" y="136"/>
                      <a:pt x="141" y="140"/>
                    </a:cubicBezTo>
                    <a:cubicBezTo>
                      <a:pt x="142" y="143"/>
                      <a:pt x="147" y="152"/>
                      <a:pt x="154" y="159"/>
                    </a:cubicBezTo>
                    <a:cubicBezTo>
                      <a:pt x="158" y="160"/>
                      <a:pt x="163" y="159"/>
                      <a:pt x="171" y="164"/>
                    </a:cubicBezTo>
                    <a:cubicBezTo>
                      <a:pt x="171" y="164"/>
                      <a:pt x="186" y="161"/>
                      <a:pt x="199" y="158"/>
                    </a:cubicBezTo>
                    <a:cubicBezTo>
                      <a:pt x="213" y="155"/>
                      <a:pt x="232" y="150"/>
                      <a:pt x="232" y="150"/>
                    </a:cubicBezTo>
                    <a:cubicBezTo>
                      <a:pt x="231" y="131"/>
                      <a:pt x="231" y="131"/>
                      <a:pt x="231" y="131"/>
                    </a:cubicBezTo>
                    <a:cubicBezTo>
                      <a:pt x="247" y="127"/>
                      <a:pt x="247" y="127"/>
                      <a:pt x="247" y="127"/>
                    </a:cubicBezTo>
                    <a:cubicBezTo>
                      <a:pt x="247" y="133"/>
                      <a:pt x="247" y="133"/>
                      <a:pt x="247" y="133"/>
                    </a:cubicBezTo>
                    <a:cubicBezTo>
                      <a:pt x="247" y="133"/>
                      <a:pt x="250" y="133"/>
                      <a:pt x="255" y="133"/>
                    </a:cubicBezTo>
                    <a:cubicBezTo>
                      <a:pt x="255" y="133"/>
                      <a:pt x="258" y="124"/>
                      <a:pt x="264" y="114"/>
                    </a:cubicBezTo>
                    <a:cubicBezTo>
                      <a:pt x="268" y="105"/>
                      <a:pt x="268" y="105"/>
                      <a:pt x="268" y="105"/>
                    </a:cubicBezTo>
                    <a:cubicBezTo>
                      <a:pt x="292" y="99"/>
                      <a:pt x="292" y="99"/>
                      <a:pt x="292" y="99"/>
                    </a:cubicBezTo>
                    <a:cubicBezTo>
                      <a:pt x="296" y="116"/>
                      <a:pt x="296" y="116"/>
                      <a:pt x="296" y="116"/>
                    </a:cubicBezTo>
                    <a:cubicBezTo>
                      <a:pt x="303" y="116"/>
                      <a:pt x="303" y="116"/>
                      <a:pt x="303" y="116"/>
                    </a:cubicBezTo>
                    <a:cubicBezTo>
                      <a:pt x="303" y="125"/>
                      <a:pt x="303" y="125"/>
                      <a:pt x="303" y="125"/>
                    </a:cubicBezTo>
                    <a:cubicBezTo>
                      <a:pt x="296" y="124"/>
                      <a:pt x="296" y="124"/>
                      <a:pt x="296" y="124"/>
                    </a:cubicBezTo>
                    <a:cubicBezTo>
                      <a:pt x="298" y="128"/>
                      <a:pt x="298" y="128"/>
                      <a:pt x="298" y="128"/>
                    </a:cubicBezTo>
                    <a:cubicBezTo>
                      <a:pt x="298" y="128"/>
                      <a:pt x="302" y="130"/>
                      <a:pt x="304" y="132"/>
                    </a:cubicBezTo>
                    <a:cubicBezTo>
                      <a:pt x="304" y="132"/>
                      <a:pt x="333" y="128"/>
                      <a:pt x="354" y="124"/>
                    </a:cubicBezTo>
                    <a:cubicBezTo>
                      <a:pt x="376" y="120"/>
                      <a:pt x="447" y="101"/>
                      <a:pt x="462" y="98"/>
                    </a:cubicBezTo>
                    <a:cubicBezTo>
                      <a:pt x="460" y="88"/>
                      <a:pt x="465" y="84"/>
                      <a:pt x="465" y="84"/>
                    </a:cubicBezTo>
                    <a:cubicBezTo>
                      <a:pt x="465" y="84"/>
                      <a:pt x="486" y="77"/>
                      <a:pt x="499" y="75"/>
                    </a:cubicBezTo>
                    <a:cubicBezTo>
                      <a:pt x="523" y="61"/>
                      <a:pt x="548" y="57"/>
                      <a:pt x="565" y="51"/>
                    </a:cubicBezTo>
                    <a:cubicBezTo>
                      <a:pt x="585" y="31"/>
                      <a:pt x="615" y="28"/>
                      <a:pt x="615" y="28"/>
                    </a:cubicBezTo>
                    <a:cubicBezTo>
                      <a:pt x="631" y="23"/>
                      <a:pt x="653" y="18"/>
                      <a:pt x="667" y="12"/>
                    </a:cubicBezTo>
                    <a:cubicBezTo>
                      <a:pt x="680" y="5"/>
                      <a:pt x="718" y="0"/>
                      <a:pt x="733" y="20"/>
                    </a:cubicBezTo>
                    <a:cubicBezTo>
                      <a:pt x="735" y="22"/>
                      <a:pt x="737" y="24"/>
                      <a:pt x="738" y="26"/>
                    </a:cubicBezTo>
                    <a:cubicBezTo>
                      <a:pt x="738" y="26"/>
                      <a:pt x="745" y="18"/>
                      <a:pt x="748" y="16"/>
                    </a:cubicBezTo>
                    <a:cubicBezTo>
                      <a:pt x="750" y="14"/>
                      <a:pt x="759" y="16"/>
                      <a:pt x="759" y="16"/>
                    </a:cubicBezTo>
                    <a:cubicBezTo>
                      <a:pt x="765" y="25"/>
                      <a:pt x="771" y="38"/>
                      <a:pt x="774" y="51"/>
                    </a:cubicBezTo>
                    <a:cubicBezTo>
                      <a:pt x="779" y="67"/>
                      <a:pt x="781" y="89"/>
                      <a:pt x="779" y="97"/>
                    </a:cubicBezTo>
                    <a:cubicBezTo>
                      <a:pt x="779" y="97"/>
                      <a:pt x="772" y="102"/>
                      <a:pt x="768" y="101"/>
                    </a:cubicBezTo>
                    <a:cubicBezTo>
                      <a:pt x="764" y="100"/>
                      <a:pt x="757" y="93"/>
                      <a:pt x="753" y="99"/>
                    </a:cubicBezTo>
                    <a:cubicBezTo>
                      <a:pt x="750" y="103"/>
                      <a:pt x="747" y="107"/>
                      <a:pt x="747" y="107"/>
                    </a:cubicBezTo>
                    <a:cubicBezTo>
                      <a:pt x="736" y="112"/>
                      <a:pt x="726" y="116"/>
                      <a:pt x="719" y="115"/>
                    </a:cubicBezTo>
                    <a:cubicBezTo>
                      <a:pt x="716" y="119"/>
                      <a:pt x="708" y="134"/>
                      <a:pt x="657" y="148"/>
                    </a:cubicBezTo>
                    <a:cubicBezTo>
                      <a:pt x="606" y="163"/>
                      <a:pt x="596" y="167"/>
                      <a:pt x="584" y="166"/>
                    </a:cubicBezTo>
                    <a:cubicBezTo>
                      <a:pt x="573" y="169"/>
                      <a:pt x="560" y="172"/>
                      <a:pt x="553" y="174"/>
                    </a:cubicBezTo>
                    <a:cubicBezTo>
                      <a:pt x="546" y="175"/>
                      <a:pt x="539" y="169"/>
                      <a:pt x="534" y="171"/>
                    </a:cubicBezTo>
                    <a:cubicBezTo>
                      <a:pt x="529" y="172"/>
                      <a:pt x="502" y="179"/>
                      <a:pt x="494" y="181"/>
                    </a:cubicBezTo>
                    <a:cubicBezTo>
                      <a:pt x="485" y="183"/>
                      <a:pt x="485" y="181"/>
                      <a:pt x="482" y="181"/>
                    </a:cubicBezTo>
                    <a:cubicBezTo>
                      <a:pt x="480" y="178"/>
                      <a:pt x="481" y="172"/>
                      <a:pt x="459" y="178"/>
                    </a:cubicBezTo>
                    <a:cubicBezTo>
                      <a:pt x="459" y="178"/>
                      <a:pt x="332" y="210"/>
                      <a:pt x="321" y="217"/>
                    </a:cubicBezTo>
                    <a:cubicBezTo>
                      <a:pt x="319" y="220"/>
                      <a:pt x="317" y="228"/>
                      <a:pt x="314" y="234"/>
                    </a:cubicBezTo>
                    <a:cubicBezTo>
                      <a:pt x="317" y="243"/>
                      <a:pt x="336" y="282"/>
                      <a:pt x="336" y="282"/>
                    </a:cubicBezTo>
                    <a:cubicBezTo>
                      <a:pt x="336" y="282"/>
                      <a:pt x="336" y="298"/>
                      <a:pt x="332" y="309"/>
                    </a:cubicBezTo>
                    <a:cubicBezTo>
                      <a:pt x="338" y="321"/>
                      <a:pt x="423" y="502"/>
                      <a:pt x="440" y="537"/>
                    </a:cubicBezTo>
                    <a:cubicBezTo>
                      <a:pt x="458" y="572"/>
                      <a:pt x="469" y="596"/>
                      <a:pt x="476" y="660"/>
                    </a:cubicBezTo>
                    <a:cubicBezTo>
                      <a:pt x="494" y="686"/>
                      <a:pt x="510" y="740"/>
                      <a:pt x="471" y="788"/>
                    </a:cubicBezTo>
                    <a:cubicBezTo>
                      <a:pt x="471" y="789"/>
                      <a:pt x="474" y="791"/>
                      <a:pt x="474" y="791"/>
                    </a:cubicBezTo>
                    <a:cubicBezTo>
                      <a:pt x="474" y="791"/>
                      <a:pt x="423" y="875"/>
                      <a:pt x="416" y="884"/>
                    </a:cubicBezTo>
                    <a:cubicBezTo>
                      <a:pt x="410" y="893"/>
                      <a:pt x="394" y="903"/>
                      <a:pt x="381" y="910"/>
                    </a:cubicBezTo>
                    <a:cubicBezTo>
                      <a:pt x="380" y="917"/>
                      <a:pt x="379" y="950"/>
                      <a:pt x="379" y="950"/>
                    </a:cubicBezTo>
                    <a:cubicBezTo>
                      <a:pt x="377" y="950"/>
                      <a:pt x="377" y="950"/>
                      <a:pt x="377" y="950"/>
                    </a:cubicBezTo>
                    <a:cubicBezTo>
                      <a:pt x="377" y="956"/>
                      <a:pt x="377" y="956"/>
                      <a:pt x="377" y="956"/>
                    </a:cubicBezTo>
                    <a:cubicBezTo>
                      <a:pt x="377" y="956"/>
                      <a:pt x="379" y="956"/>
                      <a:pt x="381" y="956"/>
                    </a:cubicBezTo>
                    <a:cubicBezTo>
                      <a:pt x="383" y="957"/>
                      <a:pt x="389" y="965"/>
                      <a:pt x="392" y="973"/>
                    </a:cubicBezTo>
                    <a:cubicBezTo>
                      <a:pt x="395" y="981"/>
                      <a:pt x="409" y="1008"/>
                      <a:pt x="409" y="1008"/>
                    </a:cubicBezTo>
                    <a:cubicBezTo>
                      <a:pt x="409" y="1020"/>
                      <a:pt x="409" y="1020"/>
                      <a:pt x="409" y="1020"/>
                    </a:cubicBezTo>
                    <a:cubicBezTo>
                      <a:pt x="402" y="1020"/>
                      <a:pt x="402" y="1020"/>
                      <a:pt x="402" y="1020"/>
                    </a:cubicBezTo>
                    <a:cubicBezTo>
                      <a:pt x="417" y="1049"/>
                      <a:pt x="417" y="1049"/>
                      <a:pt x="417" y="1049"/>
                    </a:cubicBezTo>
                    <a:cubicBezTo>
                      <a:pt x="417" y="1049"/>
                      <a:pt x="421" y="1067"/>
                      <a:pt x="421" y="1074"/>
                    </a:cubicBezTo>
                    <a:cubicBezTo>
                      <a:pt x="421" y="1080"/>
                      <a:pt x="411" y="1082"/>
                      <a:pt x="404" y="1082"/>
                    </a:cubicBezTo>
                    <a:lnTo>
                      <a:pt x="354" y="1082"/>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170" name="Gruppieren 3169"/>
          <p:cNvGrpSpPr/>
          <p:nvPr/>
        </p:nvGrpSpPr>
        <p:grpSpPr>
          <a:xfrm>
            <a:off x="5511482" y="3793040"/>
            <a:ext cx="1133475" cy="776287"/>
            <a:chOff x="3421063" y="5424488"/>
            <a:chExt cx="1133475" cy="776287"/>
          </a:xfrm>
        </p:grpSpPr>
        <p:sp>
          <p:nvSpPr>
            <p:cNvPr id="3138" name="AutoShape 1099"/>
            <p:cNvSpPr>
              <a:spLocks noChangeAspect="1" noChangeArrowheads="1" noTextEdit="1"/>
            </p:cNvSpPr>
            <p:nvPr/>
          </p:nvSpPr>
          <p:spPr bwMode="auto">
            <a:xfrm>
              <a:off x="3421063" y="5424488"/>
              <a:ext cx="1133475"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39" name="Rectangle 1101"/>
            <p:cNvSpPr>
              <a:spLocks noChangeArrowheads="1"/>
            </p:cNvSpPr>
            <p:nvPr/>
          </p:nvSpPr>
          <p:spPr bwMode="auto">
            <a:xfrm>
              <a:off x="3676651" y="5430838"/>
              <a:ext cx="696913" cy="512762"/>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0" name="Rectangle 1102"/>
            <p:cNvSpPr>
              <a:spLocks noChangeArrowheads="1"/>
            </p:cNvSpPr>
            <p:nvPr/>
          </p:nvSpPr>
          <p:spPr bwMode="auto">
            <a:xfrm>
              <a:off x="3702051" y="5457825"/>
              <a:ext cx="646113" cy="4572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1" name="Line 1103"/>
            <p:cNvSpPr>
              <a:spLocks noChangeShapeType="1"/>
            </p:cNvSpPr>
            <p:nvPr/>
          </p:nvSpPr>
          <p:spPr bwMode="auto">
            <a:xfrm>
              <a:off x="4208463" y="5745163"/>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2" name="Line 1104"/>
            <p:cNvSpPr>
              <a:spLocks noChangeShapeType="1"/>
            </p:cNvSpPr>
            <p:nvPr/>
          </p:nvSpPr>
          <p:spPr bwMode="auto">
            <a:xfrm>
              <a:off x="4210051" y="577532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3" name="Line 1105"/>
            <p:cNvSpPr>
              <a:spLocks noChangeShapeType="1"/>
            </p:cNvSpPr>
            <p:nvPr/>
          </p:nvSpPr>
          <p:spPr bwMode="auto">
            <a:xfrm>
              <a:off x="4210051" y="5807075"/>
              <a:ext cx="984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4" name="Freeform 1106"/>
            <p:cNvSpPr>
              <a:spLocks/>
            </p:cNvSpPr>
            <p:nvPr/>
          </p:nvSpPr>
          <p:spPr bwMode="auto">
            <a:xfrm>
              <a:off x="3783013" y="5540375"/>
              <a:ext cx="296863" cy="166687"/>
            </a:xfrm>
            <a:custGeom>
              <a:avLst/>
              <a:gdLst>
                <a:gd name="T0" fmla="*/ 0 w 187"/>
                <a:gd name="T1" fmla="*/ 105 h 105"/>
                <a:gd name="T2" fmla="*/ 187 w 187"/>
                <a:gd name="T3" fmla="*/ 105 h 105"/>
                <a:gd name="T4" fmla="*/ 187 w 187"/>
                <a:gd name="T5" fmla="*/ 0 h 105"/>
              </a:gdLst>
              <a:ahLst/>
              <a:cxnLst>
                <a:cxn ang="0">
                  <a:pos x="T0" y="T1"/>
                </a:cxn>
                <a:cxn ang="0">
                  <a:pos x="T2" y="T3"/>
                </a:cxn>
                <a:cxn ang="0">
                  <a:pos x="T4" y="T5"/>
                </a:cxn>
              </a:cxnLst>
              <a:rect l="0" t="0" r="r" b="b"/>
              <a:pathLst>
                <a:path w="187" h="105">
                  <a:moveTo>
                    <a:pt x="0" y="105"/>
                  </a:moveTo>
                  <a:lnTo>
                    <a:pt x="187" y="105"/>
                  </a:lnTo>
                  <a:lnTo>
                    <a:pt x="187"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5" name="Line 1107"/>
            <p:cNvSpPr>
              <a:spLocks noChangeShapeType="1"/>
            </p:cNvSpPr>
            <p:nvPr/>
          </p:nvSpPr>
          <p:spPr bwMode="auto">
            <a:xfrm>
              <a:off x="3956051" y="5543550"/>
              <a:ext cx="0" cy="3286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6" name="Line 1108"/>
            <p:cNvSpPr>
              <a:spLocks noChangeShapeType="1"/>
            </p:cNvSpPr>
            <p:nvPr/>
          </p:nvSpPr>
          <p:spPr bwMode="auto">
            <a:xfrm>
              <a:off x="4079876" y="5618163"/>
              <a:ext cx="13652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7" name="Line 1109"/>
            <p:cNvSpPr>
              <a:spLocks noChangeShapeType="1"/>
            </p:cNvSpPr>
            <p:nvPr/>
          </p:nvSpPr>
          <p:spPr bwMode="auto">
            <a:xfrm>
              <a:off x="3959226" y="5789613"/>
              <a:ext cx="122238"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48" name="Oval 1110"/>
            <p:cNvSpPr>
              <a:spLocks noChangeArrowheads="1"/>
            </p:cNvSpPr>
            <p:nvPr/>
          </p:nvSpPr>
          <p:spPr bwMode="auto">
            <a:xfrm>
              <a:off x="4198938" y="5603875"/>
              <a:ext cx="33338" cy="3016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49" name="Oval 1111"/>
            <p:cNvSpPr>
              <a:spLocks noChangeArrowheads="1"/>
            </p:cNvSpPr>
            <p:nvPr/>
          </p:nvSpPr>
          <p:spPr bwMode="auto">
            <a:xfrm>
              <a:off x="3765551"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0" name="Oval 1112"/>
            <p:cNvSpPr>
              <a:spLocks noChangeArrowheads="1"/>
            </p:cNvSpPr>
            <p:nvPr/>
          </p:nvSpPr>
          <p:spPr bwMode="auto">
            <a:xfrm>
              <a:off x="3938588"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1" name="Oval 1113"/>
            <p:cNvSpPr>
              <a:spLocks noChangeArrowheads="1"/>
            </p:cNvSpPr>
            <p:nvPr/>
          </p:nvSpPr>
          <p:spPr bwMode="auto">
            <a:xfrm>
              <a:off x="3938588" y="58515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2" name="Oval 1114"/>
            <p:cNvSpPr>
              <a:spLocks noChangeArrowheads="1"/>
            </p:cNvSpPr>
            <p:nvPr/>
          </p:nvSpPr>
          <p:spPr bwMode="auto">
            <a:xfrm>
              <a:off x="3938588" y="5526088"/>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3" name="Oval 1115"/>
            <p:cNvSpPr>
              <a:spLocks noChangeArrowheads="1"/>
            </p:cNvSpPr>
            <p:nvPr/>
          </p:nvSpPr>
          <p:spPr bwMode="auto">
            <a:xfrm>
              <a:off x="4062413" y="5689600"/>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4" name="Oval 1116"/>
            <p:cNvSpPr>
              <a:spLocks noChangeArrowheads="1"/>
            </p:cNvSpPr>
            <p:nvPr/>
          </p:nvSpPr>
          <p:spPr bwMode="auto">
            <a:xfrm>
              <a:off x="4062413" y="5522913"/>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5" name="Oval 1117"/>
            <p:cNvSpPr>
              <a:spLocks noChangeArrowheads="1"/>
            </p:cNvSpPr>
            <p:nvPr/>
          </p:nvSpPr>
          <p:spPr bwMode="auto">
            <a:xfrm>
              <a:off x="4062413" y="5775325"/>
              <a:ext cx="33338" cy="33337"/>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6" name="Rectangle 1118"/>
            <p:cNvSpPr>
              <a:spLocks noChangeArrowheads="1"/>
            </p:cNvSpPr>
            <p:nvPr/>
          </p:nvSpPr>
          <p:spPr bwMode="auto">
            <a:xfrm>
              <a:off x="3727451" y="5489575"/>
              <a:ext cx="142875" cy="33337"/>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7" name="Oval 1119"/>
            <p:cNvSpPr>
              <a:spLocks noChangeArrowheads="1"/>
            </p:cNvSpPr>
            <p:nvPr/>
          </p:nvSpPr>
          <p:spPr bwMode="auto">
            <a:xfrm>
              <a:off x="4210051" y="5851525"/>
              <a:ext cx="338138" cy="341312"/>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8" name="Oval 1120"/>
            <p:cNvSpPr>
              <a:spLocks noChangeArrowheads="1"/>
            </p:cNvSpPr>
            <p:nvPr/>
          </p:nvSpPr>
          <p:spPr bwMode="auto">
            <a:xfrm>
              <a:off x="4232276" y="5875338"/>
              <a:ext cx="293688" cy="2936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9" name="Freeform 1121"/>
            <p:cNvSpPr>
              <a:spLocks/>
            </p:cNvSpPr>
            <p:nvPr/>
          </p:nvSpPr>
          <p:spPr bwMode="auto">
            <a:xfrm>
              <a:off x="4379913" y="5884863"/>
              <a:ext cx="0" cy="52387"/>
            </a:xfrm>
            <a:custGeom>
              <a:avLst/>
              <a:gdLst>
                <a:gd name="T0" fmla="*/ 0 h 33"/>
                <a:gd name="T1" fmla="*/ 33 h 33"/>
                <a:gd name="T2" fmla="*/ 0 h 33"/>
              </a:gdLst>
              <a:ahLst/>
              <a:cxnLst>
                <a:cxn ang="0">
                  <a:pos x="0" y="T0"/>
                </a:cxn>
                <a:cxn ang="0">
                  <a:pos x="0" y="T1"/>
                </a:cxn>
                <a:cxn ang="0">
                  <a:pos x="0" y="T2"/>
                </a:cxn>
              </a:cxnLst>
              <a:rect l="0" t="0" r="r" b="b"/>
              <a:pathLst>
                <a:path h="33">
                  <a:moveTo>
                    <a:pt x="0" y="0"/>
                  </a:moveTo>
                  <a:lnTo>
                    <a:pt x="0" y="33"/>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0" name="Line 1122"/>
            <p:cNvSpPr>
              <a:spLocks noChangeShapeType="1"/>
            </p:cNvSpPr>
            <p:nvPr/>
          </p:nvSpPr>
          <p:spPr bwMode="auto">
            <a:xfrm>
              <a:off x="4379913" y="5884863"/>
              <a:ext cx="0" cy="5238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1" name="Freeform 1123"/>
            <p:cNvSpPr>
              <a:spLocks/>
            </p:cNvSpPr>
            <p:nvPr/>
          </p:nvSpPr>
          <p:spPr bwMode="auto">
            <a:xfrm>
              <a:off x="4298951" y="5913438"/>
              <a:ext cx="31750" cy="38100"/>
            </a:xfrm>
            <a:custGeom>
              <a:avLst/>
              <a:gdLst>
                <a:gd name="T0" fmla="*/ 0 w 20"/>
                <a:gd name="T1" fmla="*/ 0 h 24"/>
                <a:gd name="T2" fmla="*/ 20 w 20"/>
                <a:gd name="T3" fmla="*/ 24 h 24"/>
                <a:gd name="T4" fmla="*/ 0 w 20"/>
                <a:gd name="T5" fmla="*/ 0 h 24"/>
              </a:gdLst>
              <a:ahLst/>
              <a:cxnLst>
                <a:cxn ang="0">
                  <a:pos x="T0" y="T1"/>
                </a:cxn>
                <a:cxn ang="0">
                  <a:pos x="T2" y="T3"/>
                </a:cxn>
                <a:cxn ang="0">
                  <a:pos x="T4" y="T5"/>
                </a:cxn>
              </a:cxnLst>
              <a:rect l="0" t="0" r="r" b="b"/>
              <a:pathLst>
                <a:path w="20" h="24">
                  <a:moveTo>
                    <a:pt x="0" y="0"/>
                  </a:moveTo>
                  <a:lnTo>
                    <a:pt x="20" y="24"/>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2" name="Line 1124"/>
            <p:cNvSpPr>
              <a:spLocks noChangeShapeType="1"/>
            </p:cNvSpPr>
            <p:nvPr/>
          </p:nvSpPr>
          <p:spPr bwMode="auto">
            <a:xfrm>
              <a:off x="4298951" y="5913438"/>
              <a:ext cx="31750" cy="3810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3" name="Freeform 1125"/>
            <p:cNvSpPr>
              <a:spLocks/>
            </p:cNvSpPr>
            <p:nvPr/>
          </p:nvSpPr>
          <p:spPr bwMode="auto">
            <a:xfrm>
              <a:off x="4251326" y="5975350"/>
              <a:ext cx="69850" cy="33337"/>
            </a:xfrm>
            <a:custGeom>
              <a:avLst/>
              <a:gdLst>
                <a:gd name="T0" fmla="*/ 0 w 44"/>
                <a:gd name="T1" fmla="*/ 0 h 21"/>
                <a:gd name="T2" fmla="*/ 44 w 44"/>
                <a:gd name="T3" fmla="*/ 21 h 21"/>
                <a:gd name="T4" fmla="*/ 0 w 44"/>
                <a:gd name="T5" fmla="*/ 0 h 21"/>
              </a:gdLst>
              <a:ahLst/>
              <a:cxnLst>
                <a:cxn ang="0">
                  <a:pos x="T0" y="T1"/>
                </a:cxn>
                <a:cxn ang="0">
                  <a:pos x="T2" y="T3"/>
                </a:cxn>
                <a:cxn ang="0">
                  <a:pos x="T4" y="T5"/>
                </a:cxn>
              </a:cxnLst>
              <a:rect l="0" t="0" r="r" b="b"/>
              <a:pathLst>
                <a:path w="44" h="21">
                  <a:moveTo>
                    <a:pt x="0" y="0"/>
                  </a:moveTo>
                  <a:lnTo>
                    <a:pt x="44" y="21"/>
                  </a:lnTo>
                  <a:lnTo>
                    <a:pt x="0"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4" name="Line 1126"/>
            <p:cNvSpPr>
              <a:spLocks noChangeShapeType="1"/>
            </p:cNvSpPr>
            <p:nvPr/>
          </p:nvSpPr>
          <p:spPr bwMode="auto">
            <a:xfrm>
              <a:off x="4251326"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5" name="Freeform 1127"/>
            <p:cNvSpPr>
              <a:spLocks/>
            </p:cNvSpPr>
            <p:nvPr/>
          </p:nvSpPr>
          <p:spPr bwMode="auto">
            <a:xfrm>
              <a:off x="4437063" y="5975350"/>
              <a:ext cx="69850" cy="33337"/>
            </a:xfrm>
            <a:custGeom>
              <a:avLst/>
              <a:gdLst>
                <a:gd name="T0" fmla="*/ 44 w 44"/>
                <a:gd name="T1" fmla="*/ 0 h 21"/>
                <a:gd name="T2" fmla="*/ 0 w 44"/>
                <a:gd name="T3" fmla="*/ 21 h 21"/>
                <a:gd name="T4" fmla="*/ 44 w 44"/>
                <a:gd name="T5" fmla="*/ 0 h 21"/>
              </a:gdLst>
              <a:ahLst/>
              <a:cxnLst>
                <a:cxn ang="0">
                  <a:pos x="T0" y="T1"/>
                </a:cxn>
                <a:cxn ang="0">
                  <a:pos x="T2" y="T3"/>
                </a:cxn>
                <a:cxn ang="0">
                  <a:pos x="T4" y="T5"/>
                </a:cxn>
              </a:cxnLst>
              <a:rect l="0" t="0" r="r" b="b"/>
              <a:pathLst>
                <a:path w="44" h="21">
                  <a:moveTo>
                    <a:pt x="44" y="0"/>
                  </a:moveTo>
                  <a:lnTo>
                    <a:pt x="0" y="21"/>
                  </a:lnTo>
                  <a:lnTo>
                    <a:pt x="44"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6" name="Line 1128"/>
            <p:cNvSpPr>
              <a:spLocks noChangeShapeType="1"/>
            </p:cNvSpPr>
            <p:nvPr/>
          </p:nvSpPr>
          <p:spPr bwMode="auto">
            <a:xfrm flipH="1">
              <a:off x="4437063" y="5975350"/>
              <a:ext cx="69850" cy="33337"/>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7" name="Freeform 1129"/>
            <p:cNvSpPr>
              <a:spLocks/>
            </p:cNvSpPr>
            <p:nvPr/>
          </p:nvSpPr>
          <p:spPr bwMode="auto">
            <a:xfrm>
              <a:off x="4425951" y="5915025"/>
              <a:ext cx="34925" cy="36512"/>
            </a:xfrm>
            <a:custGeom>
              <a:avLst/>
              <a:gdLst>
                <a:gd name="T0" fmla="*/ 22 w 22"/>
                <a:gd name="T1" fmla="*/ 0 h 23"/>
                <a:gd name="T2" fmla="*/ 0 w 22"/>
                <a:gd name="T3" fmla="*/ 23 h 23"/>
                <a:gd name="T4" fmla="*/ 22 w 22"/>
                <a:gd name="T5" fmla="*/ 0 h 23"/>
              </a:gdLst>
              <a:ahLst/>
              <a:cxnLst>
                <a:cxn ang="0">
                  <a:pos x="T0" y="T1"/>
                </a:cxn>
                <a:cxn ang="0">
                  <a:pos x="T2" y="T3"/>
                </a:cxn>
                <a:cxn ang="0">
                  <a:pos x="T4" y="T5"/>
                </a:cxn>
              </a:cxnLst>
              <a:rect l="0" t="0" r="r" b="b"/>
              <a:pathLst>
                <a:path w="22" h="23">
                  <a:moveTo>
                    <a:pt x="22" y="0"/>
                  </a:moveTo>
                  <a:lnTo>
                    <a:pt x="0" y="23"/>
                  </a:lnTo>
                  <a:lnTo>
                    <a:pt x="22" y="0"/>
                  </a:lnTo>
                  <a:close/>
                </a:path>
              </a:pathLst>
            </a:custGeom>
            <a:solidFill>
              <a:srgbClr val="EEC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8" name="Line 1130"/>
            <p:cNvSpPr>
              <a:spLocks noChangeShapeType="1"/>
            </p:cNvSpPr>
            <p:nvPr/>
          </p:nvSpPr>
          <p:spPr bwMode="auto">
            <a:xfrm flipH="1">
              <a:off x="4425951" y="5915025"/>
              <a:ext cx="34925" cy="36512"/>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9" name="Line 1131"/>
            <p:cNvSpPr>
              <a:spLocks noChangeShapeType="1"/>
            </p:cNvSpPr>
            <p:nvPr/>
          </p:nvSpPr>
          <p:spPr bwMode="auto">
            <a:xfrm flipH="1">
              <a:off x="4379913" y="5916613"/>
              <a:ext cx="14288" cy="150812"/>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0" name="Oval 1132"/>
            <p:cNvSpPr>
              <a:spLocks noChangeArrowheads="1"/>
            </p:cNvSpPr>
            <p:nvPr/>
          </p:nvSpPr>
          <p:spPr bwMode="auto">
            <a:xfrm>
              <a:off x="4325938" y="6057900"/>
              <a:ext cx="104775" cy="103187"/>
            </a:xfrm>
            <a:prstGeom prst="ellipse">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1" name="Freeform 1133"/>
            <p:cNvSpPr>
              <a:spLocks/>
            </p:cNvSpPr>
            <p:nvPr/>
          </p:nvSpPr>
          <p:spPr bwMode="auto">
            <a:xfrm>
              <a:off x="3656013" y="5907088"/>
              <a:ext cx="55563" cy="58737"/>
            </a:xfrm>
            <a:custGeom>
              <a:avLst/>
              <a:gdLst>
                <a:gd name="T0" fmla="*/ 28 w 34"/>
                <a:gd name="T1" fmla="*/ 28 h 35"/>
                <a:gd name="T2" fmla="*/ 28 w 34"/>
                <a:gd name="T3" fmla="*/ 6 h 35"/>
                <a:gd name="T4" fmla="*/ 6 w 34"/>
                <a:gd name="T5" fmla="*/ 6 h 35"/>
                <a:gd name="T6" fmla="*/ 6 w 34"/>
                <a:gd name="T7" fmla="*/ 28 h 35"/>
                <a:gd name="T8" fmla="*/ 28 w 34"/>
                <a:gd name="T9" fmla="*/ 28 h 35"/>
              </a:gdLst>
              <a:ahLst/>
              <a:cxnLst>
                <a:cxn ang="0">
                  <a:pos x="T0" y="T1"/>
                </a:cxn>
                <a:cxn ang="0">
                  <a:pos x="T2" y="T3"/>
                </a:cxn>
                <a:cxn ang="0">
                  <a:pos x="T4" y="T5"/>
                </a:cxn>
                <a:cxn ang="0">
                  <a:pos x="T6" y="T7"/>
                </a:cxn>
                <a:cxn ang="0">
                  <a:pos x="T8" y="T9"/>
                </a:cxn>
              </a:cxnLst>
              <a:rect l="0" t="0" r="r" b="b"/>
              <a:pathLst>
                <a:path w="34" h="35">
                  <a:moveTo>
                    <a:pt x="28" y="28"/>
                  </a:moveTo>
                  <a:cubicBezTo>
                    <a:pt x="34" y="22"/>
                    <a:pt x="34" y="12"/>
                    <a:pt x="28" y="6"/>
                  </a:cubicBezTo>
                  <a:cubicBezTo>
                    <a:pt x="22" y="0"/>
                    <a:pt x="12" y="0"/>
                    <a:pt x="6" y="6"/>
                  </a:cubicBezTo>
                  <a:cubicBezTo>
                    <a:pt x="0" y="12"/>
                    <a:pt x="0" y="22"/>
                    <a:pt x="6" y="28"/>
                  </a:cubicBezTo>
                  <a:cubicBezTo>
                    <a:pt x="12" y="35"/>
                    <a:pt x="22" y="35"/>
                    <a:pt x="28" y="28"/>
                  </a:cubicBez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092" name="Freeform 1134"/>
            <p:cNvSpPr>
              <a:spLocks/>
            </p:cNvSpPr>
            <p:nvPr/>
          </p:nvSpPr>
          <p:spPr bwMode="auto">
            <a:xfrm>
              <a:off x="3576638" y="5929313"/>
              <a:ext cx="103188" cy="104775"/>
            </a:xfrm>
            <a:custGeom>
              <a:avLst/>
              <a:gdLst>
                <a:gd name="T0" fmla="*/ 3 w 62"/>
                <a:gd name="T1" fmla="*/ 0 h 63"/>
                <a:gd name="T2" fmla="*/ 17 w 62"/>
                <a:gd name="T3" fmla="*/ 46 h 63"/>
                <a:gd name="T4" fmla="*/ 62 w 62"/>
                <a:gd name="T5" fmla="*/ 60 h 63"/>
              </a:gdLst>
              <a:ahLst/>
              <a:cxnLst>
                <a:cxn ang="0">
                  <a:pos x="T0" y="T1"/>
                </a:cxn>
                <a:cxn ang="0">
                  <a:pos x="T2" y="T3"/>
                </a:cxn>
                <a:cxn ang="0">
                  <a:pos x="T4" y="T5"/>
                </a:cxn>
              </a:cxnLst>
              <a:rect l="0" t="0" r="r" b="b"/>
              <a:pathLst>
                <a:path w="62" h="63">
                  <a:moveTo>
                    <a:pt x="3" y="0"/>
                  </a:moveTo>
                  <a:cubicBezTo>
                    <a:pt x="0" y="16"/>
                    <a:pt x="4" y="34"/>
                    <a:pt x="17" y="46"/>
                  </a:cubicBezTo>
                  <a:cubicBezTo>
                    <a:pt x="29" y="58"/>
                    <a:pt x="46" y="63"/>
                    <a:pt x="62" y="6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93" name="Freeform 1135"/>
            <p:cNvSpPr>
              <a:spLocks/>
            </p:cNvSpPr>
            <p:nvPr/>
          </p:nvSpPr>
          <p:spPr bwMode="auto">
            <a:xfrm>
              <a:off x="3527426" y="5943600"/>
              <a:ext cx="138113" cy="138112"/>
            </a:xfrm>
            <a:custGeom>
              <a:avLst/>
              <a:gdLst>
                <a:gd name="T0" fmla="*/ 83 w 83"/>
                <a:gd name="T1" fmla="*/ 82 h 83"/>
                <a:gd name="T2" fmla="*/ 24 w 83"/>
                <a:gd name="T3" fmla="*/ 58 h 83"/>
                <a:gd name="T4" fmla="*/ 1 w 83"/>
                <a:gd name="T5" fmla="*/ 0 h 83"/>
              </a:gdLst>
              <a:ahLst/>
              <a:cxnLst>
                <a:cxn ang="0">
                  <a:pos x="T0" y="T1"/>
                </a:cxn>
                <a:cxn ang="0">
                  <a:pos x="T2" y="T3"/>
                </a:cxn>
                <a:cxn ang="0">
                  <a:pos x="T4" y="T5"/>
                </a:cxn>
              </a:cxnLst>
              <a:rect l="0" t="0" r="r" b="b"/>
              <a:pathLst>
                <a:path w="83" h="83">
                  <a:moveTo>
                    <a:pt x="83" y="82"/>
                  </a:moveTo>
                  <a:cubicBezTo>
                    <a:pt x="61" y="83"/>
                    <a:pt x="40" y="75"/>
                    <a:pt x="24" y="58"/>
                  </a:cubicBezTo>
                  <a:cubicBezTo>
                    <a:pt x="8" y="42"/>
                    <a:pt x="0" y="21"/>
                    <a:pt x="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8" name="Freeform 1136"/>
            <p:cNvSpPr>
              <a:spLocks/>
            </p:cNvSpPr>
            <p:nvPr/>
          </p:nvSpPr>
          <p:spPr bwMode="auto">
            <a:xfrm>
              <a:off x="3479801" y="5954713"/>
              <a:ext cx="171450" cy="176212"/>
            </a:xfrm>
            <a:custGeom>
              <a:avLst/>
              <a:gdLst>
                <a:gd name="T0" fmla="*/ 103 w 103"/>
                <a:gd name="T1" fmla="*/ 105 h 105"/>
                <a:gd name="T2" fmla="*/ 32 w 103"/>
                <a:gd name="T3" fmla="*/ 73 h 105"/>
                <a:gd name="T4" fmla="*/ 0 w 103"/>
                <a:gd name="T5" fmla="*/ 0 h 105"/>
              </a:gdLst>
              <a:ahLst/>
              <a:cxnLst>
                <a:cxn ang="0">
                  <a:pos x="T0" y="T1"/>
                </a:cxn>
                <a:cxn ang="0">
                  <a:pos x="T2" y="T3"/>
                </a:cxn>
                <a:cxn ang="0">
                  <a:pos x="T4" y="T5"/>
                </a:cxn>
              </a:cxnLst>
              <a:rect l="0" t="0" r="r" b="b"/>
              <a:pathLst>
                <a:path w="103" h="105">
                  <a:moveTo>
                    <a:pt x="103" y="105"/>
                  </a:moveTo>
                  <a:cubicBezTo>
                    <a:pt x="77" y="104"/>
                    <a:pt x="52" y="93"/>
                    <a:pt x="32" y="73"/>
                  </a:cubicBezTo>
                  <a:cubicBezTo>
                    <a:pt x="12" y="53"/>
                    <a:pt x="1" y="27"/>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69" name="Freeform 1137"/>
            <p:cNvSpPr>
              <a:spLocks/>
            </p:cNvSpPr>
            <p:nvPr/>
          </p:nvSpPr>
          <p:spPr bwMode="auto">
            <a:xfrm>
              <a:off x="3425826" y="5969000"/>
              <a:ext cx="211138" cy="212725"/>
            </a:xfrm>
            <a:custGeom>
              <a:avLst/>
              <a:gdLst>
                <a:gd name="T0" fmla="*/ 127 w 127"/>
                <a:gd name="T1" fmla="*/ 128 h 128"/>
                <a:gd name="T2" fmla="*/ 39 w 127"/>
                <a:gd name="T3" fmla="*/ 88 h 128"/>
                <a:gd name="T4" fmla="*/ 0 w 127"/>
                <a:gd name="T5" fmla="*/ 0 h 128"/>
              </a:gdLst>
              <a:ahLst/>
              <a:cxnLst>
                <a:cxn ang="0">
                  <a:pos x="T0" y="T1"/>
                </a:cxn>
                <a:cxn ang="0">
                  <a:pos x="T2" y="T3"/>
                </a:cxn>
                <a:cxn ang="0">
                  <a:pos x="T4" y="T5"/>
                </a:cxn>
              </a:cxnLst>
              <a:rect l="0" t="0" r="r" b="b"/>
              <a:pathLst>
                <a:path w="127" h="128">
                  <a:moveTo>
                    <a:pt x="127" y="128"/>
                  </a:moveTo>
                  <a:cubicBezTo>
                    <a:pt x="95" y="126"/>
                    <a:pt x="64" y="113"/>
                    <a:pt x="39" y="88"/>
                  </a:cubicBezTo>
                  <a:cubicBezTo>
                    <a:pt x="15" y="63"/>
                    <a:pt x="2" y="32"/>
                    <a:pt x="0"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182" name="Gruppieren 3181"/>
          <p:cNvGrpSpPr/>
          <p:nvPr/>
        </p:nvGrpSpPr>
        <p:grpSpPr>
          <a:xfrm>
            <a:off x="5969000" y="2044700"/>
            <a:ext cx="1381125" cy="842963"/>
            <a:chOff x="5800725" y="2044700"/>
            <a:chExt cx="1381125" cy="842963"/>
          </a:xfrm>
        </p:grpSpPr>
        <p:sp>
          <p:nvSpPr>
            <p:cNvPr id="3173" name="AutoShape 1139"/>
            <p:cNvSpPr>
              <a:spLocks noChangeAspect="1" noChangeArrowheads="1" noTextEdit="1"/>
            </p:cNvSpPr>
            <p:nvPr/>
          </p:nvSpPr>
          <p:spPr bwMode="auto">
            <a:xfrm>
              <a:off x="5800725" y="2044700"/>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74" name="Freeform 1141"/>
            <p:cNvSpPr>
              <a:spLocks/>
            </p:cNvSpPr>
            <p:nvPr/>
          </p:nvSpPr>
          <p:spPr bwMode="auto">
            <a:xfrm>
              <a:off x="5805488" y="2049463"/>
              <a:ext cx="1112838" cy="560388"/>
            </a:xfrm>
            <a:custGeom>
              <a:avLst/>
              <a:gdLst>
                <a:gd name="T0" fmla="*/ 736 w 810"/>
                <a:gd name="T1" fmla="*/ 239 h 407"/>
                <a:gd name="T2" fmla="*/ 745 w 810"/>
                <a:gd name="T3" fmla="*/ 194 h 407"/>
                <a:gd name="T4" fmla="*/ 627 w 810"/>
                <a:gd name="T5" fmla="*/ 77 h 407"/>
                <a:gd name="T6" fmla="*/ 586 w 810"/>
                <a:gd name="T7" fmla="*/ 84 h 407"/>
                <a:gd name="T8" fmla="*/ 445 w 810"/>
                <a:gd name="T9" fmla="*/ 0 h 407"/>
                <a:gd name="T10" fmla="*/ 307 w 810"/>
                <a:gd name="T11" fmla="*/ 79 h 407"/>
                <a:gd name="T12" fmla="*/ 256 w 810"/>
                <a:gd name="T13" fmla="*/ 69 h 407"/>
                <a:gd name="T14" fmla="*/ 123 w 810"/>
                <a:gd name="T15" fmla="*/ 189 h 407"/>
                <a:gd name="T16" fmla="*/ 109 w 810"/>
                <a:gd name="T17" fmla="*/ 188 h 407"/>
                <a:gd name="T18" fmla="*/ 0 w 810"/>
                <a:gd name="T19" fmla="*/ 298 h 407"/>
                <a:gd name="T20" fmla="*/ 109 w 810"/>
                <a:gd name="T21" fmla="*/ 407 h 407"/>
                <a:gd name="T22" fmla="*/ 109 w 810"/>
                <a:gd name="T23" fmla="*/ 407 h 407"/>
                <a:gd name="T24" fmla="*/ 109 w 810"/>
                <a:gd name="T25" fmla="*/ 407 h 407"/>
                <a:gd name="T26" fmla="*/ 726 w 810"/>
                <a:gd name="T27" fmla="*/ 407 h 407"/>
                <a:gd name="T28" fmla="*/ 810 w 810"/>
                <a:gd name="T29" fmla="*/ 322 h 407"/>
                <a:gd name="T30" fmla="*/ 736 w 810"/>
                <a:gd name="T31" fmla="*/ 239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0" h="407">
                  <a:moveTo>
                    <a:pt x="736" y="239"/>
                  </a:moveTo>
                  <a:cubicBezTo>
                    <a:pt x="742" y="225"/>
                    <a:pt x="745" y="210"/>
                    <a:pt x="745" y="194"/>
                  </a:cubicBezTo>
                  <a:cubicBezTo>
                    <a:pt x="745" y="129"/>
                    <a:pt x="692" y="77"/>
                    <a:pt x="627" y="77"/>
                  </a:cubicBezTo>
                  <a:cubicBezTo>
                    <a:pt x="613" y="77"/>
                    <a:pt x="599" y="80"/>
                    <a:pt x="586" y="84"/>
                  </a:cubicBezTo>
                  <a:cubicBezTo>
                    <a:pt x="559" y="34"/>
                    <a:pt x="506" y="0"/>
                    <a:pt x="445" y="0"/>
                  </a:cubicBezTo>
                  <a:cubicBezTo>
                    <a:pt x="386" y="0"/>
                    <a:pt x="335" y="32"/>
                    <a:pt x="307" y="79"/>
                  </a:cubicBezTo>
                  <a:cubicBezTo>
                    <a:pt x="291" y="73"/>
                    <a:pt x="274" y="69"/>
                    <a:pt x="256" y="69"/>
                  </a:cubicBezTo>
                  <a:cubicBezTo>
                    <a:pt x="187" y="69"/>
                    <a:pt x="130" y="122"/>
                    <a:pt x="123" y="189"/>
                  </a:cubicBezTo>
                  <a:cubicBezTo>
                    <a:pt x="118" y="188"/>
                    <a:pt x="114" y="188"/>
                    <a:pt x="109" y="188"/>
                  </a:cubicBezTo>
                  <a:cubicBezTo>
                    <a:pt x="49" y="188"/>
                    <a:pt x="0" y="237"/>
                    <a:pt x="0" y="298"/>
                  </a:cubicBezTo>
                  <a:cubicBezTo>
                    <a:pt x="0" y="358"/>
                    <a:pt x="49" y="407"/>
                    <a:pt x="109" y="407"/>
                  </a:cubicBezTo>
                  <a:cubicBezTo>
                    <a:pt x="109" y="407"/>
                    <a:pt x="109" y="407"/>
                    <a:pt x="109" y="407"/>
                  </a:cubicBezTo>
                  <a:cubicBezTo>
                    <a:pt x="109" y="407"/>
                    <a:pt x="109" y="407"/>
                    <a:pt x="109" y="407"/>
                  </a:cubicBezTo>
                  <a:cubicBezTo>
                    <a:pt x="726" y="407"/>
                    <a:pt x="726" y="407"/>
                    <a:pt x="726" y="407"/>
                  </a:cubicBezTo>
                  <a:cubicBezTo>
                    <a:pt x="772" y="407"/>
                    <a:pt x="810" y="369"/>
                    <a:pt x="810" y="322"/>
                  </a:cubicBezTo>
                  <a:cubicBezTo>
                    <a:pt x="810" y="279"/>
                    <a:pt x="778" y="244"/>
                    <a:pt x="736" y="239"/>
                  </a:cubicBez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5" name="Freeform 1142"/>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76" name="Freeform 1143"/>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7" name="Freeform 1144"/>
            <p:cNvSpPr>
              <a:spLocks/>
            </p:cNvSpPr>
            <p:nvPr/>
          </p:nvSpPr>
          <p:spPr bwMode="auto">
            <a:xfrm>
              <a:off x="6791325" y="2474913"/>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8" name="Freeform 1145"/>
            <p:cNvSpPr>
              <a:spLocks/>
            </p:cNvSpPr>
            <p:nvPr/>
          </p:nvSpPr>
          <p:spPr bwMode="auto">
            <a:xfrm>
              <a:off x="6826250" y="2536825"/>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79" name="Freeform 1146"/>
            <p:cNvSpPr>
              <a:spLocks/>
            </p:cNvSpPr>
            <p:nvPr/>
          </p:nvSpPr>
          <p:spPr bwMode="auto">
            <a:xfrm>
              <a:off x="6842125" y="2557463"/>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0" name="Freeform 1147"/>
            <p:cNvSpPr>
              <a:spLocks/>
            </p:cNvSpPr>
            <p:nvPr/>
          </p:nvSpPr>
          <p:spPr bwMode="auto">
            <a:xfrm>
              <a:off x="6859588" y="2578100"/>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1" name="Freeform 1148"/>
            <p:cNvSpPr>
              <a:spLocks/>
            </p:cNvSpPr>
            <p:nvPr/>
          </p:nvSpPr>
          <p:spPr bwMode="auto">
            <a:xfrm>
              <a:off x="6872288" y="2598738"/>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23" name="Gruppieren 3222"/>
          <p:cNvGrpSpPr/>
          <p:nvPr/>
        </p:nvGrpSpPr>
        <p:grpSpPr>
          <a:xfrm>
            <a:off x="3151188" y="4989513"/>
            <a:ext cx="1231900" cy="1219200"/>
            <a:chOff x="3151188" y="4989513"/>
            <a:chExt cx="1231900" cy="1219200"/>
          </a:xfrm>
        </p:grpSpPr>
        <p:sp>
          <p:nvSpPr>
            <p:cNvPr id="3186" name="Freeform 1152"/>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7" name="Freeform 1153"/>
            <p:cNvSpPr>
              <a:spLocks/>
            </p:cNvSpPr>
            <p:nvPr/>
          </p:nvSpPr>
          <p:spPr bwMode="auto">
            <a:xfrm>
              <a:off x="3441700" y="5516563"/>
              <a:ext cx="882650" cy="627063"/>
            </a:xfrm>
            <a:custGeom>
              <a:avLst/>
              <a:gdLst>
                <a:gd name="T0" fmla="*/ 0 w 556"/>
                <a:gd name="T1" fmla="*/ 395 h 395"/>
                <a:gd name="T2" fmla="*/ 556 w 556"/>
                <a:gd name="T3" fmla="*/ 395 h 395"/>
                <a:gd name="T4" fmla="*/ 556 w 556"/>
                <a:gd name="T5" fmla="*/ 8 h 395"/>
                <a:gd name="T6" fmla="*/ 547 w 556"/>
                <a:gd name="T7" fmla="*/ 0 h 395"/>
                <a:gd name="T8" fmla="*/ 8 w 556"/>
                <a:gd name="T9" fmla="*/ 0 h 395"/>
                <a:gd name="T10" fmla="*/ 0 w 556"/>
                <a:gd name="T11" fmla="*/ 8 h 395"/>
                <a:gd name="T12" fmla="*/ 0 w 556"/>
                <a:gd name="T13" fmla="*/ 395 h 395"/>
              </a:gdLst>
              <a:ahLst/>
              <a:cxnLst>
                <a:cxn ang="0">
                  <a:pos x="T0" y="T1"/>
                </a:cxn>
                <a:cxn ang="0">
                  <a:pos x="T2" y="T3"/>
                </a:cxn>
                <a:cxn ang="0">
                  <a:pos x="T4" y="T5"/>
                </a:cxn>
                <a:cxn ang="0">
                  <a:pos x="T6" y="T7"/>
                </a:cxn>
                <a:cxn ang="0">
                  <a:pos x="T8" y="T9"/>
                </a:cxn>
                <a:cxn ang="0">
                  <a:pos x="T10" y="T11"/>
                </a:cxn>
                <a:cxn ang="0">
                  <a:pos x="T12" y="T13"/>
                </a:cxn>
              </a:cxnLst>
              <a:rect l="0" t="0" r="r" b="b"/>
              <a:pathLst>
                <a:path w="556" h="395">
                  <a:moveTo>
                    <a:pt x="0" y="395"/>
                  </a:moveTo>
                  <a:lnTo>
                    <a:pt x="556" y="395"/>
                  </a:lnTo>
                  <a:lnTo>
                    <a:pt x="556" y="8"/>
                  </a:lnTo>
                  <a:lnTo>
                    <a:pt x="547" y="0"/>
                  </a:lnTo>
                  <a:lnTo>
                    <a:pt x="8" y="0"/>
                  </a:lnTo>
                  <a:lnTo>
                    <a:pt x="0" y="8"/>
                  </a:lnTo>
                  <a:lnTo>
                    <a:pt x="0" y="395"/>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88" name="Freeform 1154"/>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89" name="Freeform 1155"/>
            <p:cNvSpPr>
              <a:spLocks/>
            </p:cNvSpPr>
            <p:nvPr/>
          </p:nvSpPr>
          <p:spPr bwMode="auto">
            <a:xfrm>
              <a:off x="3382963" y="6134100"/>
              <a:ext cx="1000125" cy="74613"/>
            </a:xfrm>
            <a:custGeom>
              <a:avLst/>
              <a:gdLst>
                <a:gd name="T0" fmla="*/ 0 w 630"/>
                <a:gd name="T1" fmla="*/ 37 h 47"/>
                <a:gd name="T2" fmla="*/ 9 w 630"/>
                <a:gd name="T3" fmla="*/ 47 h 47"/>
                <a:gd name="T4" fmla="*/ 621 w 630"/>
                <a:gd name="T5" fmla="*/ 47 h 47"/>
                <a:gd name="T6" fmla="*/ 630 w 630"/>
                <a:gd name="T7" fmla="*/ 37 h 47"/>
                <a:gd name="T8" fmla="*/ 630 w 630"/>
                <a:gd name="T9" fmla="*/ 0 h 47"/>
                <a:gd name="T10" fmla="*/ 0 w 630"/>
                <a:gd name="T11" fmla="*/ 0 h 47"/>
                <a:gd name="T12" fmla="*/ 0 w 630"/>
                <a:gd name="T13" fmla="*/ 37 h 47"/>
              </a:gdLst>
              <a:ahLst/>
              <a:cxnLst>
                <a:cxn ang="0">
                  <a:pos x="T0" y="T1"/>
                </a:cxn>
                <a:cxn ang="0">
                  <a:pos x="T2" y="T3"/>
                </a:cxn>
                <a:cxn ang="0">
                  <a:pos x="T4" y="T5"/>
                </a:cxn>
                <a:cxn ang="0">
                  <a:pos x="T6" y="T7"/>
                </a:cxn>
                <a:cxn ang="0">
                  <a:pos x="T8" y="T9"/>
                </a:cxn>
                <a:cxn ang="0">
                  <a:pos x="T10" y="T11"/>
                </a:cxn>
                <a:cxn ang="0">
                  <a:pos x="T12" y="T13"/>
                </a:cxn>
              </a:cxnLst>
              <a:rect l="0" t="0" r="r" b="b"/>
              <a:pathLst>
                <a:path w="630" h="47">
                  <a:moveTo>
                    <a:pt x="0" y="37"/>
                  </a:moveTo>
                  <a:lnTo>
                    <a:pt x="9" y="47"/>
                  </a:lnTo>
                  <a:lnTo>
                    <a:pt x="621" y="47"/>
                  </a:lnTo>
                  <a:lnTo>
                    <a:pt x="630" y="37"/>
                  </a:lnTo>
                  <a:lnTo>
                    <a:pt x="630" y="0"/>
                  </a:lnTo>
                  <a:lnTo>
                    <a:pt x="0" y="0"/>
                  </a:lnTo>
                  <a:lnTo>
                    <a:pt x="0"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0" name="Rectangle 1156"/>
            <p:cNvSpPr>
              <a:spLocks noChangeArrowheads="1"/>
            </p:cNvSpPr>
            <p:nvPr/>
          </p:nvSpPr>
          <p:spPr bwMode="auto">
            <a:xfrm>
              <a:off x="3490913" y="5565775"/>
              <a:ext cx="782637" cy="50800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1" name="Rectangle 1157"/>
            <p:cNvSpPr>
              <a:spLocks noChangeArrowheads="1"/>
            </p:cNvSpPr>
            <p:nvPr/>
          </p:nvSpPr>
          <p:spPr bwMode="auto">
            <a:xfrm>
              <a:off x="3819525" y="6153150"/>
              <a:ext cx="125412"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2" name="Freeform 1158"/>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3" name="Freeform 1159"/>
            <p:cNvSpPr>
              <a:spLocks/>
            </p:cNvSpPr>
            <p:nvPr/>
          </p:nvSpPr>
          <p:spPr bwMode="auto">
            <a:xfrm>
              <a:off x="3363913" y="5208588"/>
              <a:ext cx="500062" cy="655638"/>
            </a:xfrm>
            <a:custGeom>
              <a:avLst/>
              <a:gdLst>
                <a:gd name="T0" fmla="*/ 439 w 470"/>
                <a:gd name="T1" fmla="*/ 0 h 615"/>
                <a:gd name="T2" fmla="*/ 470 w 470"/>
                <a:gd name="T3" fmla="*/ 31 h 615"/>
                <a:gd name="T4" fmla="*/ 470 w 470"/>
                <a:gd name="T5" fmla="*/ 584 h 615"/>
                <a:gd name="T6" fmla="*/ 439 w 470"/>
                <a:gd name="T7" fmla="*/ 615 h 615"/>
                <a:gd name="T8" fmla="*/ 31 w 470"/>
                <a:gd name="T9" fmla="*/ 615 h 615"/>
                <a:gd name="T10" fmla="*/ 0 w 470"/>
                <a:gd name="T11" fmla="*/ 584 h 615"/>
                <a:gd name="T12" fmla="*/ 0 w 470"/>
                <a:gd name="T13" fmla="*/ 31 h 615"/>
                <a:gd name="T14" fmla="*/ 31 w 470"/>
                <a:gd name="T15" fmla="*/ 0 h 615"/>
                <a:gd name="T16" fmla="*/ 439 w 470"/>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0" h="615">
                  <a:moveTo>
                    <a:pt x="439" y="0"/>
                  </a:moveTo>
                  <a:cubicBezTo>
                    <a:pt x="456" y="0"/>
                    <a:pt x="470" y="14"/>
                    <a:pt x="470" y="31"/>
                  </a:cubicBezTo>
                  <a:cubicBezTo>
                    <a:pt x="470" y="584"/>
                    <a:pt x="470" y="584"/>
                    <a:pt x="470" y="584"/>
                  </a:cubicBezTo>
                  <a:cubicBezTo>
                    <a:pt x="470" y="602"/>
                    <a:pt x="456" y="615"/>
                    <a:pt x="439" y="615"/>
                  </a:cubicBezTo>
                  <a:cubicBezTo>
                    <a:pt x="31" y="615"/>
                    <a:pt x="31" y="615"/>
                    <a:pt x="31" y="615"/>
                  </a:cubicBezTo>
                  <a:cubicBezTo>
                    <a:pt x="14" y="615"/>
                    <a:pt x="0" y="602"/>
                    <a:pt x="0" y="584"/>
                  </a:cubicBezTo>
                  <a:cubicBezTo>
                    <a:pt x="0" y="31"/>
                    <a:pt x="0" y="31"/>
                    <a:pt x="0" y="31"/>
                  </a:cubicBezTo>
                  <a:cubicBezTo>
                    <a:pt x="0" y="14"/>
                    <a:pt x="14" y="0"/>
                    <a:pt x="31" y="0"/>
                  </a:cubicBezTo>
                  <a:cubicBezTo>
                    <a:pt x="439" y="0"/>
                    <a:pt x="439" y="0"/>
                    <a:pt x="439" y="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4" name="Freeform 1160"/>
            <p:cNvSpPr>
              <a:spLocks/>
            </p:cNvSpPr>
            <p:nvPr/>
          </p:nvSpPr>
          <p:spPr bwMode="auto">
            <a:xfrm>
              <a:off x="3413125" y="5268913"/>
              <a:ext cx="400050" cy="534988"/>
            </a:xfrm>
            <a:custGeom>
              <a:avLst/>
              <a:gdLst>
                <a:gd name="T0" fmla="*/ 375 w 376"/>
                <a:gd name="T1" fmla="*/ 0 h 501"/>
                <a:gd name="T2" fmla="*/ 376 w 376"/>
                <a:gd name="T3" fmla="*/ 1 h 501"/>
                <a:gd name="T4" fmla="*/ 376 w 376"/>
                <a:gd name="T5" fmla="*/ 500 h 501"/>
                <a:gd name="T6" fmla="*/ 375 w 376"/>
                <a:gd name="T7" fmla="*/ 501 h 501"/>
                <a:gd name="T8" fmla="*/ 1 w 376"/>
                <a:gd name="T9" fmla="*/ 501 h 501"/>
                <a:gd name="T10" fmla="*/ 0 w 376"/>
                <a:gd name="T11" fmla="*/ 500 h 501"/>
                <a:gd name="T12" fmla="*/ 0 w 376"/>
                <a:gd name="T13" fmla="*/ 1 h 501"/>
                <a:gd name="T14" fmla="*/ 1 w 376"/>
                <a:gd name="T15" fmla="*/ 0 h 501"/>
                <a:gd name="T16" fmla="*/ 375 w 376"/>
                <a:gd name="T17"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501">
                  <a:moveTo>
                    <a:pt x="375" y="0"/>
                  </a:moveTo>
                  <a:cubicBezTo>
                    <a:pt x="375" y="0"/>
                    <a:pt x="376" y="1"/>
                    <a:pt x="376" y="1"/>
                  </a:cubicBezTo>
                  <a:cubicBezTo>
                    <a:pt x="376" y="500"/>
                    <a:pt x="376" y="500"/>
                    <a:pt x="376" y="500"/>
                  </a:cubicBezTo>
                  <a:cubicBezTo>
                    <a:pt x="376" y="501"/>
                    <a:pt x="375" y="501"/>
                    <a:pt x="375" y="501"/>
                  </a:cubicBezTo>
                  <a:cubicBezTo>
                    <a:pt x="1" y="501"/>
                    <a:pt x="1" y="501"/>
                    <a:pt x="1" y="501"/>
                  </a:cubicBezTo>
                  <a:cubicBezTo>
                    <a:pt x="0" y="501"/>
                    <a:pt x="0" y="501"/>
                    <a:pt x="0" y="500"/>
                  </a:cubicBezTo>
                  <a:cubicBezTo>
                    <a:pt x="0" y="1"/>
                    <a:pt x="0" y="1"/>
                    <a:pt x="0" y="1"/>
                  </a:cubicBezTo>
                  <a:cubicBezTo>
                    <a:pt x="0" y="1"/>
                    <a:pt x="0" y="0"/>
                    <a:pt x="1" y="0"/>
                  </a:cubicBezTo>
                  <a:cubicBezTo>
                    <a:pt x="375" y="0"/>
                    <a:pt x="375" y="0"/>
                    <a:pt x="375" y="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95" name="Oval 1161"/>
            <p:cNvSpPr>
              <a:spLocks noChangeArrowheads="1"/>
            </p:cNvSpPr>
            <p:nvPr/>
          </p:nvSpPr>
          <p:spPr bwMode="auto">
            <a:xfrm>
              <a:off x="3598863" y="5821363"/>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6" name="Oval 1162"/>
            <p:cNvSpPr>
              <a:spLocks noChangeArrowheads="1"/>
            </p:cNvSpPr>
            <p:nvPr/>
          </p:nvSpPr>
          <p:spPr bwMode="auto">
            <a:xfrm>
              <a:off x="3598863" y="5821363"/>
              <a:ext cx="28575" cy="28575"/>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7" name="Oval 1163"/>
            <p:cNvSpPr>
              <a:spLocks noChangeArrowheads="1"/>
            </p:cNvSpPr>
            <p:nvPr/>
          </p:nvSpPr>
          <p:spPr bwMode="auto">
            <a:xfrm>
              <a:off x="3606800" y="5230813"/>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8" name="Oval 1164"/>
            <p:cNvSpPr>
              <a:spLocks noChangeArrowheads="1"/>
            </p:cNvSpPr>
            <p:nvPr/>
          </p:nvSpPr>
          <p:spPr bwMode="auto">
            <a:xfrm>
              <a:off x="3606800" y="5230813"/>
              <a:ext cx="12700" cy="12700"/>
            </a:xfrm>
            <a:prstGeom prst="ellips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99" name="Freeform 1165"/>
            <p:cNvSpPr>
              <a:spLocks/>
            </p:cNvSpPr>
            <p:nvPr/>
          </p:nvSpPr>
          <p:spPr bwMode="auto">
            <a:xfrm>
              <a:off x="3279775" y="5548313"/>
              <a:ext cx="265112" cy="447675"/>
            </a:xfrm>
            <a:custGeom>
              <a:avLst/>
              <a:gdLst>
                <a:gd name="T0" fmla="*/ 54 w 249"/>
                <a:gd name="T1" fmla="*/ 420 h 420"/>
                <a:gd name="T2" fmla="*/ 42 w 249"/>
                <a:gd name="T3" fmla="*/ 415 h 420"/>
                <a:gd name="T4" fmla="*/ 5 w 249"/>
                <a:gd name="T5" fmla="*/ 378 h 420"/>
                <a:gd name="T6" fmla="*/ 0 w 249"/>
                <a:gd name="T7" fmla="*/ 367 h 420"/>
                <a:gd name="T8" fmla="*/ 0 w 249"/>
                <a:gd name="T9" fmla="*/ 44 h 420"/>
                <a:gd name="T10" fmla="*/ 5 w 249"/>
                <a:gd name="T11" fmla="*/ 32 h 420"/>
                <a:gd name="T12" fmla="*/ 32 w 249"/>
                <a:gd name="T13" fmla="*/ 5 h 420"/>
                <a:gd name="T14" fmla="*/ 44 w 249"/>
                <a:gd name="T15" fmla="*/ 0 h 420"/>
                <a:gd name="T16" fmla="*/ 206 w 249"/>
                <a:gd name="T17" fmla="*/ 0 h 420"/>
                <a:gd name="T18" fmla="*/ 217 w 249"/>
                <a:gd name="T19" fmla="*/ 5 h 420"/>
                <a:gd name="T20" fmla="*/ 244 w 249"/>
                <a:gd name="T21" fmla="*/ 32 h 420"/>
                <a:gd name="T22" fmla="*/ 249 w 249"/>
                <a:gd name="T23" fmla="*/ 44 h 420"/>
                <a:gd name="T24" fmla="*/ 249 w 249"/>
                <a:gd name="T25" fmla="*/ 367 h 420"/>
                <a:gd name="T26" fmla="*/ 244 w 249"/>
                <a:gd name="T27" fmla="*/ 378 h 420"/>
                <a:gd name="T28" fmla="*/ 208 w 249"/>
                <a:gd name="T29" fmla="*/ 415 h 420"/>
                <a:gd name="T30" fmla="*/ 196 w 249"/>
                <a:gd name="T31" fmla="*/ 420 h 420"/>
                <a:gd name="T32" fmla="*/ 54 w 249"/>
                <a:gd name="T33"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420">
                  <a:moveTo>
                    <a:pt x="54" y="420"/>
                  </a:moveTo>
                  <a:cubicBezTo>
                    <a:pt x="50" y="420"/>
                    <a:pt x="45" y="418"/>
                    <a:pt x="42" y="415"/>
                  </a:cubicBezTo>
                  <a:cubicBezTo>
                    <a:pt x="5" y="378"/>
                    <a:pt x="5" y="378"/>
                    <a:pt x="5" y="378"/>
                  </a:cubicBezTo>
                  <a:cubicBezTo>
                    <a:pt x="2" y="376"/>
                    <a:pt x="0" y="371"/>
                    <a:pt x="0" y="367"/>
                  </a:cubicBezTo>
                  <a:cubicBezTo>
                    <a:pt x="0" y="44"/>
                    <a:pt x="0" y="44"/>
                    <a:pt x="0" y="44"/>
                  </a:cubicBezTo>
                  <a:cubicBezTo>
                    <a:pt x="0" y="40"/>
                    <a:pt x="2" y="35"/>
                    <a:pt x="5" y="32"/>
                  </a:cubicBezTo>
                  <a:cubicBezTo>
                    <a:pt x="32" y="5"/>
                    <a:pt x="32" y="5"/>
                    <a:pt x="32" y="5"/>
                  </a:cubicBezTo>
                  <a:cubicBezTo>
                    <a:pt x="35" y="2"/>
                    <a:pt x="40" y="0"/>
                    <a:pt x="44" y="0"/>
                  </a:cubicBezTo>
                  <a:cubicBezTo>
                    <a:pt x="206" y="0"/>
                    <a:pt x="206" y="0"/>
                    <a:pt x="206" y="0"/>
                  </a:cubicBezTo>
                  <a:cubicBezTo>
                    <a:pt x="209" y="0"/>
                    <a:pt x="215" y="2"/>
                    <a:pt x="217" y="5"/>
                  </a:cubicBezTo>
                  <a:cubicBezTo>
                    <a:pt x="244" y="32"/>
                    <a:pt x="244" y="32"/>
                    <a:pt x="244" y="32"/>
                  </a:cubicBezTo>
                  <a:cubicBezTo>
                    <a:pt x="247" y="35"/>
                    <a:pt x="249" y="40"/>
                    <a:pt x="249" y="44"/>
                  </a:cubicBezTo>
                  <a:cubicBezTo>
                    <a:pt x="249" y="367"/>
                    <a:pt x="249" y="367"/>
                    <a:pt x="249" y="367"/>
                  </a:cubicBezTo>
                  <a:cubicBezTo>
                    <a:pt x="249" y="371"/>
                    <a:pt x="247" y="376"/>
                    <a:pt x="244" y="378"/>
                  </a:cubicBezTo>
                  <a:cubicBezTo>
                    <a:pt x="208" y="415"/>
                    <a:pt x="208" y="415"/>
                    <a:pt x="208" y="415"/>
                  </a:cubicBezTo>
                  <a:cubicBezTo>
                    <a:pt x="205" y="418"/>
                    <a:pt x="200" y="420"/>
                    <a:pt x="196" y="420"/>
                  </a:cubicBezTo>
                  <a:lnTo>
                    <a:pt x="54" y="420"/>
                  </a:lnTo>
                  <a:close/>
                </a:path>
              </a:pathLst>
            </a:custGeom>
            <a:solidFill>
              <a:srgbClr val="FFFFFF"/>
            </a:solidFill>
            <a:ln w="12700">
              <a:solidFill>
                <a:schemeClr val="tx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01" name="Freeform 1167"/>
            <p:cNvSpPr>
              <a:spLocks/>
            </p:cNvSpPr>
            <p:nvPr/>
          </p:nvSpPr>
          <p:spPr bwMode="auto">
            <a:xfrm>
              <a:off x="3308350" y="5608638"/>
              <a:ext cx="211137" cy="300038"/>
            </a:xfrm>
            <a:custGeom>
              <a:avLst/>
              <a:gdLst>
                <a:gd name="T0" fmla="*/ 198 w 198"/>
                <a:gd name="T1" fmla="*/ 277 h 282"/>
                <a:gd name="T2" fmla="*/ 193 w 198"/>
                <a:gd name="T3" fmla="*/ 282 h 282"/>
                <a:gd name="T4" fmla="*/ 4 w 198"/>
                <a:gd name="T5" fmla="*/ 282 h 282"/>
                <a:gd name="T6" fmla="*/ 0 w 198"/>
                <a:gd name="T7" fmla="*/ 277 h 282"/>
                <a:gd name="T8" fmla="*/ 0 w 198"/>
                <a:gd name="T9" fmla="*/ 5 h 282"/>
                <a:gd name="T10" fmla="*/ 4 w 198"/>
                <a:gd name="T11" fmla="*/ 0 h 282"/>
                <a:gd name="T12" fmla="*/ 193 w 198"/>
                <a:gd name="T13" fmla="*/ 0 h 282"/>
                <a:gd name="T14" fmla="*/ 198 w 198"/>
                <a:gd name="T15" fmla="*/ 5 h 282"/>
                <a:gd name="T16" fmla="*/ 198 w 198"/>
                <a:gd name="T17" fmla="*/ 27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82">
                  <a:moveTo>
                    <a:pt x="198" y="277"/>
                  </a:moveTo>
                  <a:cubicBezTo>
                    <a:pt x="198" y="279"/>
                    <a:pt x="196" y="282"/>
                    <a:pt x="193" y="282"/>
                  </a:cubicBezTo>
                  <a:cubicBezTo>
                    <a:pt x="4" y="282"/>
                    <a:pt x="4" y="282"/>
                    <a:pt x="4" y="282"/>
                  </a:cubicBezTo>
                  <a:cubicBezTo>
                    <a:pt x="2" y="282"/>
                    <a:pt x="0" y="279"/>
                    <a:pt x="0" y="277"/>
                  </a:cubicBezTo>
                  <a:cubicBezTo>
                    <a:pt x="0" y="5"/>
                    <a:pt x="0" y="5"/>
                    <a:pt x="0" y="5"/>
                  </a:cubicBezTo>
                  <a:cubicBezTo>
                    <a:pt x="0" y="2"/>
                    <a:pt x="2" y="0"/>
                    <a:pt x="4" y="0"/>
                  </a:cubicBezTo>
                  <a:cubicBezTo>
                    <a:pt x="193" y="0"/>
                    <a:pt x="193" y="0"/>
                    <a:pt x="193" y="0"/>
                  </a:cubicBezTo>
                  <a:cubicBezTo>
                    <a:pt x="196" y="0"/>
                    <a:pt x="198" y="2"/>
                    <a:pt x="198" y="5"/>
                  </a:cubicBezTo>
                  <a:lnTo>
                    <a:pt x="198" y="277"/>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2" name="Freeform 1168"/>
            <p:cNvSpPr>
              <a:spLocks/>
            </p:cNvSpPr>
            <p:nvPr/>
          </p:nvSpPr>
          <p:spPr bwMode="auto">
            <a:xfrm>
              <a:off x="3381375" y="5937250"/>
              <a:ext cx="63500" cy="39688"/>
            </a:xfrm>
            <a:custGeom>
              <a:avLst/>
              <a:gdLst>
                <a:gd name="T0" fmla="*/ 0 w 60"/>
                <a:gd name="T1" fmla="*/ 5 h 38"/>
                <a:gd name="T2" fmla="*/ 5 w 60"/>
                <a:gd name="T3" fmla="*/ 0 h 38"/>
                <a:gd name="T4" fmla="*/ 54 w 60"/>
                <a:gd name="T5" fmla="*/ 0 h 38"/>
                <a:gd name="T6" fmla="*/ 60 w 60"/>
                <a:gd name="T7" fmla="*/ 5 h 38"/>
                <a:gd name="T8" fmla="*/ 60 w 60"/>
                <a:gd name="T9" fmla="*/ 33 h 38"/>
                <a:gd name="T10" fmla="*/ 54 w 60"/>
                <a:gd name="T11" fmla="*/ 38 h 38"/>
                <a:gd name="T12" fmla="*/ 5 w 60"/>
                <a:gd name="T13" fmla="*/ 38 h 38"/>
                <a:gd name="T14" fmla="*/ 0 w 60"/>
                <a:gd name="T15" fmla="*/ 33 h 38"/>
                <a:gd name="T16" fmla="*/ 0 w 60"/>
                <a:gd name="T17"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8">
                  <a:moveTo>
                    <a:pt x="0" y="5"/>
                  </a:moveTo>
                  <a:cubicBezTo>
                    <a:pt x="0" y="2"/>
                    <a:pt x="2" y="0"/>
                    <a:pt x="5" y="0"/>
                  </a:cubicBezTo>
                  <a:cubicBezTo>
                    <a:pt x="54" y="0"/>
                    <a:pt x="54" y="0"/>
                    <a:pt x="54" y="0"/>
                  </a:cubicBezTo>
                  <a:cubicBezTo>
                    <a:pt x="57" y="0"/>
                    <a:pt x="60" y="2"/>
                    <a:pt x="60" y="5"/>
                  </a:cubicBezTo>
                  <a:cubicBezTo>
                    <a:pt x="60" y="33"/>
                    <a:pt x="60" y="33"/>
                    <a:pt x="60" y="33"/>
                  </a:cubicBezTo>
                  <a:cubicBezTo>
                    <a:pt x="60" y="36"/>
                    <a:pt x="57" y="38"/>
                    <a:pt x="54" y="38"/>
                  </a:cubicBezTo>
                  <a:cubicBezTo>
                    <a:pt x="5" y="38"/>
                    <a:pt x="5" y="38"/>
                    <a:pt x="5" y="38"/>
                  </a:cubicBezTo>
                  <a:cubicBezTo>
                    <a:pt x="2" y="38"/>
                    <a:pt x="0" y="36"/>
                    <a:pt x="0" y="33"/>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3" name="Freeform 1169"/>
            <p:cNvSpPr>
              <a:spLocks/>
            </p:cNvSpPr>
            <p:nvPr/>
          </p:nvSpPr>
          <p:spPr bwMode="auto">
            <a:xfrm>
              <a:off x="3459163" y="5627688"/>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4" name="Freeform 1170"/>
            <p:cNvSpPr>
              <a:spLocks/>
            </p:cNvSpPr>
            <p:nvPr/>
          </p:nvSpPr>
          <p:spPr bwMode="auto">
            <a:xfrm>
              <a:off x="3459163" y="5692775"/>
              <a:ext cx="39687" cy="42863"/>
            </a:xfrm>
            <a:custGeom>
              <a:avLst/>
              <a:gdLst>
                <a:gd name="T0" fmla="*/ 0 w 38"/>
                <a:gd name="T1" fmla="*/ 4 h 40"/>
                <a:gd name="T2" fmla="*/ 5 w 38"/>
                <a:gd name="T3" fmla="*/ 0 h 40"/>
                <a:gd name="T4" fmla="*/ 33 w 38"/>
                <a:gd name="T5" fmla="*/ 0 h 40"/>
                <a:gd name="T6" fmla="*/ 38 w 38"/>
                <a:gd name="T7" fmla="*/ 4 h 40"/>
                <a:gd name="T8" fmla="*/ 38 w 38"/>
                <a:gd name="T9" fmla="*/ 36 h 40"/>
                <a:gd name="T10" fmla="*/ 33 w 38"/>
                <a:gd name="T11" fmla="*/ 40 h 40"/>
                <a:gd name="T12" fmla="*/ 5 w 38"/>
                <a:gd name="T13" fmla="*/ 40 h 40"/>
                <a:gd name="T14" fmla="*/ 0 w 38"/>
                <a:gd name="T15" fmla="*/ 36 h 40"/>
                <a:gd name="T16" fmla="*/ 0 w 38"/>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0" y="4"/>
                  </a:moveTo>
                  <a:cubicBezTo>
                    <a:pt x="0" y="2"/>
                    <a:pt x="2" y="0"/>
                    <a:pt x="5" y="0"/>
                  </a:cubicBezTo>
                  <a:cubicBezTo>
                    <a:pt x="33" y="0"/>
                    <a:pt x="33" y="0"/>
                    <a:pt x="33" y="0"/>
                  </a:cubicBezTo>
                  <a:cubicBezTo>
                    <a:pt x="35" y="0"/>
                    <a:pt x="38" y="2"/>
                    <a:pt x="38" y="4"/>
                  </a:cubicBezTo>
                  <a:cubicBezTo>
                    <a:pt x="38" y="36"/>
                    <a:pt x="38" y="36"/>
                    <a:pt x="38" y="36"/>
                  </a:cubicBezTo>
                  <a:cubicBezTo>
                    <a:pt x="38"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5" name="Freeform 1171"/>
            <p:cNvSpPr>
              <a:spLocks/>
            </p:cNvSpPr>
            <p:nvPr/>
          </p:nvSpPr>
          <p:spPr bwMode="auto">
            <a:xfrm>
              <a:off x="3459163" y="5756275"/>
              <a:ext cx="39687" cy="44450"/>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3"/>
                    <a:pt x="2" y="0"/>
                    <a:pt x="5" y="0"/>
                  </a:cubicBezTo>
                  <a:cubicBezTo>
                    <a:pt x="33" y="0"/>
                    <a:pt x="33" y="0"/>
                    <a:pt x="33" y="0"/>
                  </a:cubicBezTo>
                  <a:cubicBezTo>
                    <a:pt x="35" y="0"/>
                    <a:pt x="38" y="3"/>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6" name="Freeform 1172"/>
            <p:cNvSpPr>
              <a:spLocks/>
            </p:cNvSpPr>
            <p:nvPr/>
          </p:nvSpPr>
          <p:spPr bwMode="auto">
            <a:xfrm>
              <a:off x="3459163" y="5846763"/>
              <a:ext cx="39687" cy="42863"/>
            </a:xfrm>
            <a:custGeom>
              <a:avLst/>
              <a:gdLst>
                <a:gd name="T0" fmla="*/ 0 w 38"/>
                <a:gd name="T1" fmla="*/ 5 h 41"/>
                <a:gd name="T2" fmla="*/ 5 w 38"/>
                <a:gd name="T3" fmla="*/ 0 h 41"/>
                <a:gd name="T4" fmla="*/ 33 w 38"/>
                <a:gd name="T5" fmla="*/ 0 h 41"/>
                <a:gd name="T6" fmla="*/ 38 w 38"/>
                <a:gd name="T7" fmla="*/ 5 h 41"/>
                <a:gd name="T8" fmla="*/ 38 w 38"/>
                <a:gd name="T9" fmla="*/ 36 h 41"/>
                <a:gd name="T10" fmla="*/ 33 w 38"/>
                <a:gd name="T11" fmla="*/ 41 h 41"/>
                <a:gd name="T12" fmla="*/ 5 w 38"/>
                <a:gd name="T13" fmla="*/ 41 h 41"/>
                <a:gd name="T14" fmla="*/ 0 w 38"/>
                <a:gd name="T15" fmla="*/ 36 h 41"/>
                <a:gd name="T16" fmla="*/ 0 w 38"/>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0" y="5"/>
                  </a:moveTo>
                  <a:cubicBezTo>
                    <a:pt x="0" y="2"/>
                    <a:pt x="2" y="0"/>
                    <a:pt x="5" y="0"/>
                  </a:cubicBezTo>
                  <a:cubicBezTo>
                    <a:pt x="33" y="0"/>
                    <a:pt x="33" y="0"/>
                    <a:pt x="33" y="0"/>
                  </a:cubicBezTo>
                  <a:cubicBezTo>
                    <a:pt x="35" y="0"/>
                    <a:pt x="38" y="2"/>
                    <a:pt x="38" y="5"/>
                  </a:cubicBezTo>
                  <a:cubicBezTo>
                    <a:pt x="38" y="36"/>
                    <a:pt x="38" y="36"/>
                    <a:pt x="38" y="36"/>
                  </a:cubicBezTo>
                  <a:cubicBezTo>
                    <a:pt x="38"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7" name="Freeform 1173"/>
            <p:cNvSpPr>
              <a:spLocks/>
            </p:cNvSpPr>
            <p:nvPr/>
          </p:nvSpPr>
          <p:spPr bwMode="auto">
            <a:xfrm>
              <a:off x="3392488"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8" name="Freeform 1174"/>
            <p:cNvSpPr>
              <a:spLocks/>
            </p:cNvSpPr>
            <p:nvPr/>
          </p:nvSpPr>
          <p:spPr bwMode="auto">
            <a:xfrm>
              <a:off x="3392488"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09" name="Freeform 1175"/>
            <p:cNvSpPr>
              <a:spLocks/>
            </p:cNvSpPr>
            <p:nvPr/>
          </p:nvSpPr>
          <p:spPr bwMode="auto">
            <a:xfrm>
              <a:off x="3392488"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0" name="Freeform 1176"/>
            <p:cNvSpPr>
              <a:spLocks/>
            </p:cNvSpPr>
            <p:nvPr/>
          </p:nvSpPr>
          <p:spPr bwMode="auto">
            <a:xfrm>
              <a:off x="3392488"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1" name="Freeform 1177"/>
            <p:cNvSpPr>
              <a:spLocks/>
            </p:cNvSpPr>
            <p:nvPr/>
          </p:nvSpPr>
          <p:spPr bwMode="auto">
            <a:xfrm>
              <a:off x="3327400" y="5627688"/>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2" name="Freeform 1178"/>
            <p:cNvSpPr>
              <a:spLocks/>
            </p:cNvSpPr>
            <p:nvPr/>
          </p:nvSpPr>
          <p:spPr bwMode="auto">
            <a:xfrm>
              <a:off x="3327400" y="5692775"/>
              <a:ext cx="39687" cy="42863"/>
            </a:xfrm>
            <a:custGeom>
              <a:avLst/>
              <a:gdLst>
                <a:gd name="T0" fmla="*/ 0 w 37"/>
                <a:gd name="T1" fmla="*/ 4 h 40"/>
                <a:gd name="T2" fmla="*/ 5 w 37"/>
                <a:gd name="T3" fmla="*/ 0 h 40"/>
                <a:gd name="T4" fmla="*/ 33 w 37"/>
                <a:gd name="T5" fmla="*/ 0 h 40"/>
                <a:gd name="T6" fmla="*/ 37 w 37"/>
                <a:gd name="T7" fmla="*/ 4 h 40"/>
                <a:gd name="T8" fmla="*/ 37 w 37"/>
                <a:gd name="T9" fmla="*/ 36 h 40"/>
                <a:gd name="T10" fmla="*/ 33 w 37"/>
                <a:gd name="T11" fmla="*/ 40 h 40"/>
                <a:gd name="T12" fmla="*/ 5 w 37"/>
                <a:gd name="T13" fmla="*/ 40 h 40"/>
                <a:gd name="T14" fmla="*/ 0 w 37"/>
                <a:gd name="T15" fmla="*/ 36 h 40"/>
                <a:gd name="T16" fmla="*/ 0 w 37"/>
                <a:gd name="T1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0" y="4"/>
                  </a:moveTo>
                  <a:cubicBezTo>
                    <a:pt x="0" y="2"/>
                    <a:pt x="2" y="0"/>
                    <a:pt x="5" y="0"/>
                  </a:cubicBezTo>
                  <a:cubicBezTo>
                    <a:pt x="33" y="0"/>
                    <a:pt x="33" y="0"/>
                    <a:pt x="33" y="0"/>
                  </a:cubicBezTo>
                  <a:cubicBezTo>
                    <a:pt x="35" y="0"/>
                    <a:pt x="37" y="2"/>
                    <a:pt x="37" y="4"/>
                  </a:cubicBezTo>
                  <a:cubicBezTo>
                    <a:pt x="37" y="36"/>
                    <a:pt x="37" y="36"/>
                    <a:pt x="37" y="36"/>
                  </a:cubicBezTo>
                  <a:cubicBezTo>
                    <a:pt x="37" y="38"/>
                    <a:pt x="35" y="40"/>
                    <a:pt x="33" y="40"/>
                  </a:cubicBezTo>
                  <a:cubicBezTo>
                    <a:pt x="5" y="40"/>
                    <a:pt x="5" y="40"/>
                    <a:pt x="5" y="40"/>
                  </a:cubicBezTo>
                  <a:cubicBezTo>
                    <a:pt x="2" y="40"/>
                    <a:pt x="0" y="38"/>
                    <a:pt x="0" y="36"/>
                  </a:cubicBezTo>
                  <a:lnTo>
                    <a:pt x="0" y="4"/>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3" name="Freeform 1179"/>
            <p:cNvSpPr>
              <a:spLocks/>
            </p:cNvSpPr>
            <p:nvPr/>
          </p:nvSpPr>
          <p:spPr bwMode="auto">
            <a:xfrm>
              <a:off x="3327400" y="5756275"/>
              <a:ext cx="39687" cy="44450"/>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3"/>
                    <a:pt x="2" y="0"/>
                    <a:pt x="5" y="0"/>
                  </a:cubicBezTo>
                  <a:cubicBezTo>
                    <a:pt x="33" y="0"/>
                    <a:pt x="33" y="0"/>
                    <a:pt x="33" y="0"/>
                  </a:cubicBezTo>
                  <a:cubicBezTo>
                    <a:pt x="35" y="0"/>
                    <a:pt x="37" y="3"/>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4" name="Freeform 1180"/>
            <p:cNvSpPr>
              <a:spLocks/>
            </p:cNvSpPr>
            <p:nvPr/>
          </p:nvSpPr>
          <p:spPr bwMode="auto">
            <a:xfrm>
              <a:off x="3327400" y="5846763"/>
              <a:ext cx="39687" cy="42863"/>
            </a:xfrm>
            <a:custGeom>
              <a:avLst/>
              <a:gdLst>
                <a:gd name="T0" fmla="*/ 0 w 37"/>
                <a:gd name="T1" fmla="*/ 5 h 41"/>
                <a:gd name="T2" fmla="*/ 5 w 37"/>
                <a:gd name="T3" fmla="*/ 0 h 41"/>
                <a:gd name="T4" fmla="*/ 33 w 37"/>
                <a:gd name="T5" fmla="*/ 0 h 41"/>
                <a:gd name="T6" fmla="*/ 37 w 37"/>
                <a:gd name="T7" fmla="*/ 5 h 41"/>
                <a:gd name="T8" fmla="*/ 37 w 37"/>
                <a:gd name="T9" fmla="*/ 36 h 41"/>
                <a:gd name="T10" fmla="*/ 33 w 37"/>
                <a:gd name="T11" fmla="*/ 41 h 41"/>
                <a:gd name="T12" fmla="*/ 5 w 37"/>
                <a:gd name="T13" fmla="*/ 41 h 41"/>
                <a:gd name="T14" fmla="*/ 0 w 37"/>
                <a:gd name="T15" fmla="*/ 36 h 41"/>
                <a:gd name="T16" fmla="*/ 0 w 37"/>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0" y="5"/>
                  </a:moveTo>
                  <a:cubicBezTo>
                    <a:pt x="0" y="2"/>
                    <a:pt x="2" y="0"/>
                    <a:pt x="5" y="0"/>
                  </a:cubicBezTo>
                  <a:cubicBezTo>
                    <a:pt x="33" y="0"/>
                    <a:pt x="33" y="0"/>
                    <a:pt x="33" y="0"/>
                  </a:cubicBezTo>
                  <a:cubicBezTo>
                    <a:pt x="35" y="0"/>
                    <a:pt x="37" y="2"/>
                    <a:pt x="37" y="5"/>
                  </a:cubicBezTo>
                  <a:cubicBezTo>
                    <a:pt x="37" y="36"/>
                    <a:pt x="37" y="36"/>
                    <a:pt x="37" y="36"/>
                  </a:cubicBezTo>
                  <a:cubicBezTo>
                    <a:pt x="37" y="39"/>
                    <a:pt x="35" y="41"/>
                    <a:pt x="33" y="41"/>
                  </a:cubicBezTo>
                  <a:cubicBezTo>
                    <a:pt x="5" y="41"/>
                    <a:pt x="5" y="41"/>
                    <a:pt x="5" y="41"/>
                  </a:cubicBezTo>
                  <a:cubicBezTo>
                    <a:pt x="2" y="41"/>
                    <a:pt x="0" y="39"/>
                    <a:pt x="0" y="36"/>
                  </a:cubicBezTo>
                  <a:lnTo>
                    <a:pt x="0" y="5"/>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5" name="Freeform 1181"/>
            <p:cNvSpPr>
              <a:spLocks/>
            </p:cNvSpPr>
            <p:nvPr/>
          </p:nvSpPr>
          <p:spPr bwMode="auto">
            <a:xfrm>
              <a:off x="3392488" y="5568950"/>
              <a:ext cx="41275" cy="9525"/>
            </a:xfrm>
            <a:custGeom>
              <a:avLst/>
              <a:gdLst>
                <a:gd name="T0" fmla="*/ 0 w 39"/>
                <a:gd name="T1" fmla="*/ 2 h 8"/>
                <a:gd name="T2" fmla="*/ 2 w 39"/>
                <a:gd name="T3" fmla="*/ 0 h 8"/>
                <a:gd name="T4" fmla="*/ 38 w 39"/>
                <a:gd name="T5" fmla="*/ 0 h 8"/>
                <a:gd name="T6" fmla="*/ 39 w 39"/>
                <a:gd name="T7" fmla="*/ 2 h 8"/>
                <a:gd name="T8" fmla="*/ 39 w 39"/>
                <a:gd name="T9" fmla="*/ 6 h 8"/>
                <a:gd name="T10" fmla="*/ 38 w 39"/>
                <a:gd name="T11" fmla="*/ 8 h 8"/>
                <a:gd name="T12" fmla="*/ 2 w 39"/>
                <a:gd name="T13" fmla="*/ 8 h 8"/>
                <a:gd name="T14" fmla="*/ 0 w 39"/>
                <a:gd name="T15" fmla="*/ 6 h 8"/>
                <a:gd name="T16" fmla="*/ 0 w 39"/>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8">
                  <a:moveTo>
                    <a:pt x="0" y="2"/>
                  </a:moveTo>
                  <a:cubicBezTo>
                    <a:pt x="0" y="1"/>
                    <a:pt x="1" y="0"/>
                    <a:pt x="2" y="0"/>
                  </a:cubicBezTo>
                  <a:cubicBezTo>
                    <a:pt x="38" y="0"/>
                    <a:pt x="38" y="0"/>
                    <a:pt x="38" y="0"/>
                  </a:cubicBezTo>
                  <a:cubicBezTo>
                    <a:pt x="39" y="0"/>
                    <a:pt x="39" y="1"/>
                    <a:pt x="39" y="2"/>
                  </a:cubicBezTo>
                  <a:cubicBezTo>
                    <a:pt x="39" y="6"/>
                    <a:pt x="39" y="6"/>
                    <a:pt x="39" y="6"/>
                  </a:cubicBezTo>
                  <a:cubicBezTo>
                    <a:pt x="39" y="7"/>
                    <a:pt x="39" y="8"/>
                    <a:pt x="38" y="8"/>
                  </a:cubicBezTo>
                  <a:cubicBezTo>
                    <a:pt x="2" y="8"/>
                    <a:pt x="2" y="8"/>
                    <a:pt x="2" y="8"/>
                  </a:cubicBezTo>
                  <a:cubicBezTo>
                    <a:pt x="1" y="8"/>
                    <a:pt x="0" y="7"/>
                    <a:pt x="0" y="6"/>
                  </a:cubicBezTo>
                  <a:lnTo>
                    <a:pt x="0" y="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6" name="Freeform 1182"/>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17" name="Freeform 1183"/>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8" name="Freeform 1184"/>
            <p:cNvSpPr>
              <a:spLocks/>
            </p:cNvSpPr>
            <p:nvPr/>
          </p:nvSpPr>
          <p:spPr bwMode="auto">
            <a:xfrm>
              <a:off x="3386138" y="5232400"/>
              <a:ext cx="61912" cy="61913"/>
            </a:xfrm>
            <a:custGeom>
              <a:avLst/>
              <a:gdLst>
                <a:gd name="T0" fmla="*/ 50 w 58"/>
                <a:gd name="T1" fmla="*/ 14 h 58"/>
                <a:gd name="T2" fmla="*/ 44 w 58"/>
                <a:gd name="T3" fmla="*/ 49 h 58"/>
                <a:gd name="T4" fmla="*/ 8 w 58"/>
                <a:gd name="T5" fmla="*/ 43 h 58"/>
                <a:gd name="T6" fmla="*/ 14 w 58"/>
                <a:gd name="T7" fmla="*/ 8 h 58"/>
                <a:gd name="T8" fmla="*/ 50 w 58"/>
                <a:gd name="T9" fmla="*/ 14 h 58"/>
              </a:gdLst>
              <a:ahLst/>
              <a:cxnLst>
                <a:cxn ang="0">
                  <a:pos x="T0" y="T1"/>
                </a:cxn>
                <a:cxn ang="0">
                  <a:pos x="T2" y="T3"/>
                </a:cxn>
                <a:cxn ang="0">
                  <a:pos x="T4" y="T5"/>
                </a:cxn>
                <a:cxn ang="0">
                  <a:pos x="T6" y="T7"/>
                </a:cxn>
                <a:cxn ang="0">
                  <a:pos x="T8" y="T9"/>
                </a:cxn>
              </a:cxnLst>
              <a:rect l="0" t="0" r="r" b="b"/>
              <a:pathLst>
                <a:path w="58" h="58">
                  <a:moveTo>
                    <a:pt x="50" y="14"/>
                  </a:moveTo>
                  <a:cubicBezTo>
                    <a:pt x="58" y="25"/>
                    <a:pt x="55" y="41"/>
                    <a:pt x="44" y="49"/>
                  </a:cubicBezTo>
                  <a:cubicBezTo>
                    <a:pt x="32" y="58"/>
                    <a:pt x="16" y="55"/>
                    <a:pt x="8" y="43"/>
                  </a:cubicBezTo>
                  <a:cubicBezTo>
                    <a:pt x="0" y="32"/>
                    <a:pt x="2" y="16"/>
                    <a:pt x="14" y="8"/>
                  </a:cubicBezTo>
                  <a:cubicBezTo>
                    <a:pt x="25" y="0"/>
                    <a:pt x="41" y="2"/>
                    <a:pt x="50" y="14"/>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19" name="Freeform 1185"/>
            <p:cNvSpPr>
              <a:spLocks/>
            </p:cNvSpPr>
            <p:nvPr/>
          </p:nvSpPr>
          <p:spPr bwMode="auto">
            <a:xfrm>
              <a:off x="3302000" y="5149850"/>
              <a:ext cx="117475" cy="93663"/>
            </a:xfrm>
            <a:custGeom>
              <a:avLst/>
              <a:gdLst>
                <a:gd name="T0" fmla="*/ 1 w 111"/>
                <a:gd name="T1" fmla="*/ 88 h 88"/>
                <a:gd name="T2" fmla="*/ 35 w 111"/>
                <a:gd name="T3" fmla="*/ 19 h 88"/>
                <a:gd name="T4" fmla="*/ 111 w 111"/>
                <a:gd name="T5" fmla="*/ 9 h 88"/>
              </a:gdLst>
              <a:ahLst/>
              <a:cxnLst>
                <a:cxn ang="0">
                  <a:pos x="T0" y="T1"/>
                </a:cxn>
                <a:cxn ang="0">
                  <a:pos x="T2" y="T3"/>
                </a:cxn>
                <a:cxn ang="0">
                  <a:pos x="T4" y="T5"/>
                </a:cxn>
              </a:cxnLst>
              <a:rect l="0" t="0" r="r" b="b"/>
              <a:pathLst>
                <a:path w="111" h="88">
                  <a:moveTo>
                    <a:pt x="1" y="88"/>
                  </a:moveTo>
                  <a:cubicBezTo>
                    <a:pt x="0" y="62"/>
                    <a:pt x="12" y="35"/>
                    <a:pt x="35" y="19"/>
                  </a:cubicBezTo>
                  <a:cubicBezTo>
                    <a:pt x="58" y="2"/>
                    <a:pt x="87" y="0"/>
                    <a:pt x="111" y="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0" name="Freeform 1186"/>
            <p:cNvSpPr>
              <a:spLocks/>
            </p:cNvSpPr>
            <p:nvPr/>
          </p:nvSpPr>
          <p:spPr bwMode="auto">
            <a:xfrm>
              <a:off x="3251200" y="5095875"/>
              <a:ext cx="163512" cy="125413"/>
            </a:xfrm>
            <a:custGeom>
              <a:avLst/>
              <a:gdLst>
                <a:gd name="T0" fmla="*/ 154 w 154"/>
                <a:gd name="T1" fmla="*/ 7 h 117"/>
                <a:gd name="T2" fmla="*/ 54 w 154"/>
                <a:gd name="T3" fmla="*/ 29 h 117"/>
                <a:gd name="T4" fmla="*/ 0 w 154"/>
                <a:gd name="T5" fmla="*/ 117 h 117"/>
              </a:gdLst>
              <a:ahLst/>
              <a:cxnLst>
                <a:cxn ang="0">
                  <a:pos x="T0" y="T1"/>
                </a:cxn>
                <a:cxn ang="0">
                  <a:pos x="T2" y="T3"/>
                </a:cxn>
                <a:cxn ang="0">
                  <a:pos x="T4" y="T5"/>
                </a:cxn>
              </a:cxnLst>
              <a:rect l="0" t="0" r="r" b="b"/>
              <a:pathLst>
                <a:path w="154" h="117">
                  <a:moveTo>
                    <a:pt x="154" y="7"/>
                  </a:moveTo>
                  <a:cubicBezTo>
                    <a:pt x="120" y="0"/>
                    <a:pt x="84" y="7"/>
                    <a:pt x="54" y="29"/>
                  </a:cubicBezTo>
                  <a:cubicBezTo>
                    <a:pt x="23" y="50"/>
                    <a:pt x="5" y="82"/>
                    <a:pt x="0" y="11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1" name="Freeform 1187"/>
            <p:cNvSpPr>
              <a:spLocks/>
            </p:cNvSpPr>
            <p:nvPr/>
          </p:nvSpPr>
          <p:spPr bwMode="auto">
            <a:xfrm>
              <a:off x="3201988" y="5045075"/>
              <a:ext cx="207962" cy="153988"/>
            </a:xfrm>
            <a:custGeom>
              <a:avLst/>
              <a:gdLst>
                <a:gd name="T0" fmla="*/ 195 w 195"/>
                <a:gd name="T1" fmla="*/ 4 h 144"/>
                <a:gd name="T2" fmla="*/ 71 w 195"/>
                <a:gd name="T3" fmla="*/ 37 h 144"/>
                <a:gd name="T4" fmla="*/ 0 w 195"/>
                <a:gd name="T5" fmla="*/ 144 h 144"/>
              </a:gdLst>
              <a:ahLst/>
              <a:cxnLst>
                <a:cxn ang="0">
                  <a:pos x="T0" y="T1"/>
                </a:cxn>
                <a:cxn ang="0">
                  <a:pos x="T2" y="T3"/>
                </a:cxn>
                <a:cxn ang="0">
                  <a:pos x="T4" y="T5"/>
                </a:cxn>
              </a:cxnLst>
              <a:rect l="0" t="0" r="r" b="b"/>
              <a:pathLst>
                <a:path w="195" h="144">
                  <a:moveTo>
                    <a:pt x="195" y="4"/>
                  </a:moveTo>
                  <a:cubicBezTo>
                    <a:pt x="153" y="0"/>
                    <a:pt x="108" y="10"/>
                    <a:pt x="71" y="37"/>
                  </a:cubicBezTo>
                  <a:cubicBezTo>
                    <a:pt x="34" y="64"/>
                    <a:pt x="9" y="102"/>
                    <a:pt x="0" y="14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2" name="Freeform 1188"/>
            <p:cNvSpPr>
              <a:spLocks/>
            </p:cNvSpPr>
            <p:nvPr/>
          </p:nvSpPr>
          <p:spPr bwMode="auto">
            <a:xfrm>
              <a:off x="3151188" y="4989513"/>
              <a:ext cx="254000" cy="188913"/>
            </a:xfrm>
            <a:custGeom>
              <a:avLst/>
              <a:gdLst>
                <a:gd name="T0" fmla="*/ 238 w 238"/>
                <a:gd name="T1" fmla="*/ 5 h 176"/>
                <a:gd name="T2" fmla="*/ 87 w 238"/>
                <a:gd name="T3" fmla="*/ 45 h 176"/>
                <a:gd name="T4" fmla="*/ 0 w 238"/>
                <a:gd name="T5" fmla="*/ 176 h 176"/>
              </a:gdLst>
              <a:ahLst/>
              <a:cxnLst>
                <a:cxn ang="0">
                  <a:pos x="T0" y="T1"/>
                </a:cxn>
                <a:cxn ang="0">
                  <a:pos x="T2" y="T3"/>
                </a:cxn>
                <a:cxn ang="0">
                  <a:pos x="T4" y="T5"/>
                </a:cxn>
              </a:cxnLst>
              <a:rect l="0" t="0" r="r" b="b"/>
              <a:pathLst>
                <a:path w="238" h="176">
                  <a:moveTo>
                    <a:pt x="238" y="5"/>
                  </a:moveTo>
                  <a:cubicBezTo>
                    <a:pt x="187" y="0"/>
                    <a:pt x="132" y="12"/>
                    <a:pt x="87" y="45"/>
                  </a:cubicBezTo>
                  <a:cubicBezTo>
                    <a:pt x="41" y="78"/>
                    <a:pt x="11" y="125"/>
                    <a:pt x="0" y="17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78" name="Gruppieren 3277"/>
          <p:cNvGrpSpPr/>
          <p:nvPr/>
        </p:nvGrpSpPr>
        <p:grpSpPr>
          <a:xfrm>
            <a:off x="4720769" y="5385834"/>
            <a:ext cx="1171575" cy="812800"/>
            <a:chOff x="4721225" y="5402263"/>
            <a:chExt cx="1171575" cy="812800"/>
          </a:xfrm>
        </p:grpSpPr>
        <p:sp>
          <p:nvSpPr>
            <p:cNvPr id="3227" name="AutoShape 1191"/>
            <p:cNvSpPr>
              <a:spLocks noChangeAspect="1" noChangeArrowheads="1" noTextEdit="1"/>
            </p:cNvSpPr>
            <p:nvPr/>
          </p:nvSpPr>
          <p:spPr bwMode="auto">
            <a:xfrm>
              <a:off x="4721225" y="5402263"/>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77" name="Gruppieren 3276"/>
            <p:cNvGrpSpPr/>
            <p:nvPr/>
          </p:nvGrpSpPr>
          <p:grpSpPr>
            <a:xfrm>
              <a:off x="4991100" y="5410201"/>
              <a:ext cx="893763" cy="800100"/>
              <a:chOff x="4991100" y="5410201"/>
              <a:chExt cx="893763" cy="800100"/>
            </a:xfrm>
          </p:grpSpPr>
          <p:sp>
            <p:nvSpPr>
              <p:cNvPr id="3228"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29"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30"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1"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32"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276" name="Gruppieren 3275"/>
              <p:cNvGrpSpPr/>
              <p:nvPr/>
            </p:nvGrpSpPr>
            <p:grpSpPr>
              <a:xfrm>
                <a:off x="5083175" y="5511801"/>
                <a:ext cx="709613" cy="406400"/>
                <a:chOff x="5083175" y="5511801"/>
                <a:chExt cx="709613" cy="406400"/>
              </a:xfrm>
            </p:grpSpPr>
            <p:sp>
              <p:nvSpPr>
                <p:cNvPr id="3233"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4"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5"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6"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7"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8"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9"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40"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1"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2"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3"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4"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5"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6"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7"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8"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49"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0"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1"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2"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3"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4"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3275" name="Gruppieren 3274"/>
            <p:cNvGrpSpPr/>
            <p:nvPr/>
          </p:nvGrpSpPr>
          <p:grpSpPr>
            <a:xfrm>
              <a:off x="4724400" y="5651501"/>
              <a:ext cx="293688" cy="295275"/>
              <a:chOff x="4724400" y="5651501"/>
              <a:chExt cx="293688" cy="295275"/>
            </a:xfrm>
          </p:grpSpPr>
          <p:sp>
            <p:nvSpPr>
              <p:cNvPr id="3255" name="Freeform 1220"/>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56" name="Freeform 1221"/>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7" name="Freeform 1222"/>
              <p:cNvSpPr>
                <a:spLocks/>
              </p:cNvSpPr>
              <p:nvPr/>
            </p:nvSpPr>
            <p:spPr bwMode="auto">
              <a:xfrm>
                <a:off x="4967288" y="5783263"/>
                <a:ext cx="50800" cy="52388"/>
              </a:xfrm>
              <a:custGeom>
                <a:avLst/>
                <a:gdLst>
                  <a:gd name="T0" fmla="*/ 17 w 35"/>
                  <a:gd name="T1" fmla="*/ 36 h 36"/>
                  <a:gd name="T2" fmla="*/ 35 w 35"/>
                  <a:gd name="T3" fmla="*/ 18 h 36"/>
                  <a:gd name="T4" fmla="*/ 17 w 35"/>
                  <a:gd name="T5" fmla="*/ 1 h 36"/>
                  <a:gd name="T6" fmla="*/ 0 w 35"/>
                  <a:gd name="T7" fmla="*/ 18 h 36"/>
                  <a:gd name="T8" fmla="*/ 17 w 35"/>
                  <a:gd name="T9" fmla="*/ 36 h 36"/>
                </a:gdLst>
                <a:ahLst/>
                <a:cxnLst>
                  <a:cxn ang="0">
                    <a:pos x="T0" y="T1"/>
                  </a:cxn>
                  <a:cxn ang="0">
                    <a:pos x="T2" y="T3"/>
                  </a:cxn>
                  <a:cxn ang="0">
                    <a:pos x="T4" y="T5"/>
                  </a:cxn>
                  <a:cxn ang="0">
                    <a:pos x="T6" y="T7"/>
                  </a:cxn>
                  <a:cxn ang="0">
                    <a:pos x="T8" y="T9"/>
                  </a:cxn>
                </a:cxnLst>
                <a:rect l="0" t="0" r="r" b="b"/>
                <a:pathLst>
                  <a:path w="35" h="36">
                    <a:moveTo>
                      <a:pt x="17" y="36"/>
                    </a:moveTo>
                    <a:cubicBezTo>
                      <a:pt x="27" y="36"/>
                      <a:pt x="35" y="28"/>
                      <a:pt x="35" y="18"/>
                    </a:cubicBezTo>
                    <a:cubicBezTo>
                      <a:pt x="35" y="8"/>
                      <a:pt x="27" y="1"/>
                      <a:pt x="17" y="1"/>
                    </a:cubicBezTo>
                    <a:cubicBezTo>
                      <a:pt x="8" y="0"/>
                      <a:pt x="0" y="8"/>
                      <a:pt x="0" y="18"/>
                    </a:cubicBezTo>
                    <a:cubicBezTo>
                      <a:pt x="0" y="28"/>
                      <a:pt x="7" y="36"/>
                      <a:pt x="17" y="36"/>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8" name="Freeform 1223"/>
              <p:cNvSpPr>
                <a:spLocks/>
              </p:cNvSpPr>
              <p:nvPr/>
            </p:nvSpPr>
            <p:spPr bwMode="auto">
              <a:xfrm>
                <a:off x="4878388" y="5732463"/>
                <a:ext cx="38100" cy="136525"/>
              </a:xfrm>
              <a:custGeom>
                <a:avLst/>
                <a:gdLst>
                  <a:gd name="T0" fmla="*/ 25 w 25"/>
                  <a:gd name="T1" fmla="*/ 0 h 94"/>
                  <a:gd name="T2" fmla="*/ 0 w 25"/>
                  <a:gd name="T3" fmla="*/ 47 h 94"/>
                  <a:gd name="T4" fmla="*/ 24 w 25"/>
                  <a:gd name="T5" fmla="*/ 94 h 94"/>
                </a:gdLst>
                <a:ahLst/>
                <a:cxnLst>
                  <a:cxn ang="0">
                    <a:pos x="T0" y="T1"/>
                  </a:cxn>
                  <a:cxn ang="0">
                    <a:pos x="T2" y="T3"/>
                  </a:cxn>
                  <a:cxn ang="0">
                    <a:pos x="T4" y="T5"/>
                  </a:cxn>
                </a:cxnLst>
                <a:rect l="0" t="0" r="r" b="b"/>
                <a:pathLst>
                  <a:path w="25" h="94">
                    <a:moveTo>
                      <a:pt x="25" y="0"/>
                    </a:moveTo>
                    <a:cubicBezTo>
                      <a:pt x="10" y="10"/>
                      <a:pt x="0" y="27"/>
                      <a:pt x="0" y="47"/>
                    </a:cubicBezTo>
                    <a:cubicBezTo>
                      <a:pt x="0" y="66"/>
                      <a:pt x="9" y="83"/>
                      <a:pt x="24" y="94"/>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59" name="Freeform 1224"/>
              <p:cNvSpPr>
                <a:spLocks/>
              </p:cNvSpPr>
              <p:nvPr/>
            </p:nvSpPr>
            <p:spPr bwMode="auto">
              <a:xfrm>
                <a:off x="4829175" y="5705476"/>
                <a:ext cx="41275" cy="190500"/>
              </a:xfrm>
              <a:custGeom>
                <a:avLst/>
                <a:gdLst>
                  <a:gd name="T0" fmla="*/ 27 w 28"/>
                  <a:gd name="T1" fmla="*/ 130 h 130"/>
                  <a:gd name="T2" fmla="*/ 0 w 28"/>
                  <a:gd name="T3" fmla="*/ 65 h 130"/>
                  <a:gd name="T4" fmla="*/ 28 w 28"/>
                  <a:gd name="T5" fmla="*/ 0 h 130"/>
                </a:gdLst>
                <a:ahLst/>
                <a:cxnLst>
                  <a:cxn ang="0">
                    <a:pos x="T0" y="T1"/>
                  </a:cxn>
                  <a:cxn ang="0">
                    <a:pos x="T2" y="T3"/>
                  </a:cxn>
                  <a:cxn ang="0">
                    <a:pos x="T4" y="T5"/>
                  </a:cxn>
                </a:cxnLst>
                <a:rect l="0" t="0" r="r" b="b"/>
                <a:pathLst>
                  <a:path w="28" h="130">
                    <a:moveTo>
                      <a:pt x="27" y="130"/>
                    </a:moveTo>
                    <a:cubicBezTo>
                      <a:pt x="10" y="113"/>
                      <a:pt x="0" y="90"/>
                      <a:pt x="0" y="65"/>
                    </a:cubicBezTo>
                    <a:cubicBezTo>
                      <a:pt x="0" y="39"/>
                      <a:pt x="11" y="16"/>
                      <a:pt x="28"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0" name="Freeform 1225"/>
              <p:cNvSpPr>
                <a:spLocks/>
              </p:cNvSpPr>
              <p:nvPr/>
            </p:nvSpPr>
            <p:spPr bwMode="auto">
              <a:xfrm>
                <a:off x="4779963" y="5678488"/>
                <a:ext cx="46038" cy="242888"/>
              </a:xfrm>
              <a:custGeom>
                <a:avLst/>
                <a:gdLst>
                  <a:gd name="T0" fmla="*/ 31 w 32"/>
                  <a:gd name="T1" fmla="*/ 165 h 165"/>
                  <a:gd name="T2" fmla="*/ 0 w 32"/>
                  <a:gd name="T3" fmla="*/ 82 h 165"/>
                  <a:gd name="T4" fmla="*/ 32 w 32"/>
                  <a:gd name="T5" fmla="*/ 0 h 165"/>
                </a:gdLst>
                <a:ahLst/>
                <a:cxnLst>
                  <a:cxn ang="0">
                    <a:pos x="T0" y="T1"/>
                  </a:cxn>
                  <a:cxn ang="0">
                    <a:pos x="T2" y="T3"/>
                  </a:cxn>
                  <a:cxn ang="0">
                    <a:pos x="T4" y="T5"/>
                  </a:cxn>
                </a:cxnLst>
                <a:rect l="0" t="0" r="r" b="b"/>
                <a:pathLst>
                  <a:path w="32" h="165">
                    <a:moveTo>
                      <a:pt x="31" y="165"/>
                    </a:moveTo>
                    <a:cubicBezTo>
                      <a:pt x="12" y="143"/>
                      <a:pt x="0" y="114"/>
                      <a:pt x="0" y="82"/>
                    </a:cubicBezTo>
                    <a:cubicBezTo>
                      <a:pt x="0" y="51"/>
                      <a:pt x="12" y="22"/>
                      <a:pt x="32"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61" name="Freeform 1226"/>
              <p:cNvSpPr>
                <a:spLocks/>
              </p:cNvSpPr>
              <p:nvPr/>
            </p:nvSpPr>
            <p:spPr bwMode="auto">
              <a:xfrm>
                <a:off x="4724400" y="5651501"/>
                <a:ext cx="57150" cy="295275"/>
              </a:xfrm>
              <a:custGeom>
                <a:avLst/>
                <a:gdLst>
                  <a:gd name="T0" fmla="*/ 38 w 39"/>
                  <a:gd name="T1" fmla="*/ 202 h 202"/>
                  <a:gd name="T2" fmla="*/ 1 w 39"/>
                  <a:gd name="T3" fmla="*/ 101 h 202"/>
                  <a:gd name="T4" fmla="*/ 39 w 39"/>
                  <a:gd name="T5" fmla="*/ 0 h 202"/>
                </a:gdLst>
                <a:ahLst/>
                <a:cxnLst>
                  <a:cxn ang="0">
                    <a:pos x="T0" y="T1"/>
                  </a:cxn>
                  <a:cxn ang="0">
                    <a:pos x="T2" y="T3"/>
                  </a:cxn>
                  <a:cxn ang="0">
                    <a:pos x="T4" y="T5"/>
                  </a:cxn>
                </a:cxnLst>
                <a:rect l="0" t="0" r="r" b="b"/>
                <a:pathLst>
                  <a:path w="39" h="202">
                    <a:moveTo>
                      <a:pt x="38" y="202"/>
                    </a:moveTo>
                    <a:cubicBezTo>
                      <a:pt x="15" y="175"/>
                      <a:pt x="0" y="139"/>
                      <a:pt x="1" y="101"/>
                    </a:cubicBezTo>
                    <a:cubicBezTo>
                      <a:pt x="1" y="62"/>
                      <a:pt x="15" y="27"/>
                      <a:pt x="39"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279" name="Gruppieren 3278"/>
          <p:cNvGrpSpPr/>
          <p:nvPr/>
        </p:nvGrpSpPr>
        <p:grpSpPr>
          <a:xfrm>
            <a:off x="6238702" y="5392184"/>
            <a:ext cx="1136650" cy="811213"/>
            <a:chOff x="6238702" y="5392184"/>
            <a:chExt cx="1136650" cy="811213"/>
          </a:xfrm>
        </p:grpSpPr>
        <p:sp>
          <p:nvSpPr>
            <p:cNvPr id="3263" name="AutoShape 1228"/>
            <p:cNvSpPr>
              <a:spLocks noChangeAspect="1" noChangeArrowheads="1" noTextEdit="1"/>
            </p:cNvSpPr>
            <p:nvPr/>
          </p:nvSpPr>
          <p:spPr bwMode="auto">
            <a:xfrm>
              <a:off x="6238702" y="5392184"/>
              <a:ext cx="1136650"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4" name="Freeform 1230"/>
            <p:cNvSpPr>
              <a:spLocks/>
            </p:cNvSpPr>
            <p:nvPr/>
          </p:nvSpPr>
          <p:spPr bwMode="auto">
            <a:xfrm>
              <a:off x="6243465" y="5822397"/>
              <a:ext cx="804863" cy="376238"/>
            </a:xfrm>
            <a:custGeom>
              <a:avLst/>
              <a:gdLst>
                <a:gd name="T0" fmla="*/ 507 w 507"/>
                <a:gd name="T1" fmla="*/ 0 h 237"/>
                <a:gd name="T2" fmla="*/ 486 w 507"/>
                <a:gd name="T3" fmla="*/ 0 h 237"/>
                <a:gd name="T4" fmla="*/ 422 w 507"/>
                <a:gd name="T5" fmla="*/ 63 h 237"/>
                <a:gd name="T6" fmla="*/ 406 w 507"/>
                <a:gd name="T7" fmla="*/ 63 h 237"/>
                <a:gd name="T8" fmla="*/ 406 w 507"/>
                <a:gd name="T9" fmla="*/ 0 h 237"/>
                <a:gd name="T10" fmla="*/ 384 w 507"/>
                <a:gd name="T11" fmla="*/ 0 h 237"/>
                <a:gd name="T12" fmla="*/ 321 w 507"/>
                <a:gd name="T13" fmla="*/ 63 h 237"/>
                <a:gd name="T14" fmla="*/ 304 w 507"/>
                <a:gd name="T15" fmla="*/ 63 h 237"/>
                <a:gd name="T16" fmla="*/ 304 w 507"/>
                <a:gd name="T17" fmla="*/ 0 h 237"/>
                <a:gd name="T18" fmla="*/ 283 w 507"/>
                <a:gd name="T19" fmla="*/ 0 h 237"/>
                <a:gd name="T20" fmla="*/ 219 w 507"/>
                <a:gd name="T21" fmla="*/ 63 h 237"/>
                <a:gd name="T22" fmla="*/ 203 w 507"/>
                <a:gd name="T23" fmla="*/ 63 h 237"/>
                <a:gd name="T24" fmla="*/ 203 w 507"/>
                <a:gd name="T25" fmla="*/ 0 h 237"/>
                <a:gd name="T26" fmla="*/ 181 w 507"/>
                <a:gd name="T27" fmla="*/ 0 h 237"/>
                <a:gd name="T28" fmla="*/ 118 w 507"/>
                <a:gd name="T29" fmla="*/ 63 h 237"/>
                <a:gd name="T30" fmla="*/ 101 w 507"/>
                <a:gd name="T31" fmla="*/ 63 h 237"/>
                <a:gd name="T32" fmla="*/ 101 w 507"/>
                <a:gd name="T33" fmla="*/ 0 h 237"/>
                <a:gd name="T34" fmla="*/ 80 w 507"/>
                <a:gd name="T35" fmla="*/ 0 h 237"/>
                <a:gd name="T36" fmla="*/ 16 w 507"/>
                <a:gd name="T37" fmla="*/ 63 h 237"/>
                <a:gd name="T38" fmla="*/ 0 w 507"/>
                <a:gd name="T39" fmla="*/ 63 h 237"/>
                <a:gd name="T40" fmla="*/ 0 w 507"/>
                <a:gd name="T41" fmla="*/ 237 h 237"/>
                <a:gd name="T42" fmla="*/ 507 w 507"/>
                <a:gd name="T43" fmla="*/ 237 h 237"/>
                <a:gd name="T44" fmla="*/ 507 w 507"/>
                <a:gd name="T4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7" h="237">
                  <a:moveTo>
                    <a:pt x="507" y="0"/>
                  </a:moveTo>
                  <a:lnTo>
                    <a:pt x="486" y="0"/>
                  </a:lnTo>
                  <a:lnTo>
                    <a:pt x="422" y="63"/>
                  </a:lnTo>
                  <a:lnTo>
                    <a:pt x="406" y="63"/>
                  </a:lnTo>
                  <a:lnTo>
                    <a:pt x="406" y="0"/>
                  </a:lnTo>
                  <a:lnTo>
                    <a:pt x="384" y="0"/>
                  </a:lnTo>
                  <a:lnTo>
                    <a:pt x="321" y="63"/>
                  </a:lnTo>
                  <a:lnTo>
                    <a:pt x="304" y="63"/>
                  </a:lnTo>
                  <a:lnTo>
                    <a:pt x="304" y="0"/>
                  </a:lnTo>
                  <a:lnTo>
                    <a:pt x="283" y="0"/>
                  </a:lnTo>
                  <a:lnTo>
                    <a:pt x="219" y="63"/>
                  </a:lnTo>
                  <a:lnTo>
                    <a:pt x="203" y="63"/>
                  </a:lnTo>
                  <a:lnTo>
                    <a:pt x="203" y="0"/>
                  </a:lnTo>
                  <a:lnTo>
                    <a:pt x="181" y="0"/>
                  </a:lnTo>
                  <a:lnTo>
                    <a:pt x="118" y="63"/>
                  </a:lnTo>
                  <a:lnTo>
                    <a:pt x="101" y="63"/>
                  </a:lnTo>
                  <a:lnTo>
                    <a:pt x="101" y="0"/>
                  </a:lnTo>
                  <a:lnTo>
                    <a:pt x="80" y="0"/>
                  </a:lnTo>
                  <a:lnTo>
                    <a:pt x="16" y="63"/>
                  </a:lnTo>
                  <a:lnTo>
                    <a:pt x="0" y="63"/>
                  </a:lnTo>
                  <a:lnTo>
                    <a:pt x="0" y="237"/>
                  </a:lnTo>
                  <a:lnTo>
                    <a:pt x="507" y="237"/>
                  </a:lnTo>
                  <a:lnTo>
                    <a:pt x="507" y="0"/>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5" name="Rectangle 1231"/>
            <p:cNvSpPr>
              <a:spLocks noChangeArrowheads="1"/>
            </p:cNvSpPr>
            <p:nvPr/>
          </p:nvSpPr>
          <p:spPr bwMode="auto">
            <a:xfrm>
              <a:off x="6321252"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6" name="Rectangle 1232"/>
            <p:cNvSpPr>
              <a:spLocks noChangeArrowheads="1"/>
            </p:cNvSpPr>
            <p:nvPr/>
          </p:nvSpPr>
          <p:spPr bwMode="auto">
            <a:xfrm>
              <a:off x="6422852"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7" name="Rectangle 1233"/>
            <p:cNvSpPr>
              <a:spLocks noChangeArrowheads="1"/>
            </p:cNvSpPr>
            <p:nvPr/>
          </p:nvSpPr>
          <p:spPr bwMode="auto">
            <a:xfrm>
              <a:off x="6526040" y="598273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8" name="Rectangle 1234"/>
            <p:cNvSpPr>
              <a:spLocks noChangeArrowheads="1"/>
            </p:cNvSpPr>
            <p:nvPr/>
          </p:nvSpPr>
          <p:spPr bwMode="auto">
            <a:xfrm>
              <a:off x="6629227" y="598273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69" name="Rectangle 1235"/>
            <p:cNvSpPr>
              <a:spLocks noChangeArrowheads="1"/>
            </p:cNvSpPr>
            <p:nvPr/>
          </p:nvSpPr>
          <p:spPr bwMode="auto">
            <a:xfrm>
              <a:off x="6321252"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0" name="Rectangle 1236"/>
            <p:cNvSpPr>
              <a:spLocks noChangeArrowheads="1"/>
            </p:cNvSpPr>
            <p:nvPr/>
          </p:nvSpPr>
          <p:spPr bwMode="auto">
            <a:xfrm>
              <a:off x="6422852"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1" name="Rectangle 1237"/>
            <p:cNvSpPr>
              <a:spLocks noChangeArrowheads="1"/>
            </p:cNvSpPr>
            <p:nvPr/>
          </p:nvSpPr>
          <p:spPr bwMode="auto">
            <a:xfrm>
              <a:off x="6526040" y="6052584"/>
              <a:ext cx="103188"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2" name="Rectangle 1238"/>
            <p:cNvSpPr>
              <a:spLocks noChangeArrowheads="1"/>
            </p:cNvSpPr>
            <p:nvPr/>
          </p:nvSpPr>
          <p:spPr bwMode="auto">
            <a:xfrm>
              <a:off x="6629227" y="6052584"/>
              <a:ext cx="101600" cy="69850"/>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273" name="Freeform 1239"/>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4" name="Freeform 1240"/>
            <p:cNvSpPr>
              <a:spLocks/>
            </p:cNvSpPr>
            <p:nvPr/>
          </p:nvSpPr>
          <p:spPr bwMode="auto">
            <a:xfrm>
              <a:off x="7048327" y="5398534"/>
              <a:ext cx="320675" cy="800100"/>
            </a:xfrm>
            <a:custGeom>
              <a:avLst/>
              <a:gdLst>
                <a:gd name="T0" fmla="*/ 175 w 202"/>
                <a:gd name="T1" fmla="*/ 361 h 504"/>
                <a:gd name="T2" fmla="*/ 102 w 202"/>
                <a:gd name="T3" fmla="*/ 361 h 504"/>
                <a:gd name="T4" fmla="*/ 93 w 202"/>
                <a:gd name="T5" fmla="*/ 0 h 504"/>
                <a:gd name="T6" fmla="*/ 49 w 202"/>
                <a:gd name="T7" fmla="*/ 0 h 504"/>
                <a:gd name="T8" fmla="*/ 40 w 202"/>
                <a:gd name="T9" fmla="*/ 361 h 504"/>
                <a:gd name="T10" fmla="*/ 0 w 202"/>
                <a:gd name="T11" fmla="*/ 361 h 504"/>
                <a:gd name="T12" fmla="*/ 0 w 202"/>
                <a:gd name="T13" fmla="*/ 504 h 504"/>
                <a:gd name="T14" fmla="*/ 202 w 202"/>
                <a:gd name="T15" fmla="*/ 504 h 504"/>
                <a:gd name="T16" fmla="*/ 202 w 202"/>
                <a:gd name="T17" fmla="*/ 388 h 504"/>
                <a:gd name="T18" fmla="*/ 175 w 202"/>
                <a:gd name="T19" fmla="*/ 36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504">
                  <a:moveTo>
                    <a:pt x="175" y="361"/>
                  </a:moveTo>
                  <a:lnTo>
                    <a:pt x="102" y="361"/>
                  </a:lnTo>
                  <a:lnTo>
                    <a:pt x="93" y="0"/>
                  </a:lnTo>
                  <a:lnTo>
                    <a:pt x="49" y="0"/>
                  </a:lnTo>
                  <a:lnTo>
                    <a:pt x="40" y="361"/>
                  </a:lnTo>
                  <a:lnTo>
                    <a:pt x="0" y="361"/>
                  </a:lnTo>
                  <a:lnTo>
                    <a:pt x="0" y="504"/>
                  </a:lnTo>
                  <a:lnTo>
                    <a:pt x="202" y="504"/>
                  </a:lnTo>
                  <a:lnTo>
                    <a:pt x="202" y="388"/>
                  </a:lnTo>
                  <a:lnTo>
                    <a:pt x="175" y="361"/>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93015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79" name="Gruppieren 178"/>
          <p:cNvGrpSpPr/>
          <p:nvPr/>
        </p:nvGrpSpPr>
        <p:grpSpPr>
          <a:xfrm>
            <a:off x="3211513" y="2065338"/>
            <a:ext cx="1982788" cy="1157287"/>
            <a:chOff x="2870200" y="2065338"/>
            <a:chExt cx="1982788" cy="1157287"/>
          </a:xfrm>
        </p:grpSpPr>
        <p:sp>
          <p:nvSpPr>
            <p:cNvPr id="1066" name="Freeform 20"/>
            <p:cNvSpPr>
              <a:spLocks/>
            </p:cNvSpPr>
            <p:nvPr/>
          </p:nvSpPr>
          <p:spPr bwMode="auto">
            <a:xfrm>
              <a:off x="2870200" y="2065338"/>
              <a:ext cx="1119188" cy="904875"/>
            </a:xfrm>
            <a:custGeom>
              <a:avLst/>
              <a:gdLst>
                <a:gd name="T0" fmla="*/ 463 w 857"/>
                <a:gd name="T1" fmla="*/ 498 h 692"/>
                <a:gd name="T2" fmla="*/ 528 w 857"/>
                <a:gd name="T3" fmla="*/ 611 h 692"/>
                <a:gd name="T4" fmla="*/ 528 w 857"/>
                <a:gd name="T5" fmla="*/ 611 h 692"/>
                <a:gd name="T6" fmla="*/ 668 w 857"/>
                <a:gd name="T7" fmla="*/ 692 h 692"/>
                <a:gd name="T8" fmla="*/ 857 w 857"/>
                <a:gd name="T9" fmla="*/ 692 h 692"/>
                <a:gd name="T10" fmla="*/ 857 w 857"/>
                <a:gd name="T11" fmla="*/ 649 h 692"/>
                <a:gd name="T12" fmla="*/ 668 w 857"/>
                <a:gd name="T13" fmla="*/ 649 h 692"/>
                <a:gd name="T14" fmla="*/ 565 w 857"/>
                <a:gd name="T15" fmla="*/ 590 h 692"/>
                <a:gd name="T16" fmla="*/ 541 w 857"/>
                <a:gd name="T17" fmla="*/ 548 h 692"/>
                <a:gd name="T18" fmla="*/ 541 w 857"/>
                <a:gd name="T19" fmla="*/ 482 h 692"/>
                <a:gd name="T20" fmla="*/ 586 w 857"/>
                <a:gd name="T21" fmla="*/ 437 h 692"/>
                <a:gd name="T22" fmla="*/ 586 w 857"/>
                <a:gd name="T23" fmla="*/ 419 h 692"/>
                <a:gd name="T24" fmla="*/ 644 w 857"/>
                <a:gd name="T25" fmla="*/ 361 h 692"/>
                <a:gd name="T26" fmla="*/ 644 w 857"/>
                <a:gd name="T27" fmla="*/ 317 h 692"/>
                <a:gd name="T28" fmla="*/ 620 w 857"/>
                <a:gd name="T29" fmla="*/ 293 h 692"/>
                <a:gd name="T30" fmla="*/ 654 w 857"/>
                <a:gd name="T31" fmla="*/ 260 h 692"/>
                <a:gd name="T32" fmla="*/ 654 w 857"/>
                <a:gd name="T33" fmla="*/ 190 h 692"/>
                <a:gd name="T34" fmla="*/ 599 w 857"/>
                <a:gd name="T35" fmla="*/ 136 h 692"/>
                <a:gd name="T36" fmla="*/ 599 w 857"/>
                <a:gd name="T37" fmla="*/ 117 h 692"/>
                <a:gd name="T38" fmla="*/ 503 w 857"/>
                <a:gd name="T39" fmla="*/ 21 h 692"/>
                <a:gd name="T40" fmla="*/ 391 w 857"/>
                <a:gd name="T41" fmla="*/ 21 h 692"/>
                <a:gd name="T42" fmla="*/ 377 w 857"/>
                <a:gd name="T43" fmla="*/ 35 h 692"/>
                <a:gd name="T44" fmla="*/ 341 w 857"/>
                <a:gd name="T45" fmla="*/ 0 h 692"/>
                <a:gd name="T46" fmla="*/ 257 w 857"/>
                <a:gd name="T47" fmla="*/ 0 h 692"/>
                <a:gd name="T48" fmla="*/ 216 w 857"/>
                <a:gd name="T49" fmla="*/ 41 h 692"/>
                <a:gd name="T50" fmla="*/ 170 w 857"/>
                <a:gd name="T51" fmla="*/ 41 h 692"/>
                <a:gd name="T52" fmla="*/ 90 w 857"/>
                <a:gd name="T53" fmla="*/ 121 h 692"/>
                <a:gd name="T54" fmla="*/ 67 w 857"/>
                <a:gd name="T55" fmla="*/ 121 h 692"/>
                <a:gd name="T56" fmla="*/ 18 w 857"/>
                <a:gd name="T57" fmla="*/ 170 h 692"/>
                <a:gd name="T58" fmla="*/ 18 w 857"/>
                <a:gd name="T59" fmla="*/ 265 h 692"/>
                <a:gd name="T60" fmla="*/ 0 w 857"/>
                <a:gd name="T61" fmla="*/ 283 h 692"/>
                <a:gd name="T62" fmla="*/ 0 w 857"/>
                <a:gd name="T63" fmla="*/ 342 h 692"/>
                <a:gd name="T64" fmla="*/ 41 w 857"/>
                <a:gd name="T65" fmla="*/ 383 h 692"/>
                <a:gd name="T66" fmla="*/ 72 w 857"/>
                <a:gd name="T67" fmla="*/ 383 h 692"/>
                <a:gd name="T68" fmla="*/ 114 w 857"/>
                <a:gd name="T69" fmla="*/ 426 h 692"/>
                <a:gd name="T70" fmla="*/ 174 w 857"/>
                <a:gd name="T71" fmla="*/ 426 h 692"/>
                <a:gd name="T72" fmla="*/ 204 w 857"/>
                <a:gd name="T73" fmla="*/ 395 h 692"/>
                <a:gd name="T74" fmla="*/ 253 w 857"/>
                <a:gd name="T75" fmla="*/ 443 h 692"/>
                <a:gd name="T76" fmla="*/ 335 w 857"/>
                <a:gd name="T77" fmla="*/ 443 h 692"/>
                <a:gd name="T78" fmla="*/ 358 w 857"/>
                <a:gd name="T79" fmla="*/ 420 h 692"/>
                <a:gd name="T80" fmla="*/ 409 w 857"/>
                <a:gd name="T81" fmla="*/ 472 h 692"/>
                <a:gd name="T82" fmla="*/ 436 w 857"/>
                <a:gd name="T83" fmla="*/ 472 h 692"/>
                <a:gd name="T84" fmla="*/ 463 w 857"/>
                <a:gd name="T85" fmla="*/ 49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7" h="692">
                  <a:moveTo>
                    <a:pt x="463" y="498"/>
                  </a:moveTo>
                  <a:cubicBezTo>
                    <a:pt x="528" y="611"/>
                    <a:pt x="528" y="611"/>
                    <a:pt x="528" y="611"/>
                  </a:cubicBezTo>
                  <a:cubicBezTo>
                    <a:pt x="528" y="611"/>
                    <a:pt x="528" y="611"/>
                    <a:pt x="528" y="611"/>
                  </a:cubicBezTo>
                  <a:cubicBezTo>
                    <a:pt x="557" y="661"/>
                    <a:pt x="610" y="692"/>
                    <a:pt x="668" y="692"/>
                  </a:cubicBezTo>
                  <a:cubicBezTo>
                    <a:pt x="857" y="692"/>
                    <a:pt x="857" y="692"/>
                    <a:pt x="857" y="692"/>
                  </a:cubicBezTo>
                  <a:cubicBezTo>
                    <a:pt x="857" y="649"/>
                    <a:pt x="857" y="649"/>
                    <a:pt x="857" y="649"/>
                  </a:cubicBezTo>
                  <a:cubicBezTo>
                    <a:pt x="668" y="649"/>
                    <a:pt x="668" y="649"/>
                    <a:pt x="668" y="649"/>
                  </a:cubicBezTo>
                  <a:cubicBezTo>
                    <a:pt x="626" y="649"/>
                    <a:pt x="586" y="626"/>
                    <a:pt x="565" y="590"/>
                  </a:cubicBezTo>
                  <a:cubicBezTo>
                    <a:pt x="541" y="548"/>
                    <a:pt x="541" y="548"/>
                    <a:pt x="541" y="548"/>
                  </a:cubicBezTo>
                  <a:cubicBezTo>
                    <a:pt x="541" y="482"/>
                    <a:pt x="541" y="482"/>
                    <a:pt x="541" y="482"/>
                  </a:cubicBezTo>
                  <a:cubicBezTo>
                    <a:pt x="586" y="437"/>
                    <a:pt x="586" y="437"/>
                    <a:pt x="586" y="437"/>
                  </a:cubicBezTo>
                  <a:cubicBezTo>
                    <a:pt x="586" y="419"/>
                    <a:pt x="586" y="419"/>
                    <a:pt x="586" y="419"/>
                  </a:cubicBezTo>
                  <a:cubicBezTo>
                    <a:pt x="644" y="361"/>
                    <a:pt x="644" y="361"/>
                    <a:pt x="644" y="361"/>
                  </a:cubicBezTo>
                  <a:cubicBezTo>
                    <a:pt x="644" y="317"/>
                    <a:pt x="644" y="317"/>
                    <a:pt x="644" y="317"/>
                  </a:cubicBezTo>
                  <a:cubicBezTo>
                    <a:pt x="620" y="293"/>
                    <a:pt x="620" y="293"/>
                    <a:pt x="620" y="293"/>
                  </a:cubicBezTo>
                  <a:cubicBezTo>
                    <a:pt x="654" y="260"/>
                    <a:pt x="654" y="260"/>
                    <a:pt x="654" y="260"/>
                  </a:cubicBezTo>
                  <a:cubicBezTo>
                    <a:pt x="654" y="190"/>
                    <a:pt x="654" y="190"/>
                    <a:pt x="654" y="190"/>
                  </a:cubicBezTo>
                  <a:cubicBezTo>
                    <a:pt x="599" y="136"/>
                    <a:pt x="599" y="136"/>
                    <a:pt x="599" y="136"/>
                  </a:cubicBezTo>
                  <a:cubicBezTo>
                    <a:pt x="599" y="117"/>
                    <a:pt x="599" y="117"/>
                    <a:pt x="599" y="117"/>
                  </a:cubicBezTo>
                  <a:cubicBezTo>
                    <a:pt x="503" y="21"/>
                    <a:pt x="503" y="21"/>
                    <a:pt x="503" y="21"/>
                  </a:cubicBezTo>
                  <a:cubicBezTo>
                    <a:pt x="391" y="21"/>
                    <a:pt x="391" y="21"/>
                    <a:pt x="391" y="21"/>
                  </a:cubicBezTo>
                  <a:cubicBezTo>
                    <a:pt x="377" y="35"/>
                    <a:pt x="377" y="35"/>
                    <a:pt x="377" y="35"/>
                  </a:cubicBezTo>
                  <a:cubicBezTo>
                    <a:pt x="341" y="0"/>
                    <a:pt x="341" y="0"/>
                    <a:pt x="341" y="0"/>
                  </a:cubicBezTo>
                  <a:cubicBezTo>
                    <a:pt x="257" y="0"/>
                    <a:pt x="257" y="0"/>
                    <a:pt x="257" y="0"/>
                  </a:cubicBezTo>
                  <a:cubicBezTo>
                    <a:pt x="216" y="41"/>
                    <a:pt x="216" y="41"/>
                    <a:pt x="216" y="41"/>
                  </a:cubicBezTo>
                  <a:cubicBezTo>
                    <a:pt x="170" y="41"/>
                    <a:pt x="170" y="41"/>
                    <a:pt x="170" y="41"/>
                  </a:cubicBezTo>
                  <a:cubicBezTo>
                    <a:pt x="90" y="121"/>
                    <a:pt x="90" y="121"/>
                    <a:pt x="90" y="121"/>
                  </a:cubicBezTo>
                  <a:cubicBezTo>
                    <a:pt x="67" y="121"/>
                    <a:pt x="67" y="121"/>
                    <a:pt x="67" y="121"/>
                  </a:cubicBezTo>
                  <a:cubicBezTo>
                    <a:pt x="18" y="170"/>
                    <a:pt x="18" y="170"/>
                    <a:pt x="18" y="170"/>
                  </a:cubicBezTo>
                  <a:cubicBezTo>
                    <a:pt x="18" y="265"/>
                    <a:pt x="18" y="265"/>
                    <a:pt x="18" y="265"/>
                  </a:cubicBezTo>
                  <a:cubicBezTo>
                    <a:pt x="0" y="283"/>
                    <a:pt x="0" y="283"/>
                    <a:pt x="0" y="283"/>
                  </a:cubicBezTo>
                  <a:cubicBezTo>
                    <a:pt x="0" y="342"/>
                    <a:pt x="0" y="342"/>
                    <a:pt x="0" y="342"/>
                  </a:cubicBezTo>
                  <a:cubicBezTo>
                    <a:pt x="41" y="383"/>
                    <a:pt x="41" y="383"/>
                    <a:pt x="41" y="383"/>
                  </a:cubicBezTo>
                  <a:cubicBezTo>
                    <a:pt x="72" y="383"/>
                    <a:pt x="72" y="383"/>
                    <a:pt x="72" y="383"/>
                  </a:cubicBezTo>
                  <a:cubicBezTo>
                    <a:pt x="114" y="426"/>
                    <a:pt x="114" y="426"/>
                    <a:pt x="114" y="426"/>
                  </a:cubicBezTo>
                  <a:cubicBezTo>
                    <a:pt x="174" y="426"/>
                    <a:pt x="174" y="426"/>
                    <a:pt x="174" y="426"/>
                  </a:cubicBezTo>
                  <a:cubicBezTo>
                    <a:pt x="204" y="395"/>
                    <a:pt x="204" y="395"/>
                    <a:pt x="204" y="395"/>
                  </a:cubicBezTo>
                  <a:cubicBezTo>
                    <a:pt x="253" y="443"/>
                    <a:pt x="253" y="443"/>
                    <a:pt x="253" y="443"/>
                  </a:cubicBezTo>
                  <a:cubicBezTo>
                    <a:pt x="335" y="443"/>
                    <a:pt x="335" y="443"/>
                    <a:pt x="335" y="443"/>
                  </a:cubicBezTo>
                  <a:cubicBezTo>
                    <a:pt x="358" y="420"/>
                    <a:pt x="358" y="420"/>
                    <a:pt x="358" y="420"/>
                  </a:cubicBezTo>
                  <a:cubicBezTo>
                    <a:pt x="409" y="472"/>
                    <a:pt x="409" y="472"/>
                    <a:pt x="409" y="472"/>
                  </a:cubicBezTo>
                  <a:cubicBezTo>
                    <a:pt x="436" y="472"/>
                    <a:pt x="436" y="472"/>
                    <a:pt x="436" y="472"/>
                  </a:cubicBezTo>
                  <a:lnTo>
                    <a:pt x="463" y="49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7" name="Freeform 21"/>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 name="T6" fmla="*/ 0 w 67"/>
                <a:gd name="T7" fmla="*/ 0 h 111"/>
              </a:gdLst>
              <a:ahLst/>
              <a:cxnLst>
                <a:cxn ang="0">
                  <a:pos x="T0" y="T1"/>
                </a:cxn>
                <a:cxn ang="0">
                  <a:pos x="T2" y="T3"/>
                </a:cxn>
                <a:cxn ang="0">
                  <a:pos x="T4" y="T5"/>
                </a:cxn>
                <a:cxn ang="0">
                  <a:pos x="T6" y="T7"/>
                </a:cxn>
              </a:cxnLst>
              <a:rect l="0" t="0" r="r" b="b"/>
              <a:pathLst>
                <a:path w="67" h="111">
                  <a:moveTo>
                    <a:pt x="0" y="0"/>
                  </a:moveTo>
                  <a:lnTo>
                    <a:pt x="67" y="68"/>
                  </a:lnTo>
                  <a:lnTo>
                    <a:pt x="67" y="11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8" name="Freeform 22"/>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69" name="Freeform 23"/>
            <p:cNvSpPr>
              <a:spLocks/>
            </p:cNvSpPr>
            <p:nvPr/>
          </p:nvSpPr>
          <p:spPr bwMode="auto">
            <a:xfrm>
              <a:off x="3030538" y="2405063"/>
              <a:ext cx="106363" cy="176213"/>
            </a:xfrm>
            <a:custGeom>
              <a:avLst/>
              <a:gdLst>
                <a:gd name="T0" fmla="*/ 0 w 67"/>
                <a:gd name="T1" fmla="*/ 0 h 111"/>
                <a:gd name="T2" fmla="*/ 67 w 67"/>
                <a:gd name="T3" fmla="*/ 68 h 111"/>
                <a:gd name="T4" fmla="*/ 67 w 67"/>
                <a:gd name="T5" fmla="*/ 111 h 111"/>
              </a:gdLst>
              <a:ahLst/>
              <a:cxnLst>
                <a:cxn ang="0">
                  <a:pos x="T0" y="T1"/>
                </a:cxn>
                <a:cxn ang="0">
                  <a:pos x="T2" y="T3"/>
                </a:cxn>
                <a:cxn ang="0">
                  <a:pos x="T4" y="T5"/>
                </a:cxn>
              </a:cxnLst>
              <a:rect l="0" t="0" r="r" b="b"/>
              <a:pathLst>
                <a:path w="67" h="111">
                  <a:moveTo>
                    <a:pt x="0" y="0"/>
                  </a:moveTo>
                  <a:lnTo>
                    <a:pt x="67" y="68"/>
                  </a:lnTo>
                  <a:lnTo>
                    <a:pt x="67"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0" name="Freeform 24"/>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 name="T6" fmla="*/ 0 w 34"/>
                <a:gd name="T7" fmla="*/ 62 h 62"/>
              </a:gdLst>
              <a:ahLst/>
              <a:cxnLst>
                <a:cxn ang="0">
                  <a:pos x="T0" y="T1"/>
                </a:cxn>
                <a:cxn ang="0">
                  <a:pos x="T2" y="T3"/>
                </a:cxn>
                <a:cxn ang="0">
                  <a:pos x="T4" y="T5"/>
                </a:cxn>
                <a:cxn ang="0">
                  <a:pos x="T6" y="T7"/>
                </a:cxn>
              </a:cxnLst>
              <a:rect l="0" t="0" r="r" b="b"/>
              <a:pathLst>
                <a:path w="34" h="62">
                  <a:moveTo>
                    <a:pt x="0" y="62"/>
                  </a:moveTo>
                  <a:lnTo>
                    <a:pt x="0" y="34"/>
                  </a:lnTo>
                  <a:lnTo>
                    <a:pt x="34" y="0"/>
                  </a:lnTo>
                  <a:lnTo>
                    <a:pt x="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1" name="Freeform 25"/>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2" name="Freeform 26"/>
            <p:cNvSpPr>
              <a:spLocks/>
            </p:cNvSpPr>
            <p:nvPr/>
          </p:nvSpPr>
          <p:spPr bwMode="auto">
            <a:xfrm>
              <a:off x="3136900" y="2414588"/>
              <a:ext cx="53975" cy="98425"/>
            </a:xfrm>
            <a:custGeom>
              <a:avLst/>
              <a:gdLst>
                <a:gd name="T0" fmla="*/ 0 w 34"/>
                <a:gd name="T1" fmla="*/ 62 h 62"/>
                <a:gd name="T2" fmla="*/ 0 w 34"/>
                <a:gd name="T3" fmla="*/ 34 h 62"/>
                <a:gd name="T4" fmla="*/ 34 w 34"/>
                <a:gd name="T5" fmla="*/ 0 h 62"/>
              </a:gdLst>
              <a:ahLst/>
              <a:cxnLst>
                <a:cxn ang="0">
                  <a:pos x="T0" y="T1"/>
                </a:cxn>
                <a:cxn ang="0">
                  <a:pos x="T2" y="T3"/>
                </a:cxn>
                <a:cxn ang="0">
                  <a:pos x="T4" y="T5"/>
                </a:cxn>
              </a:cxnLst>
              <a:rect l="0" t="0" r="r" b="b"/>
              <a:pathLst>
                <a:path w="34" h="62">
                  <a:moveTo>
                    <a:pt x="0" y="62"/>
                  </a:moveTo>
                  <a:lnTo>
                    <a:pt x="0" y="34"/>
                  </a:lnTo>
                  <a:lnTo>
                    <a:pt x="34"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3" name="Freeform 27"/>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 name="T6" fmla="*/ 58 w 58"/>
                <a:gd name="T7" fmla="*/ 0 h 126"/>
              </a:gdLst>
              <a:ahLst/>
              <a:cxnLst>
                <a:cxn ang="0">
                  <a:pos x="T0" y="T1"/>
                </a:cxn>
                <a:cxn ang="0">
                  <a:pos x="T2" y="T3"/>
                </a:cxn>
                <a:cxn ang="0">
                  <a:pos x="T4" y="T5"/>
                </a:cxn>
                <a:cxn ang="0">
                  <a:pos x="T6" y="T7"/>
                </a:cxn>
              </a:cxnLst>
              <a:rect l="0" t="0" r="r" b="b"/>
              <a:pathLst>
                <a:path w="58" h="126">
                  <a:moveTo>
                    <a:pt x="58" y="0"/>
                  </a:moveTo>
                  <a:lnTo>
                    <a:pt x="0" y="59"/>
                  </a:lnTo>
                  <a:lnTo>
                    <a:pt x="0" y="126"/>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4" name="Freeform 28"/>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5" name="Freeform 29"/>
            <p:cNvSpPr>
              <a:spLocks/>
            </p:cNvSpPr>
            <p:nvPr/>
          </p:nvSpPr>
          <p:spPr bwMode="auto">
            <a:xfrm>
              <a:off x="3270250" y="2111375"/>
              <a:ext cx="92075" cy="200025"/>
            </a:xfrm>
            <a:custGeom>
              <a:avLst/>
              <a:gdLst>
                <a:gd name="T0" fmla="*/ 58 w 58"/>
                <a:gd name="T1" fmla="*/ 0 h 126"/>
                <a:gd name="T2" fmla="*/ 0 w 58"/>
                <a:gd name="T3" fmla="*/ 59 h 126"/>
                <a:gd name="T4" fmla="*/ 0 w 58"/>
                <a:gd name="T5" fmla="*/ 126 h 126"/>
              </a:gdLst>
              <a:ahLst/>
              <a:cxnLst>
                <a:cxn ang="0">
                  <a:pos x="T0" y="T1"/>
                </a:cxn>
                <a:cxn ang="0">
                  <a:pos x="T2" y="T3"/>
                </a:cxn>
                <a:cxn ang="0">
                  <a:pos x="T4" y="T5"/>
                </a:cxn>
              </a:cxnLst>
              <a:rect l="0" t="0" r="r" b="b"/>
              <a:pathLst>
                <a:path w="58" h="126">
                  <a:moveTo>
                    <a:pt x="58" y="0"/>
                  </a:moveTo>
                  <a:lnTo>
                    <a:pt x="0" y="59"/>
                  </a:lnTo>
                  <a:lnTo>
                    <a:pt x="0" y="126"/>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6" name="Line 30"/>
            <p:cNvSpPr>
              <a:spLocks noChangeShapeType="1"/>
            </p:cNvSpPr>
            <p:nvPr/>
          </p:nvSpPr>
          <p:spPr bwMode="auto">
            <a:xfrm flipH="1">
              <a:off x="3222625" y="2176463"/>
              <a:ext cx="74613"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7" name="Freeform 31"/>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 name="T6" fmla="*/ 0 w 120"/>
                <a:gd name="T7" fmla="*/ 66 h 66"/>
              </a:gdLst>
              <a:ahLst/>
              <a:cxnLst>
                <a:cxn ang="0">
                  <a:pos x="T0" y="T1"/>
                </a:cxn>
                <a:cxn ang="0">
                  <a:pos x="T2" y="T3"/>
                </a:cxn>
                <a:cxn ang="0">
                  <a:pos x="T4" y="T5"/>
                </a:cxn>
                <a:cxn ang="0">
                  <a:pos x="T6" y="T7"/>
                </a:cxn>
              </a:cxnLst>
              <a:rect l="0" t="0" r="r" b="b"/>
              <a:pathLst>
                <a:path w="120" h="66">
                  <a:moveTo>
                    <a:pt x="0" y="66"/>
                  </a:moveTo>
                  <a:lnTo>
                    <a:pt x="65" y="0"/>
                  </a:lnTo>
                  <a:lnTo>
                    <a:pt x="120" y="0"/>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8" name="Freeform 32"/>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79" name="Freeform 33"/>
            <p:cNvSpPr>
              <a:spLocks/>
            </p:cNvSpPr>
            <p:nvPr/>
          </p:nvSpPr>
          <p:spPr bwMode="auto">
            <a:xfrm>
              <a:off x="3338513" y="2509838"/>
              <a:ext cx="190500" cy="104775"/>
            </a:xfrm>
            <a:custGeom>
              <a:avLst/>
              <a:gdLst>
                <a:gd name="T0" fmla="*/ 0 w 120"/>
                <a:gd name="T1" fmla="*/ 66 h 66"/>
                <a:gd name="T2" fmla="*/ 65 w 120"/>
                <a:gd name="T3" fmla="*/ 0 h 66"/>
                <a:gd name="T4" fmla="*/ 120 w 120"/>
                <a:gd name="T5" fmla="*/ 0 h 66"/>
              </a:gdLst>
              <a:ahLst/>
              <a:cxnLst>
                <a:cxn ang="0">
                  <a:pos x="T0" y="T1"/>
                </a:cxn>
                <a:cxn ang="0">
                  <a:pos x="T2" y="T3"/>
                </a:cxn>
                <a:cxn ang="0">
                  <a:pos x="T4" y="T5"/>
                </a:cxn>
              </a:cxnLst>
              <a:rect l="0" t="0" r="r" b="b"/>
              <a:pathLst>
                <a:path w="120" h="66">
                  <a:moveTo>
                    <a:pt x="0" y="66"/>
                  </a:moveTo>
                  <a:lnTo>
                    <a:pt x="65" y="0"/>
                  </a:lnTo>
                  <a:lnTo>
                    <a:pt x="12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0" name="Freeform 34"/>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 name="T6" fmla="*/ 138 w 138"/>
                <a:gd name="T7" fmla="*/ 46 h 46"/>
              </a:gdLst>
              <a:ahLst/>
              <a:cxnLst>
                <a:cxn ang="0">
                  <a:pos x="T0" y="T1"/>
                </a:cxn>
                <a:cxn ang="0">
                  <a:pos x="T2" y="T3"/>
                </a:cxn>
                <a:cxn ang="0">
                  <a:pos x="T4" y="T5"/>
                </a:cxn>
                <a:cxn ang="0">
                  <a:pos x="T6" y="T7"/>
                </a:cxn>
              </a:cxnLst>
              <a:rect l="0" t="0" r="r" b="b"/>
              <a:pathLst>
                <a:path w="138" h="46">
                  <a:moveTo>
                    <a:pt x="138" y="46"/>
                  </a:moveTo>
                  <a:lnTo>
                    <a:pt x="91" y="0"/>
                  </a:lnTo>
                  <a:lnTo>
                    <a:pt x="0" y="0"/>
                  </a:lnTo>
                  <a:lnTo>
                    <a:pt x="13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1" name="Freeform 35"/>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3" name="Freeform 36"/>
            <p:cNvSpPr>
              <a:spLocks/>
            </p:cNvSpPr>
            <p:nvPr/>
          </p:nvSpPr>
          <p:spPr bwMode="auto">
            <a:xfrm>
              <a:off x="3460750" y="2374900"/>
              <a:ext cx="219075" cy="73025"/>
            </a:xfrm>
            <a:custGeom>
              <a:avLst/>
              <a:gdLst>
                <a:gd name="T0" fmla="*/ 138 w 138"/>
                <a:gd name="T1" fmla="*/ 46 h 46"/>
                <a:gd name="T2" fmla="*/ 91 w 138"/>
                <a:gd name="T3" fmla="*/ 0 h 46"/>
                <a:gd name="T4" fmla="*/ 0 w 138"/>
                <a:gd name="T5" fmla="*/ 0 h 46"/>
              </a:gdLst>
              <a:ahLst/>
              <a:cxnLst>
                <a:cxn ang="0">
                  <a:pos x="T0" y="T1"/>
                </a:cxn>
                <a:cxn ang="0">
                  <a:pos x="T2" y="T3"/>
                </a:cxn>
                <a:cxn ang="0">
                  <a:pos x="T4" y="T5"/>
                </a:cxn>
              </a:cxnLst>
              <a:rect l="0" t="0" r="r" b="b"/>
              <a:pathLst>
                <a:path w="138" h="46">
                  <a:moveTo>
                    <a:pt x="138" y="46"/>
                  </a:moveTo>
                  <a:lnTo>
                    <a:pt x="91" y="0"/>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4" name="Freeform 37"/>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 name="T6" fmla="*/ 15 w 15"/>
                <a:gd name="T7" fmla="*/ 76 h 76"/>
              </a:gdLst>
              <a:ahLst/>
              <a:cxnLst>
                <a:cxn ang="0">
                  <a:pos x="T0" y="T1"/>
                </a:cxn>
                <a:cxn ang="0">
                  <a:pos x="T2" y="T3"/>
                </a:cxn>
                <a:cxn ang="0">
                  <a:pos x="T4" y="T5"/>
                </a:cxn>
                <a:cxn ang="0">
                  <a:pos x="T6" y="T7"/>
                </a:cxn>
              </a:cxnLst>
              <a:rect l="0" t="0" r="r" b="b"/>
              <a:pathLst>
                <a:path w="15" h="76">
                  <a:moveTo>
                    <a:pt x="15" y="76"/>
                  </a:moveTo>
                  <a:lnTo>
                    <a:pt x="0" y="62"/>
                  </a:lnTo>
                  <a:lnTo>
                    <a:pt x="0" y="0"/>
                  </a:lnTo>
                  <a:lnTo>
                    <a:pt x="1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5" name="Freeform 38"/>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4763" cap="flat">
              <a:solidFill>
                <a:srgbClr val="DFB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86" name="Freeform 39"/>
            <p:cNvSpPr>
              <a:spLocks/>
            </p:cNvSpPr>
            <p:nvPr/>
          </p:nvSpPr>
          <p:spPr bwMode="auto">
            <a:xfrm>
              <a:off x="3581400" y="2254250"/>
              <a:ext cx="23813" cy="120650"/>
            </a:xfrm>
            <a:custGeom>
              <a:avLst/>
              <a:gdLst>
                <a:gd name="T0" fmla="*/ 15 w 15"/>
                <a:gd name="T1" fmla="*/ 76 h 76"/>
                <a:gd name="T2" fmla="*/ 0 w 15"/>
                <a:gd name="T3" fmla="*/ 62 h 76"/>
                <a:gd name="T4" fmla="*/ 0 w 15"/>
                <a:gd name="T5" fmla="*/ 0 h 76"/>
              </a:gdLst>
              <a:ahLst/>
              <a:cxnLst>
                <a:cxn ang="0">
                  <a:pos x="T0" y="T1"/>
                </a:cxn>
                <a:cxn ang="0">
                  <a:pos x="T2" y="T3"/>
                </a:cxn>
                <a:cxn ang="0">
                  <a:pos x="T4" y="T5"/>
                </a:cxn>
              </a:cxnLst>
              <a:rect l="0" t="0" r="r" b="b"/>
              <a:pathLst>
                <a:path w="15" h="76">
                  <a:moveTo>
                    <a:pt x="15" y="76"/>
                  </a:moveTo>
                  <a:lnTo>
                    <a:pt x="0" y="62"/>
                  </a:lnTo>
                  <a:lnTo>
                    <a:pt x="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1" name="Freeform 40"/>
            <p:cNvSpPr>
              <a:spLocks/>
            </p:cNvSpPr>
            <p:nvPr/>
          </p:nvSpPr>
          <p:spPr bwMode="auto">
            <a:xfrm>
              <a:off x="3800475"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8" name="Freeform 42"/>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close/>
                  <a:moveTo>
                    <a:pt x="492" y="0"/>
                  </a:moveTo>
                  <a:lnTo>
                    <a:pt x="34" y="0"/>
                  </a:lnTo>
                  <a:lnTo>
                    <a:pt x="0" y="35"/>
                  </a:lnTo>
                  <a:lnTo>
                    <a:pt x="0" y="311"/>
                  </a:lnTo>
                  <a:lnTo>
                    <a:pt x="34" y="346"/>
                  </a:lnTo>
                  <a:lnTo>
                    <a:pt x="492" y="346"/>
                  </a:lnTo>
                  <a:lnTo>
                    <a:pt x="527" y="311"/>
                  </a:lnTo>
                  <a:lnTo>
                    <a:pt x="527" y="35"/>
                  </a:lnTo>
                  <a:lnTo>
                    <a:pt x="492" y="0"/>
                  </a:lnTo>
                  <a:lnTo>
                    <a:pt x="492" y="0"/>
                  </a:lnTo>
                  <a:close/>
                </a:path>
              </a:pathLst>
            </a:custGeom>
            <a:solidFill>
              <a:srgbClr val="004077"/>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87" name="Freeform 40"/>
            <p:cNvSpPr>
              <a:spLocks/>
            </p:cNvSpPr>
            <p:nvPr/>
          </p:nvSpPr>
          <p:spPr bwMode="auto">
            <a:xfrm>
              <a:off x="3800474" y="2673350"/>
              <a:ext cx="1052513" cy="549275"/>
            </a:xfrm>
            <a:custGeom>
              <a:avLst/>
              <a:gdLst>
                <a:gd name="T0" fmla="*/ 68 w 663"/>
                <a:gd name="T1" fmla="*/ 35 h 346"/>
                <a:gd name="T2" fmla="*/ 68 w 663"/>
                <a:gd name="T3" fmla="*/ 100 h 346"/>
                <a:gd name="T4" fmla="*/ 24 w 663"/>
                <a:gd name="T5" fmla="*/ 100 h 346"/>
                <a:gd name="T6" fmla="*/ 16 w 663"/>
                <a:gd name="T7" fmla="*/ 100 h 346"/>
                <a:gd name="T8" fmla="*/ 0 w 663"/>
                <a:gd name="T9" fmla="*/ 115 h 346"/>
                <a:gd name="T10" fmla="*/ 0 w 663"/>
                <a:gd name="T11" fmla="*/ 124 h 346"/>
                <a:gd name="T12" fmla="*/ 0 w 663"/>
                <a:gd name="T13" fmla="*/ 231 h 346"/>
                <a:gd name="T14" fmla="*/ 16 w 663"/>
                <a:gd name="T15" fmla="*/ 245 h 346"/>
                <a:gd name="T16" fmla="*/ 68 w 663"/>
                <a:gd name="T17" fmla="*/ 245 h 346"/>
                <a:gd name="T18" fmla="*/ 68 w 663"/>
                <a:gd name="T19" fmla="*/ 311 h 346"/>
                <a:gd name="T20" fmla="*/ 102 w 663"/>
                <a:gd name="T21" fmla="*/ 346 h 346"/>
                <a:gd name="T22" fmla="*/ 560 w 663"/>
                <a:gd name="T23" fmla="*/ 346 h 346"/>
                <a:gd name="T24" fmla="*/ 595 w 663"/>
                <a:gd name="T25" fmla="*/ 311 h 346"/>
                <a:gd name="T26" fmla="*/ 595 w 663"/>
                <a:gd name="T27" fmla="*/ 245 h 346"/>
                <a:gd name="T28" fmla="*/ 646 w 663"/>
                <a:gd name="T29" fmla="*/ 245 h 346"/>
                <a:gd name="T30" fmla="*/ 663 w 663"/>
                <a:gd name="T31" fmla="*/ 231 h 346"/>
                <a:gd name="T32" fmla="*/ 663 w 663"/>
                <a:gd name="T33" fmla="*/ 124 h 346"/>
                <a:gd name="T34" fmla="*/ 663 w 663"/>
                <a:gd name="T35" fmla="*/ 115 h 346"/>
                <a:gd name="T36" fmla="*/ 646 w 663"/>
                <a:gd name="T37" fmla="*/ 100 h 346"/>
                <a:gd name="T38" fmla="*/ 638 w 663"/>
                <a:gd name="T39" fmla="*/ 100 h 346"/>
                <a:gd name="T40" fmla="*/ 595 w 663"/>
                <a:gd name="T41" fmla="*/ 100 h 346"/>
                <a:gd name="T42" fmla="*/ 595 w 663"/>
                <a:gd name="T43" fmla="*/ 35 h 346"/>
                <a:gd name="T44" fmla="*/ 560 w 663"/>
                <a:gd name="T45" fmla="*/ 0 h 346"/>
                <a:gd name="T46" fmla="*/ 102 w 663"/>
                <a:gd name="T47" fmla="*/ 0 h 346"/>
                <a:gd name="T48" fmla="*/ 68 w 663"/>
                <a:gd name="T49" fmla="*/ 3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346">
                  <a:moveTo>
                    <a:pt x="68" y="35"/>
                  </a:moveTo>
                  <a:lnTo>
                    <a:pt x="68" y="100"/>
                  </a:lnTo>
                  <a:lnTo>
                    <a:pt x="24" y="100"/>
                  </a:lnTo>
                  <a:lnTo>
                    <a:pt x="16" y="100"/>
                  </a:lnTo>
                  <a:lnTo>
                    <a:pt x="0" y="115"/>
                  </a:lnTo>
                  <a:lnTo>
                    <a:pt x="0" y="124"/>
                  </a:lnTo>
                  <a:lnTo>
                    <a:pt x="0" y="231"/>
                  </a:lnTo>
                  <a:lnTo>
                    <a:pt x="16" y="245"/>
                  </a:lnTo>
                  <a:lnTo>
                    <a:pt x="68" y="245"/>
                  </a:lnTo>
                  <a:lnTo>
                    <a:pt x="68" y="311"/>
                  </a:lnTo>
                  <a:lnTo>
                    <a:pt x="102" y="346"/>
                  </a:lnTo>
                  <a:lnTo>
                    <a:pt x="560" y="346"/>
                  </a:lnTo>
                  <a:lnTo>
                    <a:pt x="595" y="311"/>
                  </a:lnTo>
                  <a:lnTo>
                    <a:pt x="595" y="245"/>
                  </a:lnTo>
                  <a:lnTo>
                    <a:pt x="646" y="245"/>
                  </a:lnTo>
                  <a:lnTo>
                    <a:pt x="663" y="231"/>
                  </a:lnTo>
                  <a:lnTo>
                    <a:pt x="663" y="124"/>
                  </a:lnTo>
                  <a:lnTo>
                    <a:pt x="663" y="115"/>
                  </a:lnTo>
                  <a:lnTo>
                    <a:pt x="646" y="100"/>
                  </a:lnTo>
                  <a:lnTo>
                    <a:pt x="638" y="100"/>
                  </a:lnTo>
                  <a:lnTo>
                    <a:pt x="595" y="100"/>
                  </a:lnTo>
                  <a:lnTo>
                    <a:pt x="595" y="35"/>
                  </a:lnTo>
                  <a:lnTo>
                    <a:pt x="560" y="0"/>
                  </a:lnTo>
                  <a:lnTo>
                    <a:pt x="102" y="0"/>
                  </a:lnTo>
                  <a:lnTo>
                    <a:pt x="68" y="35"/>
                  </a:lnTo>
                  <a:close/>
                </a:path>
              </a:pathLst>
            </a:custGeom>
            <a:noFill/>
            <a:ln w="12700" cap="flat" cmpd="sng">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6" name="Freeform 43"/>
            <p:cNvSpPr>
              <a:spLocks noEditPoints="1"/>
            </p:cNvSpPr>
            <p:nvPr/>
          </p:nvSpPr>
          <p:spPr bwMode="auto">
            <a:xfrm>
              <a:off x="3908425" y="2673350"/>
              <a:ext cx="836613" cy="549275"/>
            </a:xfrm>
            <a:custGeom>
              <a:avLst/>
              <a:gdLst>
                <a:gd name="T0" fmla="*/ 490 w 527"/>
                <a:gd name="T1" fmla="*/ 3 h 346"/>
                <a:gd name="T2" fmla="*/ 523 w 527"/>
                <a:gd name="T3" fmla="*/ 36 h 346"/>
                <a:gd name="T4" fmla="*/ 523 w 527"/>
                <a:gd name="T5" fmla="*/ 310 h 346"/>
                <a:gd name="T6" fmla="*/ 490 w 527"/>
                <a:gd name="T7" fmla="*/ 343 h 346"/>
                <a:gd name="T8" fmla="*/ 36 w 527"/>
                <a:gd name="T9" fmla="*/ 343 h 346"/>
                <a:gd name="T10" fmla="*/ 3 w 527"/>
                <a:gd name="T11" fmla="*/ 310 h 346"/>
                <a:gd name="T12" fmla="*/ 3 w 527"/>
                <a:gd name="T13" fmla="*/ 36 h 346"/>
                <a:gd name="T14" fmla="*/ 36 w 527"/>
                <a:gd name="T15" fmla="*/ 3 h 346"/>
                <a:gd name="T16" fmla="*/ 490 w 527"/>
                <a:gd name="T17" fmla="*/ 3 h 346"/>
                <a:gd name="T18" fmla="*/ 492 w 527"/>
                <a:gd name="T19" fmla="*/ 0 h 346"/>
                <a:gd name="T20" fmla="*/ 34 w 527"/>
                <a:gd name="T21" fmla="*/ 0 h 346"/>
                <a:gd name="T22" fmla="*/ 0 w 527"/>
                <a:gd name="T23" fmla="*/ 35 h 346"/>
                <a:gd name="T24" fmla="*/ 0 w 527"/>
                <a:gd name="T25" fmla="*/ 311 h 346"/>
                <a:gd name="T26" fmla="*/ 34 w 527"/>
                <a:gd name="T27" fmla="*/ 346 h 346"/>
                <a:gd name="T28" fmla="*/ 492 w 527"/>
                <a:gd name="T29" fmla="*/ 346 h 346"/>
                <a:gd name="T30" fmla="*/ 527 w 527"/>
                <a:gd name="T31" fmla="*/ 311 h 346"/>
                <a:gd name="T32" fmla="*/ 527 w 527"/>
                <a:gd name="T33" fmla="*/ 35 h 346"/>
                <a:gd name="T34" fmla="*/ 492 w 527"/>
                <a:gd name="T35" fmla="*/ 0 h 346"/>
                <a:gd name="T36" fmla="*/ 492 w 527"/>
                <a:gd name="T3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346">
                  <a:moveTo>
                    <a:pt x="490" y="3"/>
                  </a:moveTo>
                  <a:lnTo>
                    <a:pt x="523" y="36"/>
                  </a:lnTo>
                  <a:lnTo>
                    <a:pt x="523" y="310"/>
                  </a:lnTo>
                  <a:lnTo>
                    <a:pt x="490" y="343"/>
                  </a:lnTo>
                  <a:lnTo>
                    <a:pt x="36" y="343"/>
                  </a:lnTo>
                  <a:lnTo>
                    <a:pt x="3" y="310"/>
                  </a:lnTo>
                  <a:lnTo>
                    <a:pt x="3" y="36"/>
                  </a:lnTo>
                  <a:lnTo>
                    <a:pt x="36" y="3"/>
                  </a:lnTo>
                  <a:lnTo>
                    <a:pt x="490" y="3"/>
                  </a:lnTo>
                  <a:moveTo>
                    <a:pt x="492" y="0"/>
                  </a:moveTo>
                  <a:lnTo>
                    <a:pt x="34" y="0"/>
                  </a:lnTo>
                  <a:lnTo>
                    <a:pt x="0" y="35"/>
                  </a:lnTo>
                  <a:lnTo>
                    <a:pt x="0" y="311"/>
                  </a:lnTo>
                  <a:lnTo>
                    <a:pt x="34" y="346"/>
                  </a:lnTo>
                  <a:lnTo>
                    <a:pt x="492" y="346"/>
                  </a:lnTo>
                  <a:lnTo>
                    <a:pt x="527" y="311"/>
                  </a:lnTo>
                  <a:lnTo>
                    <a:pt x="527" y="35"/>
                  </a:lnTo>
                  <a:lnTo>
                    <a:pt x="492" y="0"/>
                  </a:lnTo>
                  <a:lnTo>
                    <a:pt x="4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133" name="Gruppieren 1132"/>
          <p:cNvGrpSpPr/>
          <p:nvPr/>
        </p:nvGrpSpPr>
        <p:grpSpPr>
          <a:xfrm>
            <a:off x="5914543" y="2063750"/>
            <a:ext cx="1712913" cy="1154112"/>
            <a:chOff x="5157788" y="2063750"/>
            <a:chExt cx="1712913" cy="1154112"/>
          </a:xfrm>
        </p:grpSpPr>
        <p:sp>
          <p:nvSpPr>
            <p:cNvPr id="2101" name="Freeform 49"/>
            <p:cNvSpPr>
              <a:spLocks/>
            </p:cNvSpPr>
            <p:nvPr/>
          </p:nvSpPr>
          <p:spPr bwMode="auto">
            <a:xfrm>
              <a:off x="5700713" y="2898775"/>
              <a:ext cx="673100" cy="204787"/>
            </a:xfrm>
            <a:custGeom>
              <a:avLst/>
              <a:gdLst>
                <a:gd name="T0" fmla="*/ 561 w 561"/>
                <a:gd name="T1" fmla="*/ 171 h 171"/>
                <a:gd name="T2" fmla="*/ 561 w 561"/>
                <a:gd name="T3" fmla="*/ 117 h 171"/>
                <a:gd name="T4" fmla="*/ 306 w 561"/>
                <a:gd name="T5" fmla="*/ 117 h 171"/>
                <a:gd name="T6" fmla="*/ 306 w 561"/>
                <a:gd name="T7" fmla="*/ 0 h 171"/>
                <a:gd name="T8" fmla="*/ 136 w 561"/>
                <a:gd name="T9" fmla="*/ 0 h 171"/>
                <a:gd name="T10" fmla="*/ 0 w 561"/>
                <a:gd name="T11" fmla="*/ 0 h 171"/>
                <a:gd name="T12" fmla="*/ 0 w 561"/>
                <a:gd name="T13" fmla="*/ 58 h 171"/>
                <a:gd name="T14" fmla="*/ 213 w 561"/>
                <a:gd name="T15" fmla="*/ 58 h 171"/>
                <a:gd name="T16" fmla="*/ 213 w 561"/>
                <a:gd name="T17" fmla="*/ 171 h 171"/>
                <a:gd name="T18" fmla="*/ 561 w 561"/>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1" h="171">
                  <a:moveTo>
                    <a:pt x="561" y="171"/>
                  </a:moveTo>
                  <a:cubicBezTo>
                    <a:pt x="561" y="148"/>
                    <a:pt x="561" y="159"/>
                    <a:pt x="561" y="117"/>
                  </a:cubicBezTo>
                  <a:cubicBezTo>
                    <a:pt x="306" y="117"/>
                    <a:pt x="306" y="117"/>
                    <a:pt x="306" y="117"/>
                  </a:cubicBezTo>
                  <a:cubicBezTo>
                    <a:pt x="306" y="0"/>
                    <a:pt x="306" y="0"/>
                    <a:pt x="306" y="0"/>
                  </a:cubicBezTo>
                  <a:cubicBezTo>
                    <a:pt x="136" y="0"/>
                    <a:pt x="136" y="0"/>
                    <a:pt x="136" y="0"/>
                  </a:cubicBezTo>
                  <a:cubicBezTo>
                    <a:pt x="0" y="0"/>
                    <a:pt x="0" y="0"/>
                    <a:pt x="0" y="0"/>
                  </a:cubicBezTo>
                  <a:cubicBezTo>
                    <a:pt x="0" y="58"/>
                    <a:pt x="0" y="58"/>
                    <a:pt x="0" y="58"/>
                  </a:cubicBezTo>
                  <a:cubicBezTo>
                    <a:pt x="213" y="58"/>
                    <a:pt x="213" y="58"/>
                    <a:pt x="213" y="58"/>
                  </a:cubicBezTo>
                  <a:cubicBezTo>
                    <a:pt x="213" y="171"/>
                    <a:pt x="213" y="171"/>
                    <a:pt x="213" y="171"/>
                  </a:cubicBezTo>
                  <a:lnTo>
                    <a:pt x="561" y="171"/>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2" name="Freeform 50"/>
            <p:cNvSpPr>
              <a:spLocks/>
            </p:cNvSpPr>
            <p:nvPr/>
          </p:nvSpPr>
          <p:spPr bwMode="auto">
            <a:xfrm>
              <a:off x="6429376" y="2770188"/>
              <a:ext cx="301625" cy="268287"/>
            </a:xfrm>
            <a:custGeom>
              <a:avLst/>
              <a:gdLst>
                <a:gd name="T0" fmla="*/ 190 w 190"/>
                <a:gd name="T1" fmla="*/ 0 h 169"/>
                <a:gd name="T2" fmla="*/ 104 w 190"/>
                <a:gd name="T3" fmla="*/ 0 h 169"/>
                <a:gd name="T4" fmla="*/ 104 w 190"/>
                <a:gd name="T5" fmla="*/ 113 h 169"/>
                <a:gd name="T6" fmla="*/ 0 w 190"/>
                <a:gd name="T7" fmla="*/ 113 h 169"/>
                <a:gd name="T8" fmla="*/ 0 w 190"/>
                <a:gd name="T9" fmla="*/ 169 h 169"/>
                <a:gd name="T10" fmla="*/ 190 w 190"/>
                <a:gd name="T11" fmla="*/ 169 h 169"/>
                <a:gd name="T12" fmla="*/ 190 w 190"/>
                <a:gd name="T13" fmla="*/ 0 h 169"/>
              </a:gdLst>
              <a:ahLst/>
              <a:cxnLst>
                <a:cxn ang="0">
                  <a:pos x="T0" y="T1"/>
                </a:cxn>
                <a:cxn ang="0">
                  <a:pos x="T2" y="T3"/>
                </a:cxn>
                <a:cxn ang="0">
                  <a:pos x="T4" y="T5"/>
                </a:cxn>
                <a:cxn ang="0">
                  <a:pos x="T6" y="T7"/>
                </a:cxn>
                <a:cxn ang="0">
                  <a:pos x="T8" y="T9"/>
                </a:cxn>
                <a:cxn ang="0">
                  <a:pos x="T10" y="T11"/>
                </a:cxn>
                <a:cxn ang="0">
                  <a:pos x="T12" y="T13"/>
                </a:cxn>
              </a:cxnLst>
              <a:rect l="0" t="0" r="r" b="b"/>
              <a:pathLst>
                <a:path w="190" h="169">
                  <a:moveTo>
                    <a:pt x="190" y="0"/>
                  </a:moveTo>
                  <a:lnTo>
                    <a:pt x="104" y="0"/>
                  </a:lnTo>
                  <a:lnTo>
                    <a:pt x="104" y="113"/>
                  </a:lnTo>
                  <a:lnTo>
                    <a:pt x="0" y="113"/>
                  </a:lnTo>
                  <a:lnTo>
                    <a:pt x="0" y="169"/>
                  </a:lnTo>
                  <a:lnTo>
                    <a:pt x="190" y="169"/>
                  </a:lnTo>
                  <a:lnTo>
                    <a:pt x="190"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3" name="Rectangle 51"/>
            <p:cNvSpPr>
              <a:spLocks noChangeArrowheads="1"/>
            </p:cNvSpPr>
            <p:nvPr/>
          </p:nvSpPr>
          <p:spPr bwMode="auto">
            <a:xfrm>
              <a:off x="5157788" y="2994025"/>
              <a:ext cx="250825" cy="635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4" name="Freeform 52"/>
            <p:cNvSpPr>
              <a:spLocks/>
            </p:cNvSpPr>
            <p:nvPr/>
          </p:nvSpPr>
          <p:spPr bwMode="auto">
            <a:xfrm>
              <a:off x="5157788" y="2898775"/>
              <a:ext cx="1573213" cy="319087"/>
            </a:xfrm>
            <a:custGeom>
              <a:avLst/>
              <a:gdLst>
                <a:gd name="T0" fmla="*/ 1059 w 1311"/>
                <a:gd name="T1" fmla="*/ 164 h 266"/>
                <a:gd name="T2" fmla="*/ 1059 w 1311"/>
                <a:gd name="T3" fmla="*/ 219 h 266"/>
                <a:gd name="T4" fmla="*/ 618 w 1311"/>
                <a:gd name="T5" fmla="*/ 219 h 266"/>
                <a:gd name="T6" fmla="*/ 618 w 1311"/>
                <a:gd name="T7" fmla="*/ 105 h 266"/>
                <a:gd name="T8" fmla="*/ 405 w 1311"/>
                <a:gd name="T9" fmla="*/ 105 h 266"/>
                <a:gd name="T10" fmla="*/ 405 w 1311"/>
                <a:gd name="T11" fmla="*/ 0 h 266"/>
                <a:gd name="T12" fmla="*/ 255 w 1311"/>
                <a:gd name="T13" fmla="*/ 0 h 266"/>
                <a:gd name="T14" fmla="*/ 255 w 1311"/>
                <a:gd name="T15" fmla="*/ 179 h 266"/>
                <a:gd name="T16" fmla="*/ 0 w 1311"/>
                <a:gd name="T17" fmla="*/ 179 h 266"/>
                <a:gd name="T18" fmla="*/ 0 w 1311"/>
                <a:gd name="T19" fmla="*/ 266 h 266"/>
                <a:gd name="T20" fmla="*/ 383 w 1311"/>
                <a:gd name="T21" fmla="*/ 266 h 266"/>
                <a:gd name="T22" fmla="*/ 405 w 1311"/>
                <a:gd name="T23" fmla="*/ 266 h 266"/>
                <a:gd name="T24" fmla="*/ 551 w 1311"/>
                <a:gd name="T25" fmla="*/ 266 h 266"/>
                <a:gd name="T26" fmla="*/ 618 w 1311"/>
                <a:gd name="T27" fmla="*/ 266 h 266"/>
                <a:gd name="T28" fmla="*/ 1059 w 1311"/>
                <a:gd name="T29" fmla="*/ 266 h 266"/>
                <a:gd name="T30" fmla="*/ 1173 w 1311"/>
                <a:gd name="T31" fmla="*/ 266 h 266"/>
                <a:gd name="T32" fmla="*/ 1311 w 1311"/>
                <a:gd name="T33" fmla="*/ 266 h 266"/>
                <a:gd name="T34" fmla="*/ 1311 w 1311"/>
                <a:gd name="T35" fmla="*/ 164 h 266"/>
                <a:gd name="T36" fmla="*/ 1059 w 1311"/>
                <a:gd name="T37" fmla="*/ 16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266">
                  <a:moveTo>
                    <a:pt x="1059" y="164"/>
                  </a:moveTo>
                  <a:cubicBezTo>
                    <a:pt x="1059" y="183"/>
                    <a:pt x="1059" y="202"/>
                    <a:pt x="1059" y="219"/>
                  </a:cubicBezTo>
                  <a:cubicBezTo>
                    <a:pt x="618" y="219"/>
                    <a:pt x="618" y="219"/>
                    <a:pt x="618" y="219"/>
                  </a:cubicBezTo>
                  <a:cubicBezTo>
                    <a:pt x="618" y="105"/>
                    <a:pt x="618" y="105"/>
                    <a:pt x="618" y="105"/>
                  </a:cubicBezTo>
                  <a:cubicBezTo>
                    <a:pt x="405" y="105"/>
                    <a:pt x="405" y="105"/>
                    <a:pt x="405" y="105"/>
                  </a:cubicBezTo>
                  <a:cubicBezTo>
                    <a:pt x="405" y="0"/>
                    <a:pt x="405" y="0"/>
                    <a:pt x="405" y="0"/>
                  </a:cubicBezTo>
                  <a:cubicBezTo>
                    <a:pt x="255" y="0"/>
                    <a:pt x="255" y="0"/>
                    <a:pt x="255" y="0"/>
                  </a:cubicBezTo>
                  <a:cubicBezTo>
                    <a:pt x="255" y="179"/>
                    <a:pt x="255" y="179"/>
                    <a:pt x="255" y="179"/>
                  </a:cubicBezTo>
                  <a:cubicBezTo>
                    <a:pt x="0" y="179"/>
                    <a:pt x="0" y="179"/>
                    <a:pt x="0" y="179"/>
                  </a:cubicBezTo>
                  <a:cubicBezTo>
                    <a:pt x="0" y="266"/>
                    <a:pt x="0" y="266"/>
                    <a:pt x="0" y="266"/>
                  </a:cubicBezTo>
                  <a:cubicBezTo>
                    <a:pt x="383" y="266"/>
                    <a:pt x="383" y="266"/>
                    <a:pt x="383" y="266"/>
                  </a:cubicBezTo>
                  <a:cubicBezTo>
                    <a:pt x="405" y="266"/>
                    <a:pt x="405" y="266"/>
                    <a:pt x="405" y="266"/>
                  </a:cubicBezTo>
                  <a:cubicBezTo>
                    <a:pt x="551" y="266"/>
                    <a:pt x="551" y="266"/>
                    <a:pt x="551" y="266"/>
                  </a:cubicBezTo>
                  <a:cubicBezTo>
                    <a:pt x="618" y="266"/>
                    <a:pt x="618" y="266"/>
                    <a:pt x="618" y="266"/>
                  </a:cubicBezTo>
                  <a:cubicBezTo>
                    <a:pt x="1059" y="266"/>
                    <a:pt x="1059" y="266"/>
                    <a:pt x="1059" y="266"/>
                  </a:cubicBezTo>
                  <a:cubicBezTo>
                    <a:pt x="1173" y="266"/>
                    <a:pt x="1173" y="266"/>
                    <a:pt x="1173" y="266"/>
                  </a:cubicBezTo>
                  <a:cubicBezTo>
                    <a:pt x="1311" y="266"/>
                    <a:pt x="1311" y="266"/>
                    <a:pt x="1311" y="266"/>
                  </a:cubicBezTo>
                  <a:cubicBezTo>
                    <a:pt x="1311" y="164"/>
                    <a:pt x="1311" y="164"/>
                    <a:pt x="1311" y="164"/>
                  </a:cubicBezTo>
                  <a:lnTo>
                    <a:pt x="1059" y="16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5" name="Rectangle 53"/>
            <p:cNvSpPr>
              <a:spLocks noChangeArrowheads="1"/>
            </p:cNvSpPr>
            <p:nvPr/>
          </p:nvSpPr>
          <p:spPr bwMode="auto">
            <a:xfrm>
              <a:off x="6511926" y="2228850"/>
              <a:ext cx="219075" cy="238125"/>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6" name="Freeform 54"/>
            <p:cNvSpPr>
              <a:spLocks/>
            </p:cNvSpPr>
            <p:nvPr/>
          </p:nvSpPr>
          <p:spPr bwMode="auto">
            <a:xfrm>
              <a:off x="5157788" y="2063750"/>
              <a:ext cx="1573213" cy="485775"/>
            </a:xfrm>
            <a:custGeom>
              <a:avLst/>
              <a:gdLst>
                <a:gd name="T0" fmla="*/ 991 w 991"/>
                <a:gd name="T1" fmla="*/ 0 h 306"/>
                <a:gd name="T2" fmla="*/ 709 w 991"/>
                <a:gd name="T3" fmla="*/ 0 h 306"/>
                <a:gd name="T4" fmla="*/ 698 w 991"/>
                <a:gd name="T5" fmla="*/ 0 h 306"/>
                <a:gd name="T6" fmla="*/ 543 w 991"/>
                <a:gd name="T7" fmla="*/ 0 h 306"/>
                <a:gd name="T8" fmla="*/ 536 w 991"/>
                <a:gd name="T9" fmla="*/ 0 h 306"/>
                <a:gd name="T10" fmla="*/ 501 w 991"/>
                <a:gd name="T11" fmla="*/ 0 h 306"/>
                <a:gd name="T12" fmla="*/ 476 w 991"/>
                <a:gd name="T13" fmla="*/ 0 h 306"/>
                <a:gd name="T14" fmla="*/ 0 w 991"/>
                <a:gd name="T15" fmla="*/ 0 h 306"/>
                <a:gd name="T16" fmla="*/ 0 w 991"/>
                <a:gd name="T17" fmla="*/ 179 h 306"/>
                <a:gd name="T18" fmla="*/ 56 w 991"/>
                <a:gd name="T19" fmla="*/ 179 h 306"/>
                <a:gd name="T20" fmla="*/ 56 w 991"/>
                <a:gd name="T21" fmla="*/ 40 h 306"/>
                <a:gd name="T22" fmla="*/ 184 w 991"/>
                <a:gd name="T23" fmla="*/ 40 h 306"/>
                <a:gd name="T24" fmla="*/ 184 w 991"/>
                <a:gd name="T25" fmla="*/ 306 h 306"/>
                <a:gd name="T26" fmla="*/ 342 w 991"/>
                <a:gd name="T27" fmla="*/ 306 h 306"/>
                <a:gd name="T28" fmla="*/ 342 w 991"/>
                <a:gd name="T29" fmla="*/ 195 h 306"/>
                <a:gd name="T30" fmla="*/ 213 w 991"/>
                <a:gd name="T31" fmla="*/ 195 h 306"/>
                <a:gd name="T32" fmla="*/ 213 w 991"/>
                <a:gd name="T33" fmla="*/ 40 h 306"/>
                <a:gd name="T34" fmla="*/ 476 w 991"/>
                <a:gd name="T35" fmla="*/ 40 h 306"/>
                <a:gd name="T36" fmla="*/ 476 w 991"/>
                <a:gd name="T37" fmla="*/ 75 h 306"/>
                <a:gd name="T38" fmla="*/ 249 w 991"/>
                <a:gd name="T39" fmla="*/ 75 h 306"/>
                <a:gd name="T40" fmla="*/ 249 w 991"/>
                <a:gd name="T41" fmla="*/ 160 h 306"/>
                <a:gd name="T42" fmla="*/ 377 w 991"/>
                <a:gd name="T43" fmla="*/ 160 h 306"/>
                <a:gd name="T44" fmla="*/ 377 w 991"/>
                <a:gd name="T45" fmla="*/ 306 h 306"/>
                <a:gd name="T46" fmla="*/ 514 w 991"/>
                <a:gd name="T47" fmla="*/ 306 h 306"/>
                <a:gd name="T48" fmla="*/ 514 w 991"/>
                <a:gd name="T49" fmla="*/ 207 h 306"/>
                <a:gd name="T50" fmla="*/ 601 w 991"/>
                <a:gd name="T51" fmla="*/ 207 h 306"/>
                <a:gd name="T52" fmla="*/ 601 w 991"/>
                <a:gd name="T53" fmla="*/ 164 h 306"/>
                <a:gd name="T54" fmla="*/ 501 w 991"/>
                <a:gd name="T55" fmla="*/ 164 h 306"/>
                <a:gd name="T56" fmla="*/ 501 w 991"/>
                <a:gd name="T57" fmla="*/ 40 h 306"/>
                <a:gd name="T58" fmla="*/ 637 w 991"/>
                <a:gd name="T59" fmla="*/ 40 h 306"/>
                <a:gd name="T60" fmla="*/ 637 w 991"/>
                <a:gd name="T61" fmla="*/ 75 h 306"/>
                <a:gd name="T62" fmla="*/ 536 w 991"/>
                <a:gd name="T63" fmla="*/ 75 h 306"/>
                <a:gd name="T64" fmla="*/ 536 w 991"/>
                <a:gd name="T65" fmla="*/ 129 h 306"/>
                <a:gd name="T66" fmla="*/ 637 w 991"/>
                <a:gd name="T67" fmla="*/ 129 h 306"/>
                <a:gd name="T68" fmla="*/ 637 w 991"/>
                <a:gd name="T69" fmla="*/ 207 h 306"/>
                <a:gd name="T70" fmla="*/ 709 w 991"/>
                <a:gd name="T71" fmla="*/ 207 h 306"/>
                <a:gd name="T72" fmla="*/ 709 w 991"/>
                <a:gd name="T73" fmla="*/ 69 h 306"/>
                <a:gd name="T74" fmla="*/ 991 w 991"/>
                <a:gd name="T75" fmla="*/ 69 h 306"/>
                <a:gd name="T76" fmla="*/ 991 w 991"/>
                <a:gd name="T7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1" h="306">
                  <a:moveTo>
                    <a:pt x="991" y="0"/>
                  </a:moveTo>
                  <a:lnTo>
                    <a:pt x="709" y="0"/>
                  </a:lnTo>
                  <a:lnTo>
                    <a:pt x="698" y="0"/>
                  </a:lnTo>
                  <a:lnTo>
                    <a:pt x="543" y="0"/>
                  </a:lnTo>
                  <a:lnTo>
                    <a:pt x="536" y="0"/>
                  </a:lnTo>
                  <a:lnTo>
                    <a:pt x="501" y="0"/>
                  </a:lnTo>
                  <a:lnTo>
                    <a:pt x="476" y="0"/>
                  </a:lnTo>
                  <a:lnTo>
                    <a:pt x="0" y="0"/>
                  </a:lnTo>
                  <a:lnTo>
                    <a:pt x="0" y="179"/>
                  </a:lnTo>
                  <a:lnTo>
                    <a:pt x="56" y="179"/>
                  </a:lnTo>
                  <a:lnTo>
                    <a:pt x="56" y="40"/>
                  </a:lnTo>
                  <a:lnTo>
                    <a:pt x="184" y="40"/>
                  </a:lnTo>
                  <a:lnTo>
                    <a:pt x="184" y="306"/>
                  </a:lnTo>
                  <a:lnTo>
                    <a:pt x="342" y="306"/>
                  </a:lnTo>
                  <a:lnTo>
                    <a:pt x="342" y="195"/>
                  </a:lnTo>
                  <a:lnTo>
                    <a:pt x="213" y="195"/>
                  </a:lnTo>
                  <a:lnTo>
                    <a:pt x="213" y="40"/>
                  </a:lnTo>
                  <a:lnTo>
                    <a:pt x="476" y="40"/>
                  </a:lnTo>
                  <a:lnTo>
                    <a:pt x="476" y="75"/>
                  </a:lnTo>
                  <a:lnTo>
                    <a:pt x="249" y="75"/>
                  </a:lnTo>
                  <a:lnTo>
                    <a:pt x="249" y="160"/>
                  </a:lnTo>
                  <a:lnTo>
                    <a:pt x="377" y="160"/>
                  </a:lnTo>
                  <a:lnTo>
                    <a:pt x="377" y="306"/>
                  </a:lnTo>
                  <a:lnTo>
                    <a:pt x="514" y="306"/>
                  </a:lnTo>
                  <a:lnTo>
                    <a:pt x="514" y="207"/>
                  </a:lnTo>
                  <a:lnTo>
                    <a:pt x="601" y="207"/>
                  </a:lnTo>
                  <a:lnTo>
                    <a:pt x="601" y="164"/>
                  </a:lnTo>
                  <a:lnTo>
                    <a:pt x="501" y="164"/>
                  </a:lnTo>
                  <a:lnTo>
                    <a:pt x="501" y="40"/>
                  </a:lnTo>
                  <a:lnTo>
                    <a:pt x="637" y="40"/>
                  </a:lnTo>
                  <a:lnTo>
                    <a:pt x="637" y="75"/>
                  </a:lnTo>
                  <a:lnTo>
                    <a:pt x="536" y="75"/>
                  </a:lnTo>
                  <a:lnTo>
                    <a:pt x="536" y="129"/>
                  </a:lnTo>
                  <a:lnTo>
                    <a:pt x="637" y="129"/>
                  </a:lnTo>
                  <a:lnTo>
                    <a:pt x="637" y="207"/>
                  </a:lnTo>
                  <a:lnTo>
                    <a:pt x="709" y="207"/>
                  </a:lnTo>
                  <a:lnTo>
                    <a:pt x="709" y="69"/>
                  </a:lnTo>
                  <a:lnTo>
                    <a:pt x="991" y="69"/>
                  </a:lnTo>
                  <a:lnTo>
                    <a:pt x="991"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7" name="Freeform 55"/>
            <p:cNvSpPr>
              <a:spLocks/>
            </p:cNvSpPr>
            <p:nvPr/>
          </p:nvSpPr>
          <p:spPr bwMode="auto">
            <a:xfrm>
              <a:off x="5157788" y="2182813"/>
              <a:ext cx="650875" cy="530225"/>
            </a:xfrm>
            <a:custGeom>
              <a:avLst/>
              <a:gdLst>
                <a:gd name="T0" fmla="*/ 112 w 410"/>
                <a:gd name="T1" fmla="*/ 334 h 334"/>
                <a:gd name="T2" fmla="*/ 410 w 410"/>
                <a:gd name="T3" fmla="*/ 334 h 334"/>
                <a:gd name="T4" fmla="*/ 410 w 410"/>
                <a:gd name="T5" fmla="*/ 266 h 334"/>
                <a:gd name="T6" fmla="*/ 148 w 410"/>
                <a:gd name="T7" fmla="*/ 266 h 334"/>
                <a:gd name="T8" fmla="*/ 148 w 410"/>
                <a:gd name="T9" fmla="*/ 0 h 334"/>
                <a:gd name="T10" fmla="*/ 91 w 410"/>
                <a:gd name="T11" fmla="*/ 0 h 334"/>
                <a:gd name="T12" fmla="*/ 91 w 410"/>
                <a:gd name="T13" fmla="*/ 138 h 334"/>
                <a:gd name="T14" fmla="*/ 0 w 410"/>
                <a:gd name="T15" fmla="*/ 138 h 334"/>
                <a:gd name="T16" fmla="*/ 0 w 410"/>
                <a:gd name="T17" fmla="*/ 252 h 334"/>
                <a:gd name="T18" fmla="*/ 112 w 410"/>
                <a:gd name="T19" fmla="*/ 252 h 334"/>
                <a:gd name="T20" fmla="*/ 112 w 410"/>
                <a:gd name="T2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0" h="334">
                  <a:moveTo>
                    <a:pt x="112" y="334"/>
                  </a:moveTo>
                  <a:lnTo>
                    <a:pt x="410" y="334"/>
                  </a:lnTo>
                  <a:lnTo>
                    <a:pt x="410" y="266"/>
                  </a:lnTo>
                  <a:lnTo>
                    <a:pt x="148" y="266"/>
                  </a:lnTo>
                  <a:lnTo>
                    <a:pt x="148" y="0"/>
                  </a:lnTo>
                  <a:lnTo>
                    <a:pt x="91" y="0"/>
                  </a:lnTo>
                  <a:lnTo>
                    <a:pt x="91" y="138"/>
                  </a:lnTo>
                  <a:lnTo>
                    <a:pt x="0" y="138"/>
                  </a:lnTo>
                  <a:lnTo>
                    <a:pt x="0" y="252"/>
                  </a:lnTo>
                  <a:lnTo>
                    <a:pt x="112" y="252"/>
                  </a:lnTo>
                  <a:lnTo>
                    <a:pt x="112" y="334"/>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8" name="Freeform 56"/>
            <p:cNvSpPr>
              <a:spLocks/>
            </p:cNvSpPr>
            <p:nvPr/>
          </p:nvSpPr>
          <p:spPr bwMode="auto">
            <a:xfrm>
              <a:off x="5157788" y="2638425"/>
              <a:ext cx="650875" cy="300037"/>
            </a:xfrm>
            <a:custGeom>
              <a:avLst/>
              <a:gdLst>
                <a:gd name="T0" fmla="*/ 77 w 410"/>
                <a:gd name="T1" fmla="*/ 82 h 189"/>
                <a:gd name="T2" fmla="*/ 77 w 410"/>
                <a:gd name="T3" fmla="*/ 0 h 189"/>
                <a:gd name="T4" fmla="*/ 0 w 410"/>
                <a:gd name="T5" fmla="*/ 0 h 189"/>
                <a:gd name="T6" fmla="*/ 0 w 410"/>
                <a:gd name="T7" fmla="*/ 189 h 189"/>
                <a:gd name="T8" fmla="*/ 158 w 410"/>
                <a:gd name="T9" fmla="*/ 189 h 189"/>
                <a:gd name="T10" fmla="*/ 158 w 410"/>
                <a:gd name="T11" fmla="*/ 128 h 189"/>
                <a:gd name="T12" fmla="*/ 306 w 410"/>
                <a:gd name="T13" fmla="*/ 128 h 189"/>
                <a:gd name="T14" fmla="*/ 410 w 410"/>
                <a:gd name="T15" fmla="*/ 128 h 189"/>
                <a:gd name="T16" fmla="*/ 410 w 410"/>
                <a:gd name="T17" fmla="*/ 82 h 189"/>
                <a:gd name="T18" fmla="*/ 77 w 410"/>
                <a:gd name="T19" fmla="*/ 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189">
                  <a:moveTo>
                    <a:pt x="77" y="82"/>
                  </a:moveTo>
                  <a:lnTo>
                    <a:pt x="77" y="0"/>
                  </a:lnTo>
                  <a:lnTo>
                    <a:pt x="0" y="0"/>
                  </a:lnTo>
                  <a:lnTo>
                    <a:pt x="0" y="189"/>
                  </a:lnTo>
                  <a:lnTo>
                    <a:pt x="158" y="189"/>
                  </a:lnTo>
                  <a:lnTo>
                    <a:pt x="158" y="128"/>
                  </a:lnTo>
                  <a:lnTo>
                    <a:pt x="306" y="128"/>
                  </a:lnTo>
                  <a:lnTo>
                    <a:pt x="410" y="128"/>
                  </a:lnTo>
                  <a:lnTo>
                    <a:pt x="410" y="82"/>
                  </a:lnTo>
                  <a:lnTo>
                    <a:pt x="77" y="82"/>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09" name="Freeform 57"/>
            <p:cNvSpPr>
              <a:spLocks/>
            </p:cNvSpPr>
            <p:nvPr/>
          </p:nvSpPr>
          <p:spPr bwMode="auto">
            <a:xfrm>
              <a:off x="5864226" y="2228850"/>
              <a:ext cx="866775" cy="484187"/>
            </a:xfrm>
            <a:custGeom>
              <a:avLst/>
              <a:gdLst>
                <a:gd name="T0" fmla="*/ 260 w 546"/>
                <a:gd name="T1" fmla="*/ 305 h 305"/>
                <a:gd name="T2" fmla="*/ 260 w 546"/>
                <a:gd name="T3" fmla="*/ 223 h 305"/>
                <a:gd name="T4" fmla="*/ 546 w 546"/>
                <a:gd name="T5" fmla="*/ 223 h 305"/>
                <a:gd name="T6" fmla="*/ 546 w 546"/>
                <a:gd name="T7" fmla="*/ 185 h 305"/>
                <a:gd name="T8" fmla="*/ 372 w 546"/>
                <a:gd name="T9" fmla="*/ 185 h 305"/>
                <a:gd name="T10" fmla="*/ 372 w 546"/>
                <a:gd name="T11" fmla="*/ 0 h 305"/>
                <a:gd name="T12" fmla="*/ 298 w 546"/>
                <a:gd name="T13" fmla="*/ 0 h 305"/>
                <a:gd name="T14" fmla="*/ 298 w 546"/>
                <a:gd name="T15" fmla="*/ 137 h 305"/>
                <a:gd name="T16" fmla="*/ 104 w 546"/>
                <a:gd name="T17" fmla="*/ 137 h 305"/>
                <a:gd name="T18" fmla="*/ 104 w 546"/>
                <a:gd name="T19" fmla="*/ 237 h 305"/>
                <a:gd name="T20" fmla="*/ 0 w 546"/>
                <a:gd name="T21" fmla="*/ 237 h 305"/>
                <a:gd name="T22" fmla="*/ 0 w 546"/>
                <a:gd name="T23" fmla="*/ 305 h 305"/>
                <a:gd name="T24" fmla="*/ 260 w 546"/>
                <a:gd name="T2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305">
                  <a:moveTo>
                    <a:pt x="260" y="305"/>
                  </a:moveTo>
                  <a:lnTo>
                    <a:pt x="260" y="223"/>
                  </a:lnTo>
                  <a:lnTo>
                    <a:pt x="546" y="223"/>
                  </a:lnTo>
                  <a:lnTo>
                    <a:pt x="546" y="185"/>
                  </a:lnTo>
                  <a:lnTo>
                    <a:pt x="372" y="185"/>
                  </a:lnTo>
                  <a:lnTo>
                    <a:pt x="372" y="0"/>
                  </a:lnTo>
                  <a:lnTo>
                    <a:pt x="298" y="0"/>
                  </a:lnTo>
                  <a:lnTo>
                    <a:pt x="298" y="137"/>
                  </a:lnTo>
                  <a:lnTo>
                    <a:pt x="104" y="137"/>
                  </a:lnTo>
                  <a:lnTo>
                    <a:pt x="104" y="237"/>
                  </a:lnTo>
                  <a:lnTo>
                    <a:pt x="0" y="237"/>
                  </a:lnTo>
                  <a:lnTo>
                    <a:pt x="0" y="305"/>
                  </a:lnTo>
                  <a:lnTo>
                    <a:pt x="260" y="305"/>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0" name="Freeform 58"/>
            <p:cNvSpPr>
              <a:spLocks/>
            </p:cNvSpPr>
            <p:nvPr/>
          </p:nvSpPr>
          <p:spPr bwMode="auto">
            <a:xfrm>
              <a:off x="5864226" y="2638425"/>
              <a:ext cx="866775" cy="344487"/>
            </a:xfrm>
            <a:custGeom>
              <a:avLst/>
              <a:gdLst>
                <a:gd name="T0" fmla="*/ 295 w 546"/>
                <a:gd name="T1" fmla="*/ 0 h 217"/>
                <a:gd name="T2" fmla="*/ 295 w 546"/>
                <a:gd name="T3" fmla="*/ 82 h 217"/>
                <a:gd name="T4" fmla="*/ 0 w 546"/>
                <a:gd name="T5" fmla="*/ 82 h 217"/>
                <a:gd name="T6" fmla="*/ 0 w 546"/>
                <a:gd name="T7" fmla="*/ 128 h 217"/>
                <a:gd name="T8" fmla="*/ 163 w 546"/>
                <a:gd name="T9" fmla="*/ 128 h 217"/>
                <a:gd name="T10" fmla="*/ 163 w 546"/>
                <a:gd name="T11" fmla="*/ 217 h 217"/>
                <a:gd name="T12" fmla="*/ 320 w 546"/>
                <a:gd name="T13" fmla="*/ 217 h 217"/>
                <a:gd name="T14" fmla="*/ 321 w 546"/>
                <a:gd name="T15" fmla="*/ 161 h 217"/>
                <a:gd name="T16" fmla="*/ 425 w 546"/>
                <a:gd name="T17" fmla="*/ 161 h 217"/>
                <a:gd name="T18" fmla="*/ 425 w 546"/>
                <a:gd name="T19" fmla="*/ 48 h 217"/>
                <a:gd name="T20" fmla="*/ 546 w 546"/>
                <a:gd name="T21" fmla="*/ 48 h 217"/>
                <a:gd name="T22" fmla="*/ 546 w 546"/>
                <a:gd name="T23" fmla="*/ 0 h 217"/>
                <a:gd name="T24" fmla="*/ 295 w 546"/>
                <a:gd name="T2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217">
                  <a:moveTo>
                    <a:pt x="295" y="0"/>
                  </a:moveTo>
                  <a:lnTo>
                    <a:pt x="295" y="82"/>
                  </a:lnTo>
                  <a:lnTo>
                    <a:pt x="0" y="82"/>
                  </a:lnTo>
                  <a:lnTo>
                    <a:pt x="0" y="128"/>
                  </a:lnTo>
                  <a:lnTo>
                    <a:pt x="163" y="128"/>
                  </a:lnTo>
                  <a:lnTo>
                    <a:pt x="163" y="217"/>
                  </a:lnTo>
                  <a:lnTo>
                    <a:pt x="320" y="217"/>
                  </a:lnTo>
                  <a:lnTo>
                    <a:pt x="321" y="161"/>
                  </a:lnTo>
                  <a:lnTo>
                    <a:pt x="425" y="161"/>
                  </a:lnTo>
                  <a:lnTo>
                    <a:pt x="425" y="48"/>
                  </a:lnTo>
                  <a:lnTo>
                    <a:pt x="546" y="48"/>
                  </a:lnTo>
                  <a:lnTo>
                    <a:pt x="546" y="0"/>
                  </a:lnTo>
                  <a:lnTo>
                    <a:pt x="295" y="0"/>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1" name="Freeform 59"/>
            <p:cNvSpPr>
              <a:spLocks/>
            </p:cNvSpPr>
            <p:nvPr/>
          </p:nvSpPr>
          <p:spPr bwMode="auto">
            <a:xfrm>
              <a:off x="5157788" y="2065338"/>
              <a:ext cx="1573213" cy="282575"/>
            </a:xfrm>
            <a:custGeom>
              <a:avLst/>
              <a:gdLst>
                <a:gd name="T0" fmla="*/ 0 w 991"/>
                <a:gd name="T1" fmla="*/ 178 h 178"/>
                <a:gd name="T2" fmla="*/ 0 w 991"/>
                <a:gd name="T3" fmla="*/ 0 h 178"/>
                <a:gd name="T4" fmla="*/ 991 w 991"/>
                <a:gd name="T5" fmla="*/ 0 h 178"/>
                <a:gd name="T6" fmla="*/ 991 w 991"/>
                <a:gd name="T7" fmla="*/ 69 h 178"/>
              </a:gdLst>
              <a:ahLst/>
              <a:cxnLst>
                <a:cxn ang="0">
                  <a:pos x="T0" y="T1"/>
                </a:cxn>
                <a:cxn ang="0">
                  <a:pos x="T2" y="T3"/>
                </a:cxn>
                <a:cxn ang="0">
                  <a:pos x="T4" y="T5"/>
                </a:cxn>
                <a:cxn ang="0">
                  <a:pos x="T6" y="T7"/>
                </a:cxn>
              </a:cxnLst>
              <a:rect l="0" t="0" r="r" b="b"/>
              <a:pathLst>
                <a:path w="991" h="178">
                  <a:moveTo>
                    <a:pt x="0" y="178"/>
                  </a:moveTo>
                  <a:lnTo>
                    <a:pt x="0" y="0"/>
                  </a:lnTo>
                  <a:lnTo>
                    <a:pt x="991" y="0"/>
                  </a:lnTo>
                  <a:lnTo>
                    <a:pt x="991" y="6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0" name="Freeform 60"/>
            <p:cNvSpPr>
              <a:spLocks/>
            </p:cNvSpPr>
            <p:nvPr/>
          </p:nvSpPr>
          <p:spPr bwMode="auto">
            <a:xfrm>
              <a:off x="5157788" y="3092450"/>
              <a:ext cx="1573213" cy="125412"/>
            </a:xfrm>
            <a:custGeom>
              <a:avLst/>
              <a:gdLst>
                <a:gd name="T0" fmla="*/ 0 w 991"/>
                <a:gd name="T1" fmla="*/ 12 h 79"/>
                <a:gd name="T2" fmla="*/ 0 w 991"/>
                <a:gd name="T3" fmla="*/ 79 h 79"/>
                <a:gd name="T4" fmla="*/ 991 w 991"/>
                <a:gd name="T5" fmla="*/ 79 h 79"/>
                <a:gd name="T6" fmla="*/ 991 w 991"/>
                <a:gd name="T7" fmla="*/ 0 h 79"/>
              </a:gdLst>
              <a:ahLst/>
              <a:cxnLst>
                <a:cxn ang="0">
                  <a:pos x="T0" y="T1"/>
                </a:cxn>
                <a:cxn ang="0">
                  <a:pos x="T2" y="T3"/>
                </a:cxn>
                <a:cxn ang="0">
                  <a:pos x="T4" y="T5"/>
                </a:cxn>
                <a:cxn ang="0">
                  <a:pos x="T6" y="T7"/>
                </a:cxn>
              </a:cxnLst>
              <a:rect l="0" t="0" r="r" b="b"/>
              <a:pathLst>
                <a:path w="991" h="79">
                  <a:moveTo>
                    <a:pt x="0" y="12"/>
                  </a:moveTo>
                  <a:lnTo>
                    <a:pt x="0" y="79"/>
                  </a:lnTo>
                  <a:lnTo>
                    <a:pt x="991" y="79"/>
                  </a:lnTo>
                  <a:lnTo>
                    <a:pt x="991"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2" name="Line 61"/>
            <p:cNvSpPr>
              <a:spLocks noChangeShapeType="1"/>
            </p:cNvSpPr>
            <p:nvPr/>
          </p:nvSpPr>
          <p:spPr bwMode="auto">
            <a:xfrm>
              <a:off x="5160963" y="2400300"/>
              <a:ext cx="0" cy="1793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3" name="Line 62"/>
            <p:cNvSpPr>
              <a:spLocks noChangeShapeType="1"/>
            </p:cNvSpPr>
            <p:nvPr/>
          </p:nvSpPr>
          <p:spPr bwMode="auto">
            <a:xfrm>
              <a:off x="5160963" y="2640013"/>
              <a:ext cx="0" cy="3000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4" name="Line 63"/>
            <p:cNvSpPr>
              <a:spLocks noChangeShapeType="1"/>
            </p:cNvSpPr>
            <p:nvPr/>
          </p:nvSpPr>
          <p:spPr bwMode="auto">
            <a:xfrm>
              <a:off x="5157788" y="2990850"/>
              <a:ext cx="0" cy="6826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5" name="Line 64"/>
            <p:cNvSpPr>
              <a:spLocks noChangeShapeType="1"/>
            </p:cNvSpPr>
            <p:nvPr/>
          </p:nvSpPr>
          <p:spPr bwMode="auto">
            <a:xfrm flipV="1">
              <a:off x="6731001" y="2767013"/>
              <a:ext cx="0" cy="2746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6" name="Line 65"/>
            <p:cNvSpPr>
              <a:spLocks noChangeShapeType="1"/>
            </p:cNvSpPr>
            <p:nvPr/>
          </p:nvSpPr>
          <p:spPr bwMode="auto">
            <a:xfrm flipV="1">
              <a:off x="6731001" y="2519363"/>
              <a:ext cx="0" cy="635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8" name="Line 66"/>
            <p:cNvSpPr>
              <a:spLocks noChangeShapeType="1"/>
            </p:cNvSpPr>
            <p:nvPr/>
          </p:nvSpPr>
          <p:spPr bwMode="auto">
            <a:xfrm flipV="1">
              <a:off x="6731001" y="2635250"/>
              <a:ext cx="0" cy="8255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29" name="Line 67"/>
            <p:cNvSpPr>
              <a:spLocks noChangeShapeType="1"/>
            </p:cNvSpPr>
            <p:nvPr/>
          </p:nvSpPr>
          <p:spPr bwMode="auto">
            <a:xfrm flipV="1">
              <a:off x="6731001" y="2227263"/>
              <a:ext cx="0" cy="24130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0" name="Freeform 68"/>
            <p:cNvSpPr>
              <a:spLocks/>
            </p:cNvSpPr>
            <p:nvPr/>
          </p:nvSpPr>
          <p:spPr bwMode="auto">
            <a:xfrm>
              <a:off x="5160963" y="2582863"/>
              <a:ext cx="647700" cy="130175"/>
            </a:xfrm>
            <a:custGeom>
              <a:avLst/>
              <a:gdLst>
                <a:gd name="T0" fmla="*/ 0 w 408"/>
                <a:gd name="T1" fmla="*/ 0 h 82"/>
                <a:gd name="T2" fmla="*/ 110 w 408"/>
                <a:gd name="T3" fmla="*/ 0 h 82"/>
                <a:gd name="T4" fmla="*/ 110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110" y="0"/>
                  </a:lnTo>
                  <a:lnTo>
                    <a:pt x="110"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1" name="Freeform 69"/>
            <p:cNvSpPr>
              <a:spLocks/>
            </p:cNvSpPr>
            <p:nvPr/>
          </p:nvSpPr>
          <p:spPr bwMode="auto">
            <a:xfrm>
              <a:off x="5160963" y="2638425"/>
              <a:ext cx="647700" cy="130175"/>
            </a:xfrm>
            <a:custGeom>
              <a:avLst/>
              <a:gdLst>
                <a:gd name="T0" fmla="*/ 0 w 408"/>
                <a:gd name="T1" fmla="*/ 0 h 82"/>
                <a:gd name="T2" fmla="*/ 75 w 408"/>
                <a:gd name="T3" fmla="*/ 0 h 82"/>
                <a:gd name="T4" fmla="*/ 75 w 408"/>
                <a:gd name="T5" fmla="*/ 82 h 82"/>
                <a:gd name="T6" fmla="*/ 408 w 408"/>
                <a:gd name="T7" fmla="*/ 82 h 82"/>
              </a:gdLst>
              <a:ahLst/>
              <a:cxnLst>
                <a:cxn ang="0">
                  <a:pos x="T0" y="T1"/>
                </a:cxn>
                <a:cxn ang="0">
                  <a:pos x="T2" y="T3"/>
                </a:cxn>
                <a:cxn ang="0">
                  <a:pos x="T4" y="T5"/>
                </a:cxn>
                <a:cxn ang="0">
                  <a:pos x="T6" y="T7"/>
                </a:cxn>
              </a:cxnLst>
              <a:rect l="0" t="0" r="r" b="b"/>
              <a:pathLst>
                <a:path w="408" h="82">
                  <a:moveTo>
                    <a:pt x="0" y="0"/>
                  </a:moveTo>
                  <a:lnTo>
                    <a:pt x="75" y="0"/>
                  </a:lnTo>
                  <a:lnTo>
                    <a:pt x="75" y="82"/>
                  </a:lnTo>
                  <a:lnTo>
                    <a:pt x="408" y="82"/>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2" name="Freeform 70"/>
            <p:cNvSpPr>
              <a:spLocks/>
            </p:cNvSpPr>
            <p:nvPr/>
          </p:nvSpPr>
          <p:spPr bwMode="auto">
            <a:xfrm>
              <a:off x="5864226" y="2547938"/>
              <a:ext cx="1006475" cy="220662"/>
            </a:xfrm>
            <a:custGeom>
              <a:avLst/>
              <a:gdLst>
                <a:gd name="T0" fmla="*/ 0 w 634"/>
                <a:gd name="T1" fmla="*/ 139 h 139"/>
                <a:gd name="T2" fmla="*/ 295 w 634"/>
                <a:gd name="T3" fmla="*/ 139 h 139"/>
                <a:gd name="T4" fmla="*/ 295 w 634"/>
                <a:gd name="T5" fmla="*/ 57 h 139"/>
                <a:gd name="T6" fmla="*/ 592 w 634"/>
                <a:gd name="T7" fmla="*/ 57 h 139"/>
                <a:gd name="T8" fmla="*/ 592 w 634"/>
                <a:gd name="T9" fmla="*/ 80 h 139"/>
                <a:gd name="T10" fmla="*/ 634 w 634"/>
                <a:gd name="T11" fmla="*/ 40 h 139"/>
                <a:gd name="T12" fmla="*/ 592 w 634"/>
                <a:gd name="T13" fmla="*/ 0 h 139"/>
                <a:gd name="T14" fmla="*/ 592 w 634"/>
                <a:gd name="T15" fmla="*/ 22 h 139"/>
                <a:gd name="T16" fmla="*/ 260 w 634"/>
                <a:gd name="T17" fmla="*/ 22 h 139"/>
                <a:gd name="T18" fmla="*/ 260 w 634"/>
                <a:gd name="T19" fmla="*/ 104 h 139"/>
                <a:gd name="T20" fmla="*/ 0 w 634"/>
                <a:gd name="T21"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139">
                  <a:moveTo>
                    <a:pt x="0" y="139"/>
                  </a:moveTo>
                  <a:lnTo>
                    <a:pt x="295" y="139"/>
                  </a:lnTo>
                  <a:lnTo>
                    <a:pt x="295" y="57"/>
                  </a:lnTo>
                  <a:lnTo>
                    <a:pt x="592" y="57"/>
                  </a:lnTo>
                  <a:lnTo>
                    <a:pt x="592" y="80"/>
                  </a:lnTo>
                  <a:lnTo>
                    <a:pt x="634" y="40"/>
                  </a:lnTo>
                  <a:lnTo>
                    <a:pt x="592" y="0"/>
                  </a:lnTo>
                  <a:lnTo>
                    <a:pt x="592" y="22"/>
                  </a:lnTo>
                  <a:lnTo>
                    <a:pt x="260" y="22"/>
                  </a:lnTo>
                  <a:lnTo>
                    <a:pt x="260" y="104"/>
                  </a:lnTo>
                  <a:lnTo>
                    <a:pt x="0" y="104"/>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36" name="Freeform 74"/>
          <p:cNvSpPr>
            <a:spLocks/>
          </p:cNvSpPr>
          <p:nvPr/>
        </p:nvSpPr>
        <p:spPr bwMode="auto">
          <a:xfrm>
            <a:off x="7104061" y="5048484"/>
            <a:ext cx="490538" cy="488950"/>
          </a:xfrm>
          <a:custGeom>
            <a:avLst/>
            <a:gdLst>
              <a:gd name="T0" fmla="*/ 309 w 309"/>
              <a:gd name="T1" fmla="*/ 122 h 308"/>
              <a:gd name="T2" fmla="*/ 187 w 309"/>
              <a:gd name="T3" fmla="*/ 122 h 308"/>
              <a:gd name="T4" fmla="*/ 187 w 309"/>
              <a:gd name="T5" fmla="*/ 0 h 308"/>
              <a:gd name="T6" fmla="*/ 123 w 309"/>
              <a:gd name="T7" fmla="*/ 0 h 308"/>
              <a:gd name="T8" fmla="*/ 123 w 309"/>
              <a:gd name="T9" fmla="*/ 122 h 308"/>
              <a:gd name="T10" fmla="*/ 0 w 309"/>
              <a:gd name="T11" fmla="*/ 122 h 308"/>
              <a:gd name="T12" fmla="*/ 0 w 309"/>
              <a:gd name="T13" fmla="*/ 186 h 308"/>
              <a:gd name="T14" fmla="*/ 123 w 309"/>
              <a:gd name="T15" fmla="*/ 186 h 308"/>
              <a:gd name="T16" fmla="*/ 123 w 309"/>
              <a:gd name="T17" fmla="*/ 308 h 308"/>
              <a:gd name="T18" fmla="*/ 187 w 309"/>
              <a:gd name="T19" fmla="*/ 308 h 308"/>
              <a:gd name="T20" fmla="*/ 187 w 309"/>
              <a:gd name="T21" fmla="*/ 186 h 308"/>
              <a:gd name="T22" fmla="*/ 309 w 309"/>
              <a:gd name="T23" fmla="*/ 186 h 308"/>
              <a:gd name="T24" fmla="*/ 309 w 309"/>
              <a:gd name="T2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8">
                <a:moveTo>
                  <a:pt x="309" y="122"/>
                </a:moveTo>
                <a:lnTo>
                  <a:pt x="187" y="122"/>
                </a:lnTo>
                <a:lnTo>
                  <a:pt x="187" y="0"/>
                </a:lnTo>
                <a:lnTo>
                  <a:pt x="123" y="0"/>
                </a:lnTo>
                <a:lnTo>
                  <a:pt x="123" y="122"/>
                </a:lnTo>
                <a:lnTo>
                  <a:pt x="0" y="122"/>
                </a:lnTo>
                <a:lnTo>
                  <a:pt x="0" y="186"/>
                </a:lnTo>
                <a:lnTo>
                  <a:pt x="123" y="186"/>
                </a:lnTo>
                <a:lnTo>
                  <a:pt x="123" y="308"/>
                </a:lnTo>
                <a:lnTo>
                  <a:pt x="187" y="308"/>
                </a:lnTo>
                <a:lnTo>
                  <a:pt x="187" y="186"/>
                </a:lnTo>
                <a:lnTo>
                  <a:pt x="309" y="186"/>
                </a:lnTo>
                <a:lnTo>
                  <a:pt x="309" y="12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39" name="Freeform 78"/>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close/>
                <a:moveTo>
                  <a:pt x="318" y="0"/>
                </a:moveTo>
                <a:lnTo>
                  <a:pt x="0" y="0"/>
                </a:lnTo>
                <a:lnTo>
                  <a:pt x="0" y="2"/>
                </a:lnTo>
                <a:lnTo>
                  <a:pt x="2" y="2"/>
                </a:lnTo>
                <a:lnTo>
                  <a:pt x="0" y="2"/>
                </a:lnTo>
                <a:lnTo>
                  <a:pt x="0" y="286"/>
                </a:lnTo>
                <a:lnTo>
                  <a:pt x="318" y="286"/>
                </a:lnTo>
                <a:lnTo>
                  <a:pt x="3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0" name="Freeform 79"/>
          <p:cNvSpPr>
            <a:spLocks noEditPoints="1"/>
          </p:cNvSpPr>
          <p:nvPr/>
        </p:nvSpPr>
        <p:spPr bwMode="auto">
          <a:xfrm>
            <a:off x="7175501" y="2765426"/>
            <a:ext cx="504825" cy="454025"/>
          </a:xfrm>
          <a:custGeom>
            <a:avLst/>
            <a:gdLst>
              <a:gd name="T0" fmla="*/ 4 w 318"/>
              <a:gd name="T1" fmla="*/ 4 h 286"/>
              <a:gd name="T2" fmla="*/ 314 w 318"/>
              <a:gd name="T3" fmla="*/ 4 h 286"/>
              <a:gd name="T4" fmla="*/ 314 w 318"/>
              <a:gd name="T5" fmla="*/ 282 h 286"/>
              <a:gd name="T6" fmla="*/ 4 w 318"/>
              <a:gd name="T7" fmla="*/ 282 h 286"/>
              <a:gd name="T8" fmla="*/ 4 w 318"/>
              <a:gd name="T9" fmla="*/ 4 h 286"/>
              <a:gd name="T10" fmla="*/ 318 w 318"/>
              <a:gd name="T11" fmla="*/ 0 h 286"/>
              <a:gd name="T12" fmla="*/ 0 w 318"/>
              <a:gd name="T13" fmla="*/ 0 h 286"/>
              <a:gd name="T14" fmla="*/ 0 w 318"/>
              <a:gd name="T15" fmla="*/ 2 h 286"/>
              <a:gd name="T16" fmla="*/ 2 w 318"/>
              <a:gd name="T17" fmla="*/ 2 h 286"/>
              <a:gd name="T18" fmla="*/ 0 w 318"/>
              <a:gd name="T19" fmla="*/ 2 h 286"/>
              <a:gd name="T20" fmla="*/ 0 w 318"/>
              <a:gd name="T21" fmla="*/ 286 h 286"/>
              <a:gd name="T22" fmla="*/ 318 w 318"/>
              <a:gd name="T23" fmla="*/ 286 h 286"/>
              <a:gd name="T24" fmla="*/ 318 w 318"/>
              <a:gd name="T2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86">
                <a:moveTo>
                  <a:pt x="4" y="4"/>
                </a:moveTo>
                <a:lnTo>
                  <a:pt x="314" y="4"/>
                </a:lnTo>
                <a:lnTo>
                  <a:pt x="314" y="282"/>
                </a:lnTo>
                <a:lnTo>
                  <a:pt x="4" y="282"/>
                </a:lnTo>
                <a:lnTo>
                  <a:pt x="4" y="4"/>
                </a:lnTo>
                <a:moveTo>
                  <a:pt x="318" y="0"/>
                </a:moveTo>
                <a:lnTo>
                  <a:pt x="0" y="0"/>
                </a:lnTo>
                <a:lnTo>
                  <a:pt x="0" y="2"/>
                </a:lnTo>
                <a:lnTo>
                  <a:pt x="2" y="2"/>
                </a:lnTo>
                <a:lnTo>
                  <a:pt x="0" y="2"/>
                </a:lnTo>
                <a:lnTo>
                  <a:pt x="0" y="286"/>
                </a:lnTo>
                <a:lnTo>
                  <a:pt x="318" y="286"/>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2" name="Freeform 81"/>
          <p:cNvSpPr>
            <a:spLocks/>
          </p:cNvSpPr>
          <p:nvPr/>
        </p:nvSpPr>
        <p:spPr bwMode="auto">
          <a:xfrm>
            <a:off x="7134225" y="5800725"/>
            <a:ext cx="463550" cy="400050"/>
          </a:xfrm>
          <a:custGeom>
            <a:avLst/>
            <a:gdLst>
              <a:gd name="T0" fmla="*/ 0 w 292"/>
              <a:gd name="T1" fmla="*/ 189 h 252"/>
              <a:gd name="T2" fmla="*/ 166 w 292"/>
              <a:gd name="T3" fmla="*/ 189 h 252"/>
              <a:gd name="T4" fmla="*/ 166 w 292"/>
              <a:gd name="T5" fmla="*/ 252 h 252"/>
              <a:gd name="T6" fmla="*/ 292 w 292"/>
              <a:gd name="T7" fmla="*/ 126 h 252"/>
              <a:gd name="T8" fmla="*/ 166 w 292"/>
              <a:gd name="T9" fmla="*/ 0 h 252"/>
              <a:gd name="T10" fmla="*/ 166 w 292"/>
              <a:gd name="T11" fmla="*/ 63 h 252"/>
              <a:gd name="T12" fmla="*/ 0 w 292"/>
              <a:gd name="T13" fmla="*/ 63 h 252"/>
              <a:gd name="T14" fmla="*/ 0 w 292"/>
              <a:gd name="T15" fmla="*/ 189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52">
                <a:moveTo>
                  <a:pt x="0" y="189"/>
                </a:moveTo>
                <a:lnTo>
                  <a:pt x="166" y="189"/>
                </a:lnTo>
                <a:lnTo>
                  <a:pt x="166" y="252"/>
                </a:lnTo>
                <a:lnTo>
                  <a:pt x="292" y="126"/>
                </a:lnTo>
                <a:lnTo>
                  <a:pt x="166" y="0"/>
                </a:lnTo>
                <a:lnTo>
                  <a:pt x="166" y="63"/>
                </a:lnTo>
                <a:lnTo>
                  <a:pt x="0" y="63"/>
                </a:lnTo>
                <a:lnTo>
                  <a:pt x="0" y="189"/>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181" name="Gruppieren 1180"/>
          <p:cNvGrpSpPr/>
          <p:nvPr/>
        </p:nvGrpSpPr>
        <p:grpSpPr>
          <a:xfrm>
            <a:off x="1439863" y="2035176"/>
            <a:ext cx="1182688" cy="1184275"/>
            <a:chOff x="1439863" y="2035176"/>
            <a:chExt cx="1182688" cy="1184275"/>
          </a:xfrm>
        </p:grpSpPr>
        <p:sp>
          <p:nvSpPr>
            <p:cNvPr id="114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179" name="Ellipse 1178"/>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nvGrpSpPr>
          <p:cNvPr id="2122" name="Gruppieren 2121"/>
          <p:cNvGrpSpPr/>
          <p:nvPr/>
        </p:nvGrpSpPr>
        <p:grpSpPr>
          <a:xfrm>
            <a:off x="1495425" y="3835400"/>
            <a:ext cx="1368425" cy="811212"/>
            <a:chOff x="1495425" y="3835400"/>
            <a:chExt cx="1368425" cy="811212"/>
          </a:xfrm>
        </p:grpSpPr>
        <p:sp>
          <p:nvSpPr>
            <p:cNvPr id="2114" name="Rectangle 96"/>
            <p:cNvSpPr>
              <a:spLocks noChangeArrowheads="1"/>
            </p:cNvSpPr>
            <p:nvPr/>
          </p:nvSpPr>
          <p:spPr bwMode="auto">
            <a:xfrm>
              <a:off x="1495425" y="3835400"/>
              <a:ext cx="1368425" cy="811212"/>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5" name="Rectangle 97"/>
            <p:cNvSpPr>
              <a:spLocks noChangeArrowheads="1"/>
            </p:cNvSpPr>
            <p:nvPr/>
          </p:nvSpPr>
          <p:spPr bwMode="auto">
            <a:xfrm>
              <a:off x="1536700" y="3878263"/>
              <a:ext cx="1285875" cy="725487"/>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6" name="Freeform 98"/>
            <p:cNvSpPr>
              <a:spLocks/>
            </p:cNvSpPr>
            <p:nvPr/>
          </p:nvSpPr>
          <p:spPr bwMode="auto">
            <a:xfrm>
              <a:off x="2549525" y="3994150"/>
              <a:ext cx="196850" cy="252412"/>
            </a:xfrm>
            <a:custGeom>
              <a:avLst/>
              <a:gdLst>
                <a:gd name="T0" fmla="*/ 111 w 155"/>
                <a:gd name="T1" fmla="*/ 199 h 199"/>
                <a:gd name="T2" fmla="*/ 50 w 155"/>
                <a:gd name="T3" fmla="*/ 171 h 199"/>
                <a:gd name="T4" fmla="*/ 31 w 155"/>
                <a:gd name="T5" fmla="*/ 134 h 199"/>
                <a:gd name="T6" fmla="*/ 0 w 155"/>
                <a:gd name="T7" fmla="*/ 134 h 199"/>
                <a:gd name="T8" fmla="*/ 0 w 155"/>
                <a:gd name="T9" fmla="*/ 110 h 199"/>
                <a:gd name="T10" fmla="*/ 28 w 155"/>
                <a:gd name="T11" fmla="*/ 110 h 199"/>
                <a:gd name="T12" fmla="*/ 28 w 155"/>
                <a:gd name="T13" fmla="*/ 102 h 199"/>
                <a:gd name="T14" fmla="*/ 28 w 155"/>
                <a:gd name="T15" fmla="*/ 89 h 199"/>
                <a:gd name="T16" fmla="*/ 0 w 155"/>
                <a:gd name="T17" fmla="*/ 89 h 199"/>
                <a:gd name="T18" fmla="*/ 0 w 155"/>
                <a:gd name="T19" fmla="*/ 64 h 199"/>
                <a:gd name="T20" fmla="*/ 33 w 155"/>
                <a:gd name="T21" fmla="*/ 64 h 199"/>
                <a:gd name="T22" fmla="*/ 41 w 155"/>
                <a:gd name="T23" fmla="*/ 44 h 199"/>
                <a:gd name="T24" fmla="*/ 112 w 155"/>
                <a:gd name="T25" fmla="*/ 0 h 199"/>
                <a:gd name="T26" fmla="*/ 151 w 155"/>
                <a:gd name="T27" fmla="*/ 9 h 199"/>
                <a:gd name="T28" fmla="*/ 145 w 155"/>
                <a:gd name="T29" fmla="*/ 36 h 199"/>
                <a:gd name="T30" fmla="*/ 112 w 155"/>
                <a:gd name="T31" fmla="*/ 25 h 199"/>
                <a:gd name="T32" fmla="*/ 73 w 155"/>
                <a:gd name="T33" fmla="*/ 48 h 199"/>
                <a:gd name="T34" fmla="*/ 67 w 155"/>
                <a:gd name="T35" fmla="*/ 64 h 199"/>
                <a:gd name="T36" fmla="*/ 129 w 155"/>
                <a:gd name="T37" fmla="*/ 64 h 199"/>
                <a:gd name="T38" fmla="*/ 129 w 155"/>
                <a:gd name="T39" fmla="*/ 89 h 199"/>
                <a:gd name="T40" fmla="*/ 64 w 155"/>
                <a:gd name="T41" fmla="*/ 89 h 199"/>
                <a:gd name="T42" fmla="*/ 63 w 155"/>
                <a:gd name="T43" fmla="*/ 99 h 199"/>
                <a:gd name="T44" fmla="*/ 64 w 155"/>
                <a:gd name="T45" fmla="*/ 110 h 199"/>
                <a:gd name="T46" fmla="*/ 129 w 155"/>
                <a:gd name="T47" fmla="*/ 110 h 199"/>
                <a:gd name="T48" fmla="*/ 129 w 155"/>
                <a:gd name="T49" fmla="*/ 134 h 199"/>
                <a:gd name="T50" fmla="*/ 67 w 155"/>
                <a:gd name="T51" fmla="*/ 134 h 199"/>
                <a:gd name="T52" fmla="*/ 71 w 155"/>
                <a:gd name="T53" fmla="*/ 147 h 199"/>
                <a:gd name="T54" fmla="*/ 114 w 155"/>
                <a:gd name="T55" fmla="*/ 174 h 199"/>
                <a:gd name="T56" fmla="*/ 148 w 155"/>
                <a:gd name="T57" fmla="*/ 162 h 199"/>
                <a:gd name="T58" fmla="*/ 155 w 155"/>
                <a:gd name="T59" fmla="*/ 188 h 199"/>
                <a:gd name="T60" fmla="*/ 111 w 155"/>
                <a:gd name="T6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99">
                  <a:moveTo>
                    <a:pt x="111" y="199"/>
                  </a:moveTo>
                  <a:cubicBezTo>
                    <a:pt x="85" y="199"/>
                    <a:pt x="65" y="189"/>
                    <a:pt x="50" y="171"/>
                  </a:cubicBezTo>
                  <a:cubicBezTo>
                    <a:pt x="41" y="161"/>
                    <a:pt x="35" y="148"/>
                    <a:pt x="31" y="134"/>
                  </a:cubicBezTo>
                  <a:cubicBezTo>
                    <a:pt x="0" y="134"/>
                    <a:pt x="0" y="134"/>
                    <a:pt x="0" y="134"/>
                  </a:cubicBezTo>
                  <a:cubicBezTo>
                    <a:pt x="0" y="110"/>
                    <a:pt x="0" y="110"/>
                    <a:pt x="0" y="110"/>
                  </a:cubicBezTo>
                  <a:cubicBezTo>
                    <a:pt x="28" y="110"/>
                    <a:pt x="28" y="110"/>
                    <a:pt x="28" y="110"/>
                  </a:cubicBezTo>
                  <a:cubicBezTo>
                    <a:pt x="28" y="107"/>
                    <a:pt x="28" y="105"/>
                    <a:pt x="28" y="102"/>
                  </a:cubicBezTo>
                  <a:cubicBezTo>
                    <a:pt x="28" y="98"/>
                    <a:pt x="28" y="93"/>
                    <a:pt x="28" y="89"/>
                  </a:cubicBezTo>
                  <a:cubicBezTo>
                    <a:pt x="0" y="89"/>
                    <a:pt x="0" y="89"/>
                    <a:pt x="0" y="89"/>
                  </a:cubicBezTo>
                  <a:cubicBezTo>
                    <a:pt x="0" y="64"/>
                    <a:pt x="0" y="64"/>
                    <a:pt x="0" y="64"/>
                  </a:cubicBezTo>
                  <a:cubicBezTo>
                    <a:pt x="33" y="64"/>
                    <a:pt x="33" y="64"/>
                    <a:pt x="33" y="64"/>
                  </a:cubicBezTo>
                  <a:cubicBezTo>
                    <a:pt x="35" y="57"/>
                    <a:pt x="37" y="50"/>
                    <a:pt x="41" y="44"/>
                  </a:cubicBezTo>
                  <a:cubicBezTo>
                    <a:pt x="55" y="17"/>
                    <a:pt x="82" y="0"/>
                    <a:pt x="112" y="0"/>
                  </a:cubicBezTo>
                  <a:cubicBezTo>
                    <a:pt x="130" y="0"/>
                    <a:pt x="142" y="4"/>
                    <a:pt x="151" y="9"/>
                  </a:cubicBezTo>
                  <a:cubicBezTo>
                    <a:pt x="145" y="36"/>
                    <a:pt x="145" y="36"/>
                    <a:pt x="145" y="36"/>
                  </a:cubicBezTo>
                  <a:cubicBezTo>
                    <a:pt x="134" y="29"/>
                    <a:pt x="124" y="25"/>
                    <a:pt x="112" y="25"/>
                  </a:cubicBezTo>
                  <a:cubicBezTo>
                    <a:pt x="95" y="25"/>
                    <a:pt x="82" y="34"/>
                    <a:pt x="73" y="48"/>
                  </a:cubicBezTo>
                  <a:cubicBezTo>
                    <a:pt x="71" y="53"/>
                    <a:pt x="69" y="58"/>
                    <a:pt x="67" y="64"/>
                  </a:cubicBezTo>
                  <a:cubicBezTo>
                    <a:pt x="129" y="64"/>
                    <a:pt x="129" y="64"/>
                    <a:pt x="129" y="64"/>
                  </a:cubicBezTo>
                  <a:cubicBezTo>
                    <a:pt x="129" y="89"/>
                    <a:pt x="129" y="89"/>
                    <a:pt x="129" y="89"/>
                  </a:cubicBezTo>
                  <a:cubicBezTo>
                    <a:pt x="64" y="89"/>
                    <a:pt x="64" y="89"/>
                    <a:pt x="64" y="89"/>
                  </a:cubicBezTo>
                  <a:cubicBezTo>
                    <a:pt x="63" y="92"/>
                    <a:pt x="63" y="95"/>
                    <a:pt x="63" y="99"/>
                  </a:cubicBezTo>
                  <a:cubicBezTo>
                    <a:pt x="63" y="103"/>
                    <a:pt x="64" y="106"/>
                    <a:pt x="64" y="110"/>
                  </a:cubicBezTo>
                  <a:cubicBezTo>
                    <a:pt x="129" y="110"/>
                    <a:pt x="129" y="110"/>
                    <a:pt x="129" y="110"/>
                  </a:cubicBezTo>
                  <a:cubicBezTo>
                    <a:pt x="129" y="134"/>
                    <a:pt x="129" y="134"/>
                    <a:pt x="129" y="134"/>
                  </a:cubicBezTo>
                  <a:cubicBezTo>
                    <a:pt x="67" y="134"/>
                    <a:pt x="67" y="134"/>
                    <a:pt x="67" y="134"/>
                  </a:cubicBezTo>
                  <a:cubicBezTo>
                    <a:pt x="68" y="139"/>
                    <a:pt x="69" y="143"/>
                    <a:pt x="71" y="147"/>
                  </a:cubicBezTo>
                  <a:cubicBezTo>
                    <a:pt x="79" y="165"/>
                    <a:pt x="95" y="174"/>
                    <a:pt x="114" y="174"/>
                  </a:cubicBezTo>
                  <a:cubicBezTo>
                    <a:pt x="127" y="174"/>
                    <a:pt x="137" y="170"/>
                    <a:pt x="148" y="162"/>
                  </a:cubicBezTo>
                  <a:cubicBezTo>
                    <a:pt x="155" y="188"/>
                    <a:pt x="155" y="188"/>
                    <a:pt x="155" y="188"/>
                  </a:cubicBezTo>
                  <a:cubicBezTo>
                    <a:pt x="142" y="195"/>
                    <a:pt x="131" y="199"/>
                    <a:pt x="111" y="199"/>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7" name="Freeform 99"/>
            <p:cNvSpPr>
              <a:spLocks/>
            </p:cNvSpPr>
            <p:nvPr/>
          </p:nvSpPr>
          <p:spPr bwMode="auto">
            <a:xfrm>
              <a:off x="2187575" y="3994150"/>
              <a:ext cx="330200" cy="506412"/>
            </a:xfrm>
            <a:custGeom>
              <a:avLst/>
              <a:gdLst>
                <a:gd name="T0" fmla="*/ 261 w 261"/>
                <a:gd name="T1" fmla="*/ 195 h 398"/>
                <a:gd name="T2" fmla="*/ 127 w 261"/>
                <a:gd name="T3" fmla="*/ 398 h 398"/>
                <a:gd name="T4" fmla="*/ 0 w 261"/>
                <a:gd name="T5" fmla="*/ 200 h 398"/>
                <a:gd name="T6" fmla="*/ 134 w 261"/>
                <a:gd name="T7" fmla="*/ 0 h 398"/>
                <a:gd name="T8" fmla="*/ 261 w 261"/>
                <a:gd name="T9" fmla="*/ 195 h 398"/>
              </a:gdLst>
              <a:ahLst/>
              <a:cxnLst>
                <a:cxn ang="0">
                  <a:pos x="T0" y="T1"/>
                </a:cxn>
                <a:cxn ang="0">
                  <a:pos x="T2" y="T3"/>
                </a:cxn>
                <a:cxn ang="0">
                  <a:pos x="T4" y="T5"/>
                </a:cxn>
                <a:cxn ang="0">
                  <a:pos x="T6" y="T7"/>
                </a:cxn>
                <a:cxn ang="0">
                  <a:pos x="T8" y="T9"/>
                </a:cxn>
              </a:cxnLst>
              <a:rect l="0" t="0" r="r" b="b"/>
              <a:pathLst>
                <a:path w="261" h="398">
                  <a:moveTo>
                    <a:pt x="261" y="195"/>
                  </a:moveTo>
                  <a:cubicBezTo>
                    <a:pt x="261" y="326"/>
                    <a:pt x="213" y="398"/>
                    <a:pt x="127" y="398"/>
                  </a:cubicBezTo>
                  <a:cubicBezTo>
                    <a:pt x="52" y="398"/>
                    <a:pt x="1" y="328"/>
                    <a:pt x="0" y="200"/>
                  </a:cubicBezTo>
                  <a:cubicBezTo>
                    <a:pt x="0" y="71"/>
                    <a:pt x="56" y="0"/>
                    <a:pt x="134" y="0"/>
                  </a:cubicBezTo>
                  <a:cubicBezTo>
                    <a:pt x="215" y="0"/>
                    <a:pt x="261" y="72"/>
                    <a:pt x="261" y="19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8" name="Freeform 100"/>
            <p:cNvSpPr>
              <a:spLocks/>
            </p:cNvSpPr>
            <p:nvPr/>
          </p:nvSpPr>
          <p:spPr bwMode="auto">
            <a:xfrm>
              <a:off x="2257425" y="4056063"/>
              <a:ext cx="190500" cy="381000"/>
            </a:xfrm>
            <a:custGeom>
              <a:avLst/>
              <a:gdLst>
                <a:gd name="T0" fmla="*/ 0 w 149"/>
                <a:gd name="T1" fmla="*/ 152 h 300"/>
                <a:gd name="T2" fmla="*/ 74 w 149"/>
                <a:gd name="T3" fmla="*/ 300 h 300"/>
                <a:gd name="T4" fmla="*/ 149 w 149"/>
                <a:gd name="T5" fmla="*/ 148 h 300"/>
                <a:gd name="T6" fmla="*/ 75 w 149"/>
                <a:gd name="T7" fmla="*/ 0 h 300"/>
                <a:gd name="T8" fmla="*/ 0 w 149"/>
                <a:gd name="T9" fmla="*/ 152 h 300"/>
              </a:gdLst>
              <a:ahLst/>
              <a:cxnLst>
                <a:cxn ang="0">
                  <a:pos x="T0" y="T1"/>
                </a:cxn>
                <a:cxn ang="0">
                  <a:pos x="T2" y="T3"/>
                </a:cxn>
                <a:cxn ang="0">
                  <a:pos x="T4" y="T5"/>
                </a:cxn>
                <a:cxn ang="0">
                  <a:pos x="T6" y="T7"/>
                </a:cxn>
                <a:cxn ang="0">
                  <a:pos x="T8" y="T9"/>
                </a:cxn>
              </a:cxnLst>
              <a:rect l="0" t="0" r="r" b="b"/>
              <a:pathLst>
                <a:path w="149" h="300">
                  <a:moveTo>
                    <a:pt x="0" y="152"/>
                  </a:moveTo>
                  <a:cubicBezTo>
                    <a:pt x="0" y="247"/>
                    <a:pt x="29" y="300"/>
                    <a:pt x="74" y="300"/>
                  </a:cubicBezTo>
                  <a:cubicBezTo>
                    <a:pt x="125" y="300"/>
                    <a:pt x="149" y="241"/>
                    <a:pt x="149" y="148"/>
                  </a:cubicBezTo>
                  <a:cubicBezTo>
                    <a:pt x="149" y="58"/>
                    <a:pt x="126" y="0"/>
                    <a:pt x="75" y="0"/>
                  </a:cubicBezTo>
                  <a:cubicBezTo>
                    <a:pt x="32" y="0"/>
                    <a:pt x="0" y="52"/>
                    <a:pt x="0" y="152"/>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19" name="Freeform 101"/>
            <p:cNvSpPr>
              <a:spLocks/>
            </p:cNvSpPr>
            <p:nvPr/>
          </p:nvSpPr>
          <p:spPr bwMode="auto">
            <a:xfrm>
              <a:off x="1811338" y="4000500"/>
              <a:ext cx="344487" cy="503237"/>
            </a:xfrm>
            <a:custGeom>
              <a:avLst/>
              <a:gdLst>
                <a:gd name="T0" fmla="*/ 49 w 270"/>
                <a:gd name="T1" fmla="*/ 0 h 396"/>
                <a:gd name="T2" fmla="*/ 250 w 270"/>
                <a:gd name="T3" fmla="*/ 0 h 396"/>
                <a:gd name="T4" fmla="*/ 250 w 270"/>
                <a:gd name="T5" fmla="*/ 57 h 396"/>
                <a:gd name="T6" fmla="*/ 96 w 270"/>
                <a:gd name="T7" fmla="*/ 57 h 396"/>
                <a:gd name="T8" fmla="*/ 76 w 270"/>
                <a:gd name="T9" fmla="*/ 156 h 396"/>
                <a:gd name="T10" fmla="*/ 77 w 270"/>
                <a:gd name="T11" fmla="*/ 157 h 396"/>
                <a:gd name="T12" fmla="*/ 110 w 270"/>
                <a:gd name="T13" fmla="*/ 135 h 396"/>
                <a:gd name="T14" fmla="*/ 149 w 270"/>
                <a:gd name="T15" fmla="*/ 127 h 396"/>
                <a:gd name="T16" fmla="*/ 200 w 270"/>
                <a:gd name="T17" fmla="*/ 137 h 396"/>
                <a:gd name="T18" fmla="*/ 239 w 270"/>
                <a:gd name="T19" fmla="*/ 164 h 396"/>
                <a:gd name="T20" fmla="*/ 262 w 270"/>
                <a:gd name="T21" fmla="*/ 206 h 396"/>
                <a:gd name="T22" fmla="*/ 270 w 270"/>
                <a:gd name="T23" fmla="*/ 257 h 396"/>
                <a:gd name="T24" fmla="*/ 263 w 270"/>
                <a:gd name="T25" fmla="*/ 305 h 396"/>
                <a:gd name="T26" fmla="*/ 239 w 270"/>
                <a:gd name="T27" fmla="*/ 350 h 396"/>
                <a:gd name="T28" fmla="*/ 197 w 270"/>
                <a:gd name="T29" fmla="*/ 383 h 396"/>
                <a:gd name="T30" fmla="*/ 136 w 270"/>
                <a:gd name="T31" fmla="*/ 396 h 396"/>
                <a:gd name="T32" fmla="*/ 84 w 270"/>
                <a:gd name="T33" fmla="*/ 389 h 396"/>
                <a:gd name="T34" fmla="*/ 41 w 270"/>
                <a:gd name="T35" fmla="*/ 367 h 396"/>
                <a:gd name="T36" fmla="*/ 12 w 270"/>
                <a:gd name="T37" fmla="*/ 330 h 396"/>
                <a:gd name="T38" fmla="*/ 0 w 270"/>
                <a:gd name="T39" fmla="*/ 278 h 396"/>
                <a:gd name="T40" fmla="*/ 63 w 270"/>
                <a:gd name="T41" fmla="*/ 278 h 396"/>
                <a:gd name="T42" fmla="*/ 85 w 270"/>
                <a:gd name="T43" fmla="*/ 327 h 396"/>
                <a:gd name="T44" fmla="*/ 135 w 270"/>
                <a:gd name="T45" fmla="*/ 344 h 396"/>
                <a:gd name="T46" fmla="*/ 169 w 270"/>
                <a:gd name="T47" fmla="*/ 337 h 396"/>
                <a:gd name="T48" fmla="*/ 191 w 270"/>
                <a:gd name="T49" fmla="*/ 319 h 396"/>
                <a:gd name="T50" fmla="*/ 203 w 270"/>
                <a:gd name="T51" fmla="*/ 292 h 396"/>
                <a:gd name="T52" fmla="*/ 207 w 270"/>
                <a:gd name="T53" fmla="*/ 258 h 396"/>
                <a:gd name="T54" fmla="*/ 202 w 270"/>
                <a:gd name="T55" fmla="*/ 228 h 396"/>
                <a:gd name="T56" fmla="*/ 189 w 270"/>
                <a:gd name="T57" fmla="*/ 202 h 396"/>
                <a:gd name="T58" fmla="*/ 166 w 270"/>
                <a:gd name="T59" fmla="*/ 184 h 396"/>
                <a:gd name="T60" fmla="*/ 133 w 270"/>
                <a:gd name="T61" fmla="*/ 177 h 396"/>
                <a:gd name="T62" fmla="*/ 96 w 270"/>
                <a:gd name="T63" fmla="*/ 185 h 396"/>
                <a:gd name="T64" fmla="*/ 70 w 270"/>
                <a:gd name="T65" fmla="*/ 213 h 396"/>
                <a:gd name="T66" fmla="*/ 7 w 270"/>
                <a:gd name="T67" fmla="*/ 213 h 396"/>
                <a:gd name="T68" fmla="*/ 49 w 270"/>
                <a:gd name="T6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396">
                  <a:moveTo>
                    <a:pt x="49" y="0"/>
                  </a:moveTo>
                  <a:cubicBezTo>
                    <a:pt x="250" y="0"/>
                    <a:pt x="250" y="0"/>
                    <a:pt x="250" y="0"/>
                  </a:cubicBezTo>
                  <a:cubicBezTo>
                    <a:pt x="250" y="57"/>
                    <a:pt x="250" y="57"/>
                    <a:pt x="250" y="57"/>
                  </a:cubicBezTo>
                  <a:cubicBezTo>
                    <a:pt x="96" y="57"/>
                    <a:pt x="96" y="57"/>
                    <a:pt x="96" y="57"/>
                  </a:cubicBezTo>
                  <a:cubicBezTo>
                    <a:pt x="76" y="156"/>
                    <a:pt x="76" y="156"/>
                    <a:pt x="76" y="156"/>
                  </a:cubicBezTo>
                  <a:cubicBezTo>
                    <a:pt x="77" y="157"/>
                    <a:pt x="77" y="157"/>
                    <a:pt x="77" y="157"/>
                  </a:cubicBezTo>
                  <a:cubicBezTo>
                    <a:pt x="86" y="147"/>
                    <a:pt x="96" y="140"/>
                    <a:pt x="110" y="135"/>
                  </a:cubicBezTo>
                  <a:cubicBezTo>
                    <a:pt x="123" y="130"/>
                    <a:pt x="136" y="127"/>
                    <a:pt x="149" y="127"/>
                  </a:cubicBezTo>
                  <a:cubicBezTo>
                    <a:pt x="168" y="127"/>
                    <a:pt x="185" y="131"/>
                    <a:pt x="200" y="137"/>
                  </a:cubicBezTo>
                  <a:cubicBezTo>
                    <a:pt x="215" y="144"/>
                    <a:pt x="228" y="153"/>
                    <a:pt x="239" y="164"/>
                  </a:cubicBezTo>
                  <a:cubicBezTo>
                    <a:pt x="249" y="176"/>
                    <a:pt x="257" y="190"/>
                    <a:pt x="262" y="206"/>
                  </a:cubicBezTo>
                  <a:cubicBezTo>
                    <a:pt x="267" y="222"/>
                    <a:pt x="270" y="239"/>
                    <a:pt x="270" y="257"/>
                  </a:cubicBezTo>
                  <a:cubicBezTo>
                    <a:pt x="270" y="273"/>
                    <a:pt x="268" y="289"/>
                    <a:pt x="263" y="305"/>
                  </a:cubicBezTo>
                  <a:cubicBezTo>
                    <a:pt x="258" y="322"/>
                    <a:pt x="250" y="337"/>
                    <a:pt x="239" y="350"/>
                  </a:cubicBezTo>
                  <a:cubicBezTo>
                    <a:pt x="228" y="364"/>
                    <a:pt x="214" y="375"/>
                    <a:pt x="197" y="383"/>
                  </a:cubicBezTo>
                  <a:cubicBezTo>
                    <a:pt x="180" y="392"/>
                    <a:pt x="160" y="396"/>
                    <a:pt x="136" y="396"/>
                  </a:cubicBezTo>
                  <a:cubicBezTo>
                    <a:pt x="117" y="396"/>
                    <a:pt x="100" y="394"/>
                    <a:pt x="84" y="389"/>
                  </a:cubicBezTo>
                  <a:cubicBezTo>
                    <a:pt x="67" y="384"/>
                    <a:pt x="53" y="376"/>
                    <a:pt x="41" y="367"/>
                  </a:cubicBezTo>
                  <a:cubicBezTo>
                    <a:pt x="29" y="357"/>
                    <a:pt x="19" y="344"/>
                    <a:pt x="12" y="330"/>
                  </a:cubicBezTo>
                  <a:cubicBezTo>
                    <a:pt x="5" y="315"/>
                    <a:pt x="1" y="298"/>
                    <a:pt x="0" y="278"/>
                  </a:cubicBezTo>
                  <a:cubicBezTo>
                    <a:pt x="63" y="278"/>
                    <a:pt x="63" y="278"/>
                    <a:pt x="63" y="278"/>
                  </a:cubicBezTo>
                  <a:cubicBezTo>
                    <a:pt x="65" y="299"/>
                    <a:pt x="72" y="316"/>
                    <a:pt x="85" y="327"/>
                  </a:cubicBezTo>
                  <a:cubicBezTo>
                    <a:pt x="97" y="338"/>
                    <a:pt x="114" y="344"/>
                    <a:pt x="135" y="344"/>
                  </a:cubicBezTo>
                  <a:cubicBezTo>
                    <a:pt x="148" y="344"/>
                    <a:pt x="159" y="342"/>
                    <a:pt x="169" y="337"/>
                  </a:cubicBezTo>
                  <a:cubicBezTo>
                    <a:pt x="178" y="333"/>
                    <a:pt x="185" y="327"/>
                    <a:pt x="191" y="319"/>
                  </a:cubicBezTo>
                  <a:cubicBezTo>
                    <a:pt x="197" y="311"/>
                    <a:pt x="201" y="302"/>
                    <a:pt x="203" y="292"/>
                  </a:cubicBezTo>
                  <a:cubicBezTo>
                    <a:pt x="206" y="281"/>
                    <a:pt x="207" y="270"/>
                    <a:pt x="207" y="258"/>
                  </a:cubicBezTo>
                  <a:cubicBezTo>
                    <a:pt x="207" y="248"/>
                    <a:pt x="205" y="237"/>
                    <a:pt x="202" y="228"/>
                  </a:cubicBezTo>
                  <a:cubicBezTo>
                    <a:pt x="200" y="218"/>
                    <a:pt x="195" y="209"/>
                    <a:pt x="189" y="202"/>
                  </a:cubicBezTo>
                  <a:cubicBezTo>
                    <a:pt x="183" y="194"/>
                    <a:pt x="176" y="188"/>
                    <a:pt x="166" y="184"/>
                  </a:cubicBezTo>
                  <a:cubicBezTo>
                    <a:pt x="157" y="180"/>
                    <a:pt x="146" y="177"/>
                    <a:pt x="133" y="177"/>
                  </a:cubicBezTo>
                  <a:cubicBezTo>
                    <a:pt x="120" y="177"/>
                    <a:pt x="107" y="180"/>
                    <a:pt x="96" y="185"/>
                  </a:cubicBezTo>
                  <a:cubicBezTo>
                    <a:pt x="84" y="190"/>
                    <a:pt x="76" y="199"/>
                    <a:pt x="70" y="213"/>
                  </a:cubicBezTo>
                  <a:cubicBezTo>
                    <a:pt x="7" y="213"/>
                    <a:pt x="7" y="213"/>
                    <a:pt x="7" y="213"/>
                  </a:cubicBezTo>
                  <a:lnTo>
                    <a:pt x="49" y="0"/>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0" name="Rectangle 102"/>
            <p:cNvSpPr>
              <a:spLocks noChangeArrowheads="1"/>
            </p:cNvSpPr>
            <p:nvPr/>
          </p:nvSpPr>
          <p:spPr bwMode="auto">
            <a:xfrm>
              <a:off x="2022475" y="3835400"/>
              <a:ext cx="315912" cy="811212"/>
            </a:xfrm>
            <a:prstGeom prst="rect">
              <a:avLst/>
            </a:prstGeom>
            <a:solidFill>
              <a:srgbClr val="FFFFFF"/>
            </a:solidFill>
            <a:ln w="4763"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1" name="Freeform 103"/>
            <p:cNvSpPr>
              <a:spLocks noEditPoints="1"/>
            </p:cNvSpPr>
            <p:nvPr/>
          </p:nvSpPr>
          <p:spPr bwMode="auto">
            <a:xfrm>
              <a:off x="2062163" y="4116388"/>
              <a:ext cx="234950" cy="249237"/>
            </a:xfrm>
            <a:custGeom>
              <a:avLst/>
              <a:gdLst>
                <a:gd name="T0" fmla="*/ 93 w 185"/>
                <a:gd name="T1" fmla="*/ 0 h 197"/>
                <a:gd name="T2" fmla="*/ 0 w 185"/>
                <a:gd name="T3" fmla="*/ 93 h 197"/>
                <a:gd name="T4" fmla="*/ 34 w 185"/>
                <a:gd name="T5" fmla="*/ 164 h 197"/>
                <a:gd name="T6" fmla="*/ 12 w 185"/>
                <a:gd name="T7" fmla="*/ 197 h 197"/>
                <a:gd name="T8" fmla="*/ 150 w 185"/>
                <a:gd name="T9" fmla="*/ 97 h 197"/>
                <a:gd name="T10" fmla="*/ 104 w 185"/>
                <a:gd name="T11" fmla="*/ 97 h 197"/>
                <a:gd name="T12" fmla="*/ 152 w 185"/>
                <a:gd name="T13" fmla="*/ 42 h 197"/>
                <a:gd name="T14" fmla="*/ 171 w 185"/>
                <a:gd name="T15" fmla="*/ 93 h 197"/>
                <a:gd name="T16" fmla="*/ 93 w 185"/>
                <a:gd name="T17" fmla="*/ 171 h 197"/>
                <a:gd name="T18" fmla="*/ 70 w 185"/>
                <a:gd name="T19" fmla="*/ 168 h 197"/>
                <a:gd name="T20" fmla="*/ 53 w 185"/>
                <a:gd name="T21" fmla="*/ 176 h 197"/>
                <a:gd name="T22" fmla="*/ 93 w 185"/>
                <a:gd name="T23" fmla="*/ 185 h 197"/>
                <a:gd name="T24" fmla="*/ 185 w 185"/>
                <a:gd name="T25" fmla="*/ 93 h 197"/>
                <a:gd name="T26" fmla="*/ 93 w 185"/>
                <a:gd name="T27" fmla="*/ 0 h 197"/>
                <a:gd name="T28" fmla="*/ 42 w 185"/>
                <a:gd name="T29" fmla="*/ 152 h 197"/>
                <a:gd name="T30" fmla="*/ 14 w 185"/>
                <a:gd name="T31" fmla="*/ 93 h 197"/>
                <a:gd name="T32" fmla="*/ 89 w 185"/>
                <a:gd name="T33" fmla="*/ 14 h 197"/>
                <a:gd name="T34" fmla="*/ 35 w 185"/>
                <a:gd name="T35" fmla="*/ 113 h 197"/>
                <a:gd name="T36" fmla="*/ 69 w 185"/>
                <a:gd name="T37" fmla="*/ 113 h 197"/>
                <a:gd name="T38" fmla="*/ 42 w 185"/>
                <a:gd name="T39" fmla="*/ 15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197">
                  <a:moveTo>
                    <a:pt x="93" y="0"/>
                  </a:moveTo>
                  <a:cubicBezTo>
                    <a:pt x="42" y="0"/>
                    <a:pt x="0" y="42"/>
                    <a:pt x="0" y="93"/>
                  </a:cubicBezTo>
                  <a:cubicBezTo>
                    <a:pt x="0" y="121"/>
                    <a:pt x="14" y="147"/>
                    <a:pt x="34" y="164"/>
                  </a:cubicBezTo>
                  <a:cubicBezTo>
                    <a:pt x="12" y="197"/>
                    <a:pt x="12" y="197"/>
                    <a:pt x="12" y="197"/>
                  </a:cubicBezTo>
                  <a:cubicBezTo>
                    <a:pt x="150" y="97"/>
                    <a:pt x="150" y="97"/>
                    <a:pt x="150" y="97"/>
                  </a:cubicBezTo>
                  <a:cubicBezTo>
                    <a:pt x="104" y="97"/>
                    <a:pt x="104" y="97"/>
                    <a:pt x="104" y="97"/>
                  </a:cubicBezTo>
                  <a:cubicBezTo>
                    <a:pt x="152" y="42"/>
                    <a:pt x="152" y="42"/>
                    <a:pt x="152" y="42"/>
                  </a:cubicBezTo>
                  <a:cubicBezTo>
                    <a:pt x="164" y="55"/>
                    <a:pt x="171" y="73"/>
                    <a:pt x="171" y="93"/>
                  </a:cubicBezTo>
                  <a:cubicBezTo>
                    <a:pt x="171" y="136"/>
                    <a:pt x="136" y="171"/>
                    <a:pt x="93" y="171"/>
                  </a:cubicBezTo>
                  <a:cubicBezTo>
                    <a:pt x="85" y="171"/>
                    <a:pt x="77" y="170"/>
                    <a:pt x="70" y="168"/>
                  </a:cubicBezTo>
                  <a:cubicBezTo>
                    <a:pt x="53" y="176"/>
                    <a:pt x="53" y="176"/>
                    <a:pt x="53" y="176"/>
                  </a:cubicBezTo>
                  <a:cubicBezTo>
                    <a:pt x="65" y="182"/>
                    <a:pt x="79" y="185"/>
                    <a:pt x="93" y="185"/>
                  </a:cubicBezTo>
                  <a:cubicBezTo>
                    <a:pt x="144" y="185"/>
                    <a:pt x="185" y="144"/>
                    <a:pt x="185" y="93"/>
                  </a:cubicBezTo>
                  <a:cubicBezTo>
                    <a:pt x="185" y="42"/>
                    <a:pt x="144" y="0"/>
                    <a:pt x="93" y="0"/>
                  </a:cubicBezTo>
                  <a:close/>
                  <a:moveTo>
                    <a:pt x="42" y="152"/>
                  </a:moveTo>
                  <a:cubicBezTo>
                    <a:pt x="25" y="138"/>
                    <a:pt x="14" y="117"/>
                    <a:pt x="14" y="93"/>
                  </a:cubicBezTo>
                  <a:cubicBezTo>
                    <a:pt x="14" y="51"/>
                    <a:pt x="48" y="16"/>
                    <a:pt x="89" y="14"/>
                  </a:cubicBezTo>
                  <a:cubicBezTo>
                    <a:pt x="35" y="113"/>
                    <a:pt x="35" y="113"/>
                    <a:pt x="35" y="113"/>
                  </a:cubicBezTo>
                  <a:cubicBezTo>
                    <a:pt x="69" y="113"/>
                    <a:pt x="69" y="113"/>
                    <a:pt x="69" y="113"/>
                  </a:cubicBezTo>
                  <a:lnTo>
                    <a:pt x="42"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39" name="Gruppieren 2138"/>
          <p:cNvGrpSpPr/>
          <p:nvPr/>
        </p:nvGrpSpPr>
        <p:grpSpPr>
          <a:xfrm>
            <a:off x="2933699" y="3830278"/>
            <a:ext cx="1566863" cy="822858"/>
            <a:chOff x="2976563" y="3836988"/>
            <a:chExt cx="1524000" cy="806450"/>
          </a:xfrm>
        </p:grpSpPr>
        <p:sp>
          <p:nvSpPr>
            <p:cNvPr id="2124" name="AutoShape 105"/>
            <p:cNvSpPr>
              <a:spLocks noChangeAspect="1" noChangeArrowheads="1" noTextEdit="1"/>
            </p:cNvSpPr>
            <p:nvPr/>
          </p:nvSpPr>
          <p:spPr bwMode="auto">
            <a:xfrm>
              <a:off x="2976563" y="3836988"/>
              <a:ext cx="152400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25" name="Rectangle 107"/>
            <p:cNvSpPr>
              <a:spLocks noChangeArrowheads="1"/>
            </p:cNvSpPr>
            <p:nvPr/>
          </p:nvSpPr>
          <p:spPr bwMode="auto">
            <a:xfrm>
              <a:off x="3154363" y="3843338"/>
              <a:ext cx="1343025" cy="795338"/>
            </a:xfrm>
            <a:prstGeom prst="rect">
              <a:avLst/>
            </a:prstGeom>
            <a:solidFill>
              <a:srgbClr val="FFFFFF"/>
            </a:solidFill>
            <a:ln w="9525" cap="flat">
              <a:solidFill>
                <a:srgbClr val="00407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26" name="Rectangle 108"/>
            <p:cNvSpPr>
              <a:spLocks noChangeArrowheads="1"/>
            </p:cNvSpPr>
            <p:nvPr/>
          </p:nvSpPr>
          <p:spPr bwMode="auto">
            <a:xfrm>
              <a:off x="3109913"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7" name="Rectangle 109"/>
            <p:cNvSpPr>
              <a:spLocks noChangeArrowheads="1"/>
            </p:cNvSpPr>
            <p:nvPr/>
          </p:nvSpPr>
          <p:spPr bwMode="auto">
            <a:xfrm>
              <a:off x="3067051"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8" name="Rectangle 110"/>
            <p:cNvSpPr>
              <a:spLocks noChangeArrowheads="1"/>
            </p:cNvSpPr>
            <p:nvPr/>
          </p:nvSpPr>
          <p:spPr bwMode="auto">
            <a:xfrm>
              <a:off x="3025776" y="3843338"/>
              <a:ext cx="1343025" cy="795338"/>
            </a:xfrm>
            <a:prstGeom prst="rect">
              <a:avLst/>
            </a:pr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29" name="Rectangle 111"/>
            <p:cNvSpPr>
              <a:spLocks noChangeArrowheads="1"/>
            </p:cNvSpPr>
            <p:nvPr/>
          </p:nvSpPr>
          <p:spPr bwMode="auto">
            <a:xfrm>
              <a:off x="2981326" y="3843338"/>
              <a:ext cx="1343025" cy="79533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0" name="Rectangle 112"/>
            <p:cNvSpPr>
              <a:spLocks noChangeArrowheads="1"/>
            </p:cNvSpPr>
            <p:nvPr/>
          </p:nvSpPr>
          <p:spPr bwMode="auto">
            <a:xfrm>
              <a:off x="3022601" y="3886201"/>
              <a:ext cx="1262063" cy="709613"/>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1" name="Freeform 113"/>
            <p:cNvSpPr>
              <a:spLocks/>
            </p:cNvSpPr>
            <p:nvPr/>
          </p:nvSpPr>
          <p:spPr bwMode="auto">
            <a:xfrm>
              <a:off x="4040188" y="3998913"/>
              <a:ext cx="192088" cy="247650"/>
            </a:xfrm>
            <a:custGeom>
              <a:avLst/>
              <a:gdLst>
                <a:gd name="T0" fmla="*/ 110 w 154"/>
                <a:gd name="T1" fmla="*/ 198 h 198"/>
                <a:gd name="T2" fmla="*/ 49 w 154"/>
                <a:gd name="T3" fmla="*/ 171 h 198"/>
                <a:gd name="T4" fmla="*/ 31 w 154"/>
                <a:gd name="T5" fmla="*/ 133 h 198"/>
                <a:gd name="T6" fmla="*/ 0 w 154"/>
                <a:gd name="T7" fmla="*/ 133 h 198"/>
                <a:gd name="T8" fmla="*/ 0 w 154"/>
                <a:gd name="T9" fmla="*/ 109 h 198"/>
                <a:gd name="T10" fmla="*/ 28 w 154"/>
                <a:gd name="T11" fmla="*/ 109 h 198"/>
                <a:gd name="T12" fmla="*/ 28 w 154"/>
                <a:gd name="T13" fmla="*/ 102 h 198"/>
                <a:gd name="T14" fmla="*/ 28 w 154"/>
                <a:gd name="T15" fmla="*/ 88 h 198"/>
                <a:gd name="T16" fmla="*/ 0 w 154"/>
                <a:gd name="T17" fmla="*/ 88 h 198"/>
                <a:gd name="T18" fmla="*/ 0 w 154"/>
                <a:gd name="T19" fmla="*/ 64 h 198"/>
                <a:gd name="T20" fmla="*/ 32 w 154"/>
                <a:gd name="T21" fmla="*/ 64 h 198"/>
                <a:gd name="T22" fmla="*/ 40 w 154"/>
                <a:gd name="T23" fmla="*/ 44 h 198"/>
                <a:gd name="T24" fmla="*/ 111 w 154"/>
                <a:gd name="T25" fmla="*/ 0 h 198"/>
                <a:gd name="T26" fmla="*/ 151 w 154"/>
                <a:gd name="T27" fmla="*/ 9 h 198"/>
                <a:gd name="T28" fmla="*/ 144 w 154"/>
                <a:gd name="T29" fmla="*/ 36 h 198"/>
                <a:gd name="T30" fmla="*/ 111 w 154"/>
                <a:gd name="T31" fmla="*/ 25 h 198"/>
                <a:gd name="T32" fmla="*/ 73 w 154"/>
                <a:gd name="T33" fmla="*/ 48 h 198"/>
                <a:gd name="T34" fmla="*/ 67 w 154"/>
                <a:gd name="T35" fmla="*/ 64 h 198"/>
                <a:gd name="T36" fmla="*/ 128 w 154"/>
                <a:gd name="T37" fmla="*/ 64 h 198"/>
                <a:gd name="T38" fmla="*/ 128 w 154"/>
                <a:gd name="T39" fmla="*/ 88 h 198"/>
                <a:gd name="T40" fmla="*/ 63 w 154"/>
                <a:gd name="T41" fmla="*/ 88 h 198"/>
                <a:gd name="T42" fmla="*/ 63 w 154"/>
                <a:gd name="T43" fmla="*/ 98 h 198"/>
                <a:gd name="T44" fmla="*/ 63 w 154"/>
                <a:gd name="T45" fmla="*/ 109 h 198"/>
                <a:gd name="T46" fmla="*/ 128 w 154"/>
                <a:gd name="T47" fmla="*/ 109 h 198"/>
                <a:gd name="T48" fmla="*/ 128 w 154"/>
                <a:gd name="T49" fmla="*/ 133 h 198"/>
                <a:gd name="T50" fmla="*/ 66 w 154"/>
                <a:gd name="T51" fmla="*/ 133 h 198"/>
                <a:gd name="T52" fmla="*/ 71 w 154"/>
                <a:gd name="T53" fmla="*/ 146 h 198"/>
                <a:gd name="T54" fmla="*/ 113 w 154"/>
                <a:gd name="T55" fmla="*/ 173 h 198"/>
                <a:gd name="T56" fmla="*/ 148 w 154"/>
                <a:gd name="T57" fmla="*/ 161 h 198"/>
                <a:gd name="T58" fmla="*/ 154 w 154"/>
                <a:gd name="T59" fmla="*/ 187 h 198"/>
                <a:gd name="T60" fmla="*/ 110 w 154"/>
                <a:gd name="T61"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 h="198">
                  <a:moveTo>
                    <a:pt x="110" y="198"/>
                  </a:moveTo>
                  <a:cubicBezTo>
                    <a:pt x="85" y="198"/>
                    <a:pt x="64" y="189"/>
                    <a:pt x="49" y="171"/>
                  </a:cubicBezTo>
                  <a:cubicBezTo>
                    <a:pt x="41" y="160"/>
                    <a:pt x="35" y="148"/>
                    <a:pt x="31" y="133"/>
                  </a:cubicBezTo>
                  <a:cubicBezTo>
                    <a:pt x="0" y="133"/>
                    <a:pt x="0" y="133"/>
                    <a:pt x="0" y="133"/>
                  </a:cubicBezTo>
                  <a:cubicBezTo>
                    <a:pt x="0" y="109"/>
                    <a:pt x="0" y="109"/>
                    <a:pt x="0" y="109"/>
                  </a:cubicBezTo>
                  <a:cubicBezTo>
                    <a:pt x="28" y="109"/>
                    <a:pt x="28" y="109"/>
                    <a:pt x="28" y="109"/>
                  </a:cubicBezTo>
                  <a:cubicBezTo>
                    <a:pt x="28" y="107"/>
                    <a:pt x="28" y="105"/>
                    <a:pt x="28" y="102"/>
                  </a:cubicBezTo>
                  <a:cubicBezTo>
                    <a:pt x="28" y="97"/>
                    <a:pt x="28" y="93"/>
                    <a:pt x="28" y="88"/>
                  </a:cubicBezTo>
                  <a:cubicBezTo>
                    <a:pt x="0" y="88"/>
                    <a:pt x="0" y="88"/>
                    <a:pt x="0" y="88"/>
                  </a:cubicBezTo>
                  <a:cubicBezTo>
                    <a:pt x="0" y="64"/>
                    <a:pt x="0" y="64"/>
                    <a:pt x="0" y="64"/>
                  </a:cubicBezTo>
                  <a:cubicBezTo>
                    <a:pt x="32" y="64"/>
                    <a:pt x="32" y="64"/>
                    <a:pt x="32" y="64"/>
                  </a:cubicBezTo>
                  <a:cubicBezTo>
                    <a:pt x="34" y="57"/>
                    <a:pt x="37" y="50"/>
                    <a:pt x="40" y="44"/>
                  </a:cubicBezTo>
                  <a:cubicBezTo>
                    <a:pt x="55" y="16"/>
                    <a:pt x="81" y="0"/>
                    <a:pt x="111" y="0"/>
                  </a:cubicBezTo>
                  <a:cubicBezTo>
                    <a:pt x="130" y="0"/>
                    <a:pt x="141" y="3"/>
                    <a:pt x="151" y="9"/>
                  </a:cubicBezTo>
                  <a:cubicBezTo>
                    <a:pt x="144" y="36"/>
                    <a:pt x="144" y="36"/>
                    <a:pt x="144" y="36"/>
                  </a:cubicBezTo>
                  <a:cubicBezTo>
                    <a:pt x="134" y="28"/>
                    <a:pt x="123" y="25"/>
                    <a:pt x="111" y="25"/>
                  </a:cubicBezTo>
                  <a:cubicBezTo>
                    <a:pt x="95" y="25"/>
                    <a:pt x="81" y="33"/>
                    <a:pt x="73" y="48"/>
                  </a:cubicBezTo>
                  <a:cubicBezTo>
                    <a:pt x="71" y="53"/>
                    <a:pt x="68" y="58"/>
                    <a:pt x="67" y="64"/>
                  </a:cubicBezTo>
                  <a:cubicBezTo>
                    <a:pt x="128" y="64"/>
                    <a:pt x="128" y="64"/>
                    <a:pt x="128" y="64"/>
                  </a:cubicBezTo>
                  <a:cubicBezTo>
                    <a:pt x="128" y="88"/>
                    <a:pt x="128" y="88"/>
                    <a:pt x="128" y="88"/>
                  </a:cubicBezTo>
                  <a:cubicBezTo>
                    <a:pt x="63" y="88"/>
                    <a:pt x="63" y="88"/>
                    <a:pt x="63" y="88"/>
                  </a:cubicBezTo>
                  <a:cubicBezTo>
                    <a:pt x="63" y="92"/>
                    <a:pt x="63" y="95"/>
                    <a:pt x="63" y="98"/>
                  </a:cubicBezTo>
                  <a:cubicBezTo>
                    <a:pt x="63" y="102"/>
                    <a:pt x="63" y="106"/>
                    <a:pt x="63" y="109"/>
                  </a:cubicBezTo>
                  <a:cubicBezTo>
                    <a:pt x="128" y="109"/>
                    <a:pt x="128" y="109"/>
                    <a:pt x="128" y="109"/>
                  </a:cubicBezTo>
                  <a:cubicBezTo>
                    <a:pt x="128" y="133"/>
                    <a:pt x="128" y="133"/>
                    <a:pt x="128" y="133"/>
                  </a:cubicBezTo>
                  <a:cubicBezTo>
                    <a:pt x="66" y="133"/>
                    <a:pt x="66" y="133"/>
                    <a:pt x="66" y="133"/>
                  </a:cubicBezTo>
                  <a:cubicBezTo>
                    <a:pt x="67" y="138"/>
                    <a:pt x="69" y="142"/>
                    <a:pt x="71" y="146"/>
                  </a:cubicBezTo>
                  <a:cubicBezTo>
                    <a:pt x="79" y="165"/>
                    <a:pt x="95" y="173"/>
                    <a:pt x="113" y="173"/>
                  </a:cubicBezTo>
                  <a:cubicBezTo>
                    <a:pt x="127" y="173"/>
                    <a:pt x="137" y="170"/>
                    <a:pt x="148" y="161"/>
                  </a:cubicBezTo>
                  <a:cubicBezTo>
                    <a:pt x="154" y="187"/>
                    <a:pt x="154" y="187"/>
                    <a:pt x="154" y="187"/>
                  </a:cubicBezTo>
                  <a:cubicBezTo>
                    <a:pt x="142" y="194"/>
                    <a:pt x="131" y="198"/>
                    <a:pt x="110" y="198"/>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2" name="Freeform 114"/>
            <p:cNvSpPr>
              <a:spLocks/>
            </p:cNvSpPr>
            <p:nvPr/>
          </p:nvSpPr>
          <p:spPr bwMode="auto">
            <a:xfrm>
              <a:off x="3071813" y="4005263"/>
              <a:ext cx="161925" cy="482600"/>
            </a:xfrm>
            <a:custGeom>
              <a:avLst/>
              <a:gdLst>
                <a:gd name="T0" fmla="*/ 63 w 102"/>
                <a:gd name="T1" fmla="*/ 39 h 304"/>
                <a:gd name="T2" fmla="*/ 61 w 102"/>
                <a:gd name="T3" fmla="*/ 39 h 304"/>
                <a:gd name="T4" fmla="*/ 9 w 102"/>
                <a:gd name="T5" fmla="*/ 67 h 304"/>
                <a:gd name="T6" fmla="*/ 0 w 102"/>
                <a:gd name="T7" fmla="*/ 36 h 304"/>
                <a:gd name="T8" fmla="*/ 67 w 102"/>
                <a:gd name="T9" fmla="*/ 0 h 304"/>
                <a:gd name="T10" fmla="*/ 102 w 102"/>
                <a:gd name="T11" fmla="*/ 0 h 304"/>
                <a:gd name="T12" fmla="*/ 102 w 102"/>
                <a:gd name="T13" fmla="*/ 304 h 304"/>
                <a:gd name="T14" fmla="*/ 63 w 102"/>
                <a:gd name="T15" fmla="*/ 304 h 304"/>
                <a:gd name="T16" fmla="*/ 63 w 102"/>
                <a:gd name="T17" fmla="*/ 3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04">
                  <a:moveTo>
                    <a:pt x="63" y="39"/>
                  </a:moveTo>
                  <a:lnTo>
                    <a:pt x="61" y="39"/>
                  </a:lnTo>
                  <a:lnTo>
                    <a:pt x="9" y="67"/>
                  </a:lnTo>
                  <a:lnTo>
                    <a:pt x="0" y="36"/>
                  </a:lnTo>
                  <a:lnTo>
                    <a:pt x="67" y="0"/>
                  </a:lnTo>
                  <a:lnTo>
                    <a:pt x="102" y="0"/>
                  </a:lnTo>
                  <a:lnTo>
                    <a:pt x="102" y="304"/>
                  </a:lnTo>
                  <a:lnTo>
                    <a:pt x="63" y="304"/>
                  </a:lnTo>
                  <a:lnTo>
                    <a:pt x="63" y="3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3" name="Freeform 115"/>
            <p:cNvSpPr>
              <a:spLocks/>
            </p:cNvSpPr>
            <p:nvPr/>
          </p:nvSpPr>
          <p:spPr bwMode="auto">
            <a:xfrm>
              <a:off x="3305176"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3" y="397"/>
                    <a:pt x="127" y="397"/>
                  </a:cubicBezTo>
                  <a:cubicBezTo>
                    <a:pt x="52" y="397"/>
                    <a:pt x="1" y="327"/>
                    <a:pt x="0" y="200"/>
                  </a:cubicBezTo>
                  <a:cubicBezTo>
                    <a:pt x="0" y="71"/>
                    <a:pt x="56"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4" name="Freeform 116"/>
            <p:cNvSpPr>
              <a:spLocks/>
            </p:cNvSpPr>
            <p:nvPr/>
          </p:nvSpPr>
          <p:spPr bwMode="auto">
            <a:xfrm>
              <a:off x="3370263"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2" y="317"/>
                    <a:pt x="157" y="255"/>
                    <a:pt x="157" y="157"/>
                  </a:cubicBezTo>
                  <a:cubicBezTo>
                    <a:pt x="157" y="62"/>
                    <a:pt x="133"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5" name="Freeform 117"/>
            <p:cNvSpPr>
              <a:spLocks/>
            </p:cNvSpPr>
            <p:nvPr/>
          </p:nvSpPr>
          <p:spPr bwMode="auto">
            <a:xfrm>
              <a:off x="3684588" y="3998913"/>
              <a:ext cx="325438" cy="495300"/>
            </a:xfrm>
            <a:custGeom>
              <a:avLst/>
              <a:gdLst>
                <a:gd name="T0" fmla="*/ 261 w 261"/>
                <a:gd name="T1" fmla="*/ 194 h 397"/>
                <a:gd name="T2" fmla="*/ 127 w 261"/>
                <a:gd name="T3" fmla="*/ 397 h 397"/>
                <a:gd name="T4" fmla="*/ 0 w 261"/>
                <a:gd name="T5" fmla="*/ 200 h 397"/>
                <a:gd name="T6" fmla="*/ 134 w 261"/>
                <a:gd name="T7" fmla="*/ 0 h 397"/>
                <a:gd name="T8" fmla="*/ 261 w 261"/>
                <a:gd name="T9" fmla="*/ 194 h 397"/>
              </a:gdLst>
              <a:ahLst/>
              <a:cxnLst>
                <a:cxn ang="0">
                  <a:pos x="T0" y="T1"/>
                </a:cxn>
                <a:cxn ang="0">
                  <a:pos x="T2" y="T3"/>
                </a:cxn>
                <a:cxn ang="0">
                  <a:pos x="T4" y="T5"/>
                </a:cxn>
                <a:cxn ang="0">
                  <a:pos x="T6" y="T7"/>
                </a:cxn>
                <a:cxn ang="0">
                  <a:pos x="T8" y="T9"/>
                </a:cxn>
              </a:cxnLst>
              <a:rect l="0" t="0" r="r" b="b"/>
              <a:pathLst>
                <a:path w="261" h="397">
                  <a:moveTo>
                    <a:pt x="261" y="194"/>
                  </a:moveTo>
                  <a:cubicBezTo>
                    <a:pt x="261" y="325"/>
                    <a:pt x="212" y="397"/>
                    <a:pt x="127" y="397"/>
                  </a:cubicBezTo>
                  <a:cubicBezTo>
                    <a:pt x="52" y="397"/>
                    <a:pt x="1" y="327"/>
                    <a:pt x="0" y="200"/>
                  </a:cubicBezTo>
                  <a:cubicBezTo>
                    <a:pt x="0" y="71"/>
                    <a:pt x="55" y="0"/>
                    <a:pt x="134" y="0"/>
                  </a:cubicBezTo>
                  <a:cubicBezTo>
                    <a:pt x="215" y="0"/>
                    <a:pt x="261" y="72"/>
                    <a:pt x="261" y="194"/>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6" name="Freeform 118"/>
            <p:cNvSpPr>
              <a:spLocks/>
            </p:cNvSpPr>
            <p:nvPr/>
          </p:nvSpPr>
          <p:spPr bwMode="auto">
            <a:xfrm>
              <a:off x="3749676" y="4048126"/>
              <a:ext cx="195263" cy="396875"/>
            </a:xfrm>
            <a:custGeom>
              <a:avLst/>
              <a:gdLst>
                <a:gd name="T0" fmla="*/ 0 w 157"/>
                <a:gd name="T1" fmla="*/ 160 h 317"/>
                <a:gd name="T2" fmla="*/ 78 w 157"/>
                <a:gd name="T3" fmla="*/ 317 h 317"/>
                <a:gd name="T4" fmla="*/ 157 w 157"/>
                <a:gd name="T5" fmla="*/ 157 h 317"/>
                <a:gd name="T6" fmla="*/ 79 w 157"/>
                <a:gd name="T7" fmla="*/ 0 h 317"/>
                <a:gd name="T8" fmla="*/ 0 w 157"/>
                <a:gd name="T9" fmla="*/ 160 h 317"/>
              </a:gdLst>
              <a:ahLst/>
              <a:cxnLst>
                <a:cxn ang="0">
                  <a:pos x="T0" y="T1"/>
                </a:cxn>
                <a:cxn ang="0">
                  <a:pos x="T2" y="T3"/>
                </a:cxn>
                <a:cxn ang="0">
                  <a:pos x="T4" y="T5"/>
                </a:cxn>
                <a:cxn ang="0">
                  <a:pos x="T6" y="T7"/>
                </a:cxn>
                <a:cxn ang="0">
                  <a:pos x="T8" y="T9"/>
                </a:cxn>
              </a:cxnLst>
              <a:rect l="0" t="0" r="r" b="b"/>
              <a:pathLst>
                <a:path w="157" h="317">
                  <a:moveTo>
                    <a:pt x="0" y="160"/>
                  </a:moveTo>
                  <a:cubicBezTo>
                    <a:pt x="0" y="260"/>
                    <a:pt x="31" y="317"/>
                    <a:pt x="78" y="317"/>
                  </a:cubicBezTo>
                  <a:cubicBezTo>
                    <a:pt x="131" y="317"/>
                    <a:pt x="157" y="255"/>
                    <a:pt x="157" y="157"/>
                  </a:cubicBezTo>
                  <a:cubicBezTo>
                    <a:pt x="157" y="62"/>
                    <a:pt x="132" y="0"/>
                    <a:pt x="79" y="0"/>
                  </a:cubicBezTo>
                  <a:cubicBezTo>
                    <a:pt x="33" y="0"/>
                    <a:pt x="0" y="55"/>
                    <a:pt x="0" y="160"/>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7" name="Rectangle 119"/>
            <p:cNvSpPr>
              <a:spLocks noChangeArrowheads="1"/>
            </p:cNvSpPr>
            <p:nvPr/>
          </p:nvSpPr>
          <p:spPr bwMode="auto">
            <a:xfrm>
              <a:off x="3498851" y="3840163"/>
              <a:ext cx="309563" cy="80010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38" name="Freeform 120"/>
            <p:cNvSpPr>
              <a:spLocks noEditPoints="1"/>
            </p:cNvSpPr>
            <p:nvPr/>
          </p:nvSpPr>
          <p:spPr bwMode="auto">
            <a:xfrm>
              <a:off x="3540126" y="4117976"/>
              <a:ext cx="228600" cy="246063"/>
            </a:xfrm>
            <a:custGeom>
              <a:avLst/>
              <a:gdLst>
                <a:gd name="T0" fmla="*/ 92 w 184"/>
                <a:gd name="T1" fmla="*/ 0 h 196"/>
                <a:gd name="T2" fmla="*/ 0 w 184"/>
                <a:gd name="T3" fmla="*/ 92 h 196"/>
                <a:gd name="T4" fmla="*/ 33 w 184"/>
                <a:gd name="T5" fmla="*/ 163 h 196"/>
                <a:gd name="T6" fmla="*/ 11 w 184"/>
                <a:gd name="T7" fmla="*/ 196 h 196"/>
                <a:gd name="T8" fmla="*/ 150 w 184"/>
                <a:gd name="T9" fmla="*/ 96 h 196"/>
                <a:gd name="T10" fmla="*/ 103 w 184"/>
                <a:gd name="T11" fmla="*/ 96 h 196"/>
                <a:gd name="T12" fmla="*/ 151 w 184"/>
                <a:gd name="T13" fmla="*/ 41 h 196"/>
                <a:gd name="T14" fmla="*/ 170 w 184"/>
                <a:gd name="T15" fmla="*/ 92 h 196"/>
                <a:gd name="T16" fmla="*/ 92 w 184"/>
                <a:gd name="T17" fmla="*/ 170 h 196"/>
                <a:gd name="T18" fmla="*/ 69 w 184"/>
                <a:gd name="T19" fmla="*/ 167 h 196"/>
                <a:gd name="T20" fmla="*/ 52 w 184"/>
                <a:gd name="T21" fmla="*/ 176 h 196"/>
                <a:gd name="T22" fmla="*/ 92 w 184"/>
                <a:gd name="T23" fmla="*/ 184 h 196"/>
                <a:gd name="T24" fmla="*/ 184 w 184"/>
                <a:gd name="T25" fmla="*/ 92 h 196"/>
                <a:gd name="T26" fmla="*/ 92 w 184"/>
                <a:gd name="T27" fmla="*/ 0 h 196"/>
                <a:gd name="T28" fmla="*/ 41 w 184"/>
                <a:gd name="T29" fmla="*/ 152 h 196"/>
                <a:gd name="T30" fmla="*/ 14 w 184"/>
                <a:gd name="T31" fmla="*/ 92 h 196"/>
                <a:gd name="T32" fmla="*/ 88 w 184"/>
                <a:gd name="T33" fmla="*/ 14 h 196"/>
                <a:gd name="T34" fmla="*/ 34 w 184"/>
                <a:gd name="T35" fmla="*/ 113 h 196"/>
                <a:gd name="T36" fmla="*/ 68 w 184"/>
                <a:gd name="T37" fmla="*/ 113 h 196"/>
                <a:gd name="T38" fmla="*/ 41 w 184"/>
                <a:gd name="T39" fmla="*/ 15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96">
                  <a:moveTo>
                    <a:pt x="92" y="0"/>
                  </a:moveTo>
                  <a:cubicBezTo>
                    <a:pt x="41" y="0"/>
                    <a:pt x="0" y="41"/>
                    <a:pt x="0" y="92"/>
                  </a:cubicBezTo>
                  <a:cubicBezTo>
                    <a:pt x="0" y="121"/>
                    <a:pt x="13" y="146"/>
                    <a:pt x="33" y="163"/>
                  </a:cubicBezTo>
                  <a:cubicBezTo>
                    <a:pt x="11" y="196"/>
                    <a:pt x="11" y="196"/>
                    <a:pt x="11" y="196"/>
                  </a:cubicBezTo>
                  <a:cubicBezTo>
                    <a:pt x="150" y="96"/>
                    <a:pt x="150" y="96"/>
                    <a:pt x="150" y="96"/>
                  </a:cubicBezTo>
                  <a:cubicBezTo>
                    <a:pt x="103" y="96"/>
                    <a:pt x="103" y="96"/>
                    <a:pt x="103" y="96"/>
                  </a:cubicBezTo>
                  <a:cubicBezTo>
                    <a:pt x="151" y="41"/>
                    <a:pt x="151" y="41"/>
                    <a:pt x="151" y="41"/>
                  </a:cubicBezTo>
                  <a:cubicBezTo>
                    <a:pt x="163" y="55"/>
                    <a:pt x="170" y="73"/>
                    <a:pt x="170" y="92"/>
                  </a:cubicBezTo>
                  <a:cubicBezTo>
                    <a:pt x="170" y="135"/>
                    <a:pt x="135" y="171"/>
                    <a:pt x="92" y="170"/>
                  </a:cubicBezTo>
                  <a:cubicBezTo>
                    <a:pt x="84" y="170"/>
                    <a:pt x="76" y="169"/>
                    <a:pt x="69" y="167"/>
                  </a:cubicBezTo>
                  <a:cubicBezTo>
                    <a:pt x="52" y="176"/>
                    <a:pt x="52" y="176"/>
                    <a:pt x="52" y="176"/>
                  </a:cubicBezTo>
                  <a:cubicBezTo>
                    <a:pt x="64" y="181"/>
                    <a:pt x="78" y="184"/>
                    <a:pt x="92" y="184"/>
                  </a:cubicBezTo>
                  <a:cubicBezTo>
                    <a:pt x="143" y="184"/>
                    <a:pt x="184" y="143"/>
                    <a:pt x="184" y="92"/>
                  </a:cubicBezTo>
                  <a:cubicBezTo>
                    <a:pt x="184" y="41"/>
                    <a:pt x="143" y="0"/>
                    <a:pt x="92" y="0"/>
                  </a:cubicBezTo>
                  <a:close/>
                  <a:moveTo>
                    <a:pt x="41" y="152"/>
                  </a:moveTo>
                  <a:cubicBezTo>
                    <a:pt x="24" y="137"/>
                    <a:pt x="14" y="116"/>
                    <a:pt x="14" y="92"/>
                  </a:cubicBezTo>
                  <a:cubicBezTo>
                    <a:pt x="14" y="50"/>
                    <a:pt x="47" y="16"/>
                    <a:pt x="88" y="14"/>
                  </a:cubicBezTo>
                  <a:cubicBezTo>
                    <a:pt x="34" y="113"/>
                    <a:pt x="34" y="113"/>
                    <a:pt x="34" y="113"/>
                  </a:cubicBezTo>
                  <a:cubicBezTo>
                    <a:pt x="68" y="113"/>
                    <a:pt x="68" y="113"/>
                    <a:pt x="68" y="113"/>
                  </a:cubicBezTo>
                  <a:lnTo>
                    <a:pt x="41" y="152"/>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198" name="Gruppieren 2197"/>
          <p:cNvGrpSpPr/>
          <p:nvPr/>
        </p:nvGrpSpPr>
        <p:grpSpPr>
          <a:xfrm>
            <a:off x="4648201" y="4073525"/>
            <a:ext cx="3008125" cy="565151"/>
            <a:chOff x="4648201" y="4073525"/>
            <a:chExt cx="3008125" cy="565151"/>
          </a:xfrm>
        </p:grpSpPr>
        <p:sp>
          <p:nvSpPr>
            <p:cNvPr id="2154" name="Freeform 137"/>
            <p:cNvSpPr>
              <a:spLocks/>
            </p:cNvSpPr>
            <p:nvPr/>
          </p:nvSpPr>
          <p:spPr bwMode="auto">
            <a:xfrm>
              <a:off x="5759451" y="4271963"/>
              <a:ext cx="192088" cy="166688"/>
            </a:xfrm>
            <a:custGeom>
              <a:avLst/>
              <a:gdLst>
                <a:gd name="T0" fmla="*/ 0 w 121"/>
                <a:gd name="T1" fmla="*/ 78 h 105"/>
                <a:gd name="T2" fmla="*/ 69 w 121"/>
                <a:gd name="T3" fmla="*/ 78 h 105"/>
                <a:gd name="T4" fmla="*/ 69 w 121"/>
                <a:gd name="T5" fmla="*/ 105 h 105"/>
                <a:gd name="T6" fmla="*/ 121 w 121"/>
                <a:gd name="T7" fmla="*/ 52 h 105"/>
                <a:gd name="T8" fmla="*/ 69 w 121"/>
                <a:gd name="T9" fmla="*/ 0 h 105"/>
                <a:gd name="T10" fmla="*/ 69 w 121"/>
                <a:gd name="T11" fmla="*/ 26 h 105"/>
                <a:gd name="T12" fmla="*/ 0 w 121"/>
                <a:gd name="T13" fmla="*/ 26 h 105"/>
                <a:gd name="T14" fmla="*/ 0 w 121"/>
                <a:gd name="T15" fmla="*/ 7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05">
                  <a:moveTo>
                    <a:pt x="0" y="78"/>
                  </a:moveTo>
                  <a:lnTo>
                    <a:pt x="69" y="78"/>
                  </a:lnTo>
                  <a:lnTo>
                    <a:pt x="69" y="105"/>
                  </a:lnTo>
                  <a:lnTo>
                    <a:pt x="121" y="52"/>
                  </a:lnTo>
                  <a:lnTo>
                    <a:pt x="69" y="0"/>
                  </a:lnTo>
                  <a:lnTo>
                    <a:pt x="69" y="26"/>
                  </a:lnTo>
                  <a:lnTo>
                    <a:pt x="0" y="26"/>
                  </a:lnTo>
                  <a:lnTo>
                    <a:pt x="0" y="78"/>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5" name="Freeform 138"/>
            <p:cNvSpPr>
              <a:spLocks/>
            </p:cNvSpPr>
            <p:nvPr/>
          </p:nvSpPr>
          <p:spPr bwMode="auto">
            <a:xfrm>
              <a:off x="6069013" y="4152900"/>
              <a:ext cx="311150" cy="401638"/>
            </a:xfrm>
            <a:custGeom>
              <a:avLst/>
              <a:gdLst>
                <a:gd name="T0" fmla="*/ 231 w 324"/>
                <a:gd name="T1" fmla="*/ 416 h 416"/>
                <a:gd name="T2" fmla="*/ 104 w 324"/>
                <a:gd name="T3" fmla="*/ 358 h 416"/>
                <a:gd name="T4" fmla="*/ 66 w 324"/>
                <a:gd name="T5" fmla="*/ 280 h 416"/>
                <a:gd name="T6" fmla="*/ 0 w 324"/>
                <a:gd name="T7" fmla="*/ 280 h 416"/>
                <a:gd name="T8" fmla="*/ 0 w 324"/>
                <a:gd name="T9" fmla="*/ 229 h 416"/>
                <a:gd name="T10" fmla="*/ 59 w 324"/>
                <a:gd name="T11" fmla="*/ 229 h 416"/>
                <a:gd name="T12" fmla="*/ 58 w 324"/>
                <a:gd name="T13" fmla="*/ 214 h 416"/>
                <a:gd name="T14" fmla="*/ 59 w 324"/>
                <a:gd name="T15" fmla="*/ 185 h 416"/>
                <a:gd name="T16" fmla="*/ 0 w 324"/>
                <a:gd name="T17" fmla="*/ 185 h 416"/>
                <a:gd name="T18" fmla="*/ 0 w 324"/>
                <a:gd name="T19" fmla="*/ 135 h 416"/>
                <a:gd name="T20" fmla="*/ 68 w 324"/>
                <a:gd name="T21" fmla="*/ 135 h 416"/>
                <a:gd name="T22" fmla="*/ 85 w 324"/>
                <a:gd name="T23" fmla="*/ 92 h 416"/>
                <a:gd name="T24" fmla="*/ 233 w 324"/>
                <a:gd name="T25" fmla="*/ 0 h 416"/>
                <a:gd name="T26" fmla="*/ 315 w 324"/>
                <a:gd name="T27" fmla="*/ 20 h 416"/>
                <a:gd name="T28" fmla="*/ 302 w 324"/>
                <a:gd name="T29" fmla="*/ 75 h 416"/>
                <a:gd name="T30" fmla="*/ 234 w 324"/>
                <a:gd name="T31" fmla="*/ 53 h 416"/>
                <a:gd name="T32" fmla="*/ 153 w 324"/>
                <a:gd name="T33" fmla="*/ 101 h 416"/>
                <a:gd name="T34" fmla="*/ 140 w 324"/>
                <a:gd name="T35" fmla="*/ 135 h 416"/>
                <a:gd name="T36" fmla="*/ 269 w 324"/>
                <a:gd name="T37" fmla="*/ 135 h 416"/>
                <a:gd name="T38" fmla="*/ 269 w 324"/>
                <a:gd name="T39" fmla="*/ 185 h 416"/>
                <a:gd name="T40" fmla="*/ 133 w 324"/>
                <a:gd name="T41" fmla="*/ 185 h 416"/>
                <a:gd name="T42" fmla="*/ 132 w 324"/>
                <a:gd name="T43" fmla="*/ 207 h 416"/>
                <a:gd name="T44" fmla="*/ 133 w 324"/>
                <a:gd name="T45" fmla="*/ 229 h 416"/>
                <a:gd name="T46" fmla="*/ 269 w 324"/>
                <a:gd name="T47" fmla="*/ 229 h 416"/>
                <a:gd name="T48" fmla="*/ 269 w 324"/>
                <a:gd name="T49" fmla="*/ 280 h 416"/>
                <a:gd name="T50" fmla="*/ 139 w 324"/>
                <a:gd name="T51" fmla="*/ 280 h 416"/>
                <a:gd name="T52" fmla="*/ 148 w 324"/>
                <a:gd name="T53" fmla="*/ 307 h 416"/>
                <a:gd name="T54" fmla="*/ 238 w 324"/>
                <a:gd name="T55" fmla="*/ 363 h 416"/>
                <a:gd name="T56" fmla="*/ 310 w 324"/>
                <a:gd name="T57" fmla="*/ 338 h 416"/>
                <a:gd name="T58" fmla="*/ 324 w 324"/>
                <a:gd name="T59" fmla="*/ 392 h 416"/>
                <a:gd name="T60" fmla="*/ 231 w 324"/>
                <a:gd name="T61"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4" h="416">
                  <a:moveTo>
                    <a:pt x="231" y="416"/>
                  </a:moveTo>
                  <a:cubicBezTo>
                    <a:pt x="178" y="416"/>
                    <a:pt x="135" y="395"/>
                    <a:pt x="104" y="358"/>
                  </a:cubicBezTo>
                  <a:cubicBezTo>
                    <a:pt x="86" y="336"/>
                    <a:pt x="73" y="309"/>
                    <a:pt x="66" y="280"/>
                  </a:cubicBezTo>
                  <a:cubicBezTo>
                    <a:pt x="0" y="280"/>
                    <a:pt x="0" y="280"/>
                    <a:pt x="0" y="280"/>
                  </a:cubicBezTo>
                  <a:cubicBezTo>
                    <a:pt x="0" y="229"/>
                    <a:pt x="0" y="229"/>
                    <a:pt x="0" y="229"/>
                  </a:cubicBezTo>
                  <a:cubicBezTo>
                    <a:pt x="59" y="229"/>
                    <a:pt x="59" y="229"/>
                    <a:pt x="59" y="229"/>
                  </a:cubicBezTo>
                  <a:cubicBezTo>
                    <a:pt x="59" y="224"/>
                    <a:pt x="58" y="219"/>
                    <a:pt x="58" y="214"/>
                  </a:cubicBezTo>
                  <a:cubicBezTo>
                    <a:pt x="58" y="204"/>
                    <a:pt x="59" y="194"/>
                    <a:pt x="59" y="185"/>
                  </a:cubicBezTo>
                  <a:cubicBezTo>
                    <a:pt x="0" y="185"/>
                    <a:pt x="0" y="185"/>
                    <a:pt x="0" y="185"/>
                  </a:cubicBezTo>
                  <a:cubicBezTo>
                    <a:pt x="0" y="135"/>
                    <a:pt x="0" y="135"/>
                    <a:pt x="0" y="135"/>
                  </a:cubicBezTo>
                  <a:cubicBezTo>
                    <a:pt x="68" y="135"/>
                    <a:pt x="68" y="135"/>
                    <a:pt x="68" y="135"/>
                  </a:cubicBezTo>
                  <a:cubicBezTo>
                    <a:pt x="72" y="120"/>
                    <a:pt x="78" y="106"/>
                    <a:pt x="85" y="92"/>
                  </a:cubicBezTo>
                  <a:cubicBezTo>
                    <a:pt x="115" y="35"/>
                    <a:pt x="170" y="0"/>
                    <a:pt x="233" y="0"/>
                  </a:cubicBezTo>
                  <a:cubicBezTo>
                    <a:pt x="272" y="0"/>
                    <a:pt x="296" y="8"/>
                    <a:pt x="315" y="20"/>
                  </a:cubicBezTo>
                  <a:cubicBezTo>
                    <a:pt x="302" y="75"/>
                    <a:pt x="302" y="75"/>
                    <a:pt x="302" y="75"/>
                  </a:cubicBezTo>
                  <a:cubicBezTo>
                    <a:pt x="281" y="60"/>
                    <a:pt x="259" y="53"/>
                    <a:pt x="234" y="53"/>
                  </a:cubicBezTo>
                  <a:cubicBezTo>
                    <a:pt x="199" y="53"/>
                    <a:pt x="171" y="70"/>
                    <a:pt x="153" y="101"/>
                  </a:cubicBezTo>
                  <a:cubicBezTo>
                    <a:pt x="148" y="111"/>
                    <a:pt x="144" y="122"/>
                    <a:pt x="140" y="135"/>
                  </a:cubicBezTo>
                  <a:cubicBezTo>
                    <a:pt x="269" y="135"/>
                    <a:pt x="269" y="135"/>
                    <a:pt x="269" y="135"/>
                  </a:cubicBezTo>
                  <a:cubicBezTo>
                    <a:pt x="269" y="185"/>
                    <a:pt x="269" y="185"/>
                    <a:pt x="269" y="185"/>
                  </a:cubicBezTo>
                  <a:cubicBezTo>
                    <a:pt x="133" y="185"/>
                    <a:pt x="133" y="185"/>
                    <a:pt x="133" y="185"/>
                  </a:cubicBezTo>
                  <a:cubicBezTo>
                    <a:pt x="132" y="192"/>
                    <a:pt x="132" y="199"/>
                    <a:pt x="132" y="207"/>
                  </a:cubicBezTo>
                  <a:cubicBezTo>
                    <a:pt x="132" y="215"/>
                    <a:pt x="133" y="222"/>
                    <a:pt x="133" y="229"/>
                  </a:cubicBezTo>
                  <a:cubicBezTo>
                    <a:pt x="269" y="229"/>
                    <a:pt x="269" y="229"/>
                    <a:pt x="269" y="229"/>
                  </a:cubicBezTo>
                  <a:cubicBezTo>
                    <a:pt x="269" y="280"/>
                    <a:pt x="269" y="280"/>
                    <a:pt x="269" y="280"/>
                  </a:cubicBezTo>
                  <a:cubicBezTo>
                    <a:pt x="139" y="280"/>
                    <a:pt x="139" y="280"/>
                    <a:pt x="139" y="280"/>
                  </a:cubicBezTo>
                  <a:cubicBezTo>
                    <a:pt x="141" y="290"/>
                    <a:pt x="145" y="298"/>
                    <a:pt x="148" y="307"/>
                  </a:cubicBezTo>
                  <a:cubicBezTo>
                    <a:pt x="166" y="345"/>
                    <a:pt x="199" y="363"/>
                    <a:pt x="238" y="363"/>
                  </a:cubicBezTo>
                  <a:cubicBezTo>
                    <a:pt x="266" y="363"/>
                    <a:pt x="287" y="356"/>
                    <a:pt x="310" y="338"/>
                  </a:cubicBezTo>
                  <a:cubicBezTo>
                    <a:pt x="324" y="392"/>
                    <a:pt x="324" y="392"/>
                    <a:pt x="324" y="392"/>
                  </a:cubicBezTo>
                  <a:cubicBezTo>
                    <a:pt x="297" y="407"/>
                    <a:pt x="274" y="416"/>
                    <a:pt x="231" y="416"/>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184" name="Gruppieren 2183"/>
            <p:cNvGrpSpPr/>
            <p:nvPr/>
          </p:nvGrpSpPr>
          <p:grpSpPr>
            <a:xfrm>
              <a:off x="4648201" y="4073525"/>
              <a:ext cx="938212" cy="565151"/>
              <a:chOff x="4648201" y="4073525"/>
              <a:chExt cx="938212" cy="565151"/>
            </a:xfrm>
          </p:grpSpPr>
          <p:sp>
            <p:nvSpPr>
              <p:cNvPr id="2156" name="Freeform 139"/>
              <p:cNvSpPr>
                <a:spLocks/>
              </p:cNvSpPr>
              <p:nvPr/>
            </p:nvSpPr>
            <p:spPr bwMode="auto">
              <a:xfrm>
                <a:off x="5249863" y="4132263"/>
                <a:ext cx="336550" cy="506413"/>
              </a:xfrm>
              <a:custGeom>
                <a:avLst/>
                <a:gdLst>
                  <a:gd name="T0" fmla="*/ 28 w 212"/>
                  <a:gd name="T1" fmla="*/ 264 h 319"/>
                  <a:gd name="T2" fmla="*/ 47 w 212"/>
                  <a:gd name="T3" fmla="*/ 282 h 319"/>
                  <a:gd name="T4" fmla="*/ 82 w 212"/>
                  <a:gd name="T5" fmla="*/ 282 h 319"/>
                  <a:gd name="T6" fmla="*/ 82 w 212"/>
                  <a:gd name="T7" fmla="*/ 306 h 319"/>
                  <a:gd name="T8" fmla="*/ 82 w 212"/>
                  <a:gd name="T9" fmla="*/ 310 h 319"/>
                  <a:gd name="T10" fmla="*/ 90 w 212"/>
                  <a:gd name="T11" fmla="*/ 319 h 319"/>
                  <a:gd name="T12" fmla="*/ 94 w 212"/>
                  <a:gd name="T13" fmla="*/ 319 h 319"/>
                  <a:gd name="T14" fmla="*/ 151 w 212"/>
                  <a:gd name="T15" fmla="*/ 319 h 319"/>
                  <a:gd name="T16" fmla="*/ 159 w 212"/>
                  <a:gd name="T17" fmla="*/ 310 h 319"/>
                  <a:gd name="T18" fmla="*/ 159 w 212"/>
                  <a:gd name="T19" fmla="*/ 282 h 319"/>
                  <a:gd name="T20" fmla="*/ 194 w 212"/>
                  <a:gd name="T21" fmla="*/ 282 h 319"/>
                  <a:gd name="T22" fmla="*/ 212 w 212"/>
                  <a:gd name="T23" fmla="*/ 264 h 319"/>
                  <a:gd name="T24" fmla="*/ 212 w 212"/>
                  <a:gd name="T25" fmla="*/ 207 h 319"/>
                  <a:gd name="T26" fmla="*/ 190 w 212"/>
                  <a:gd name="T27" fmla="*/ 207 h 319"/>
                  <a:gd name="T28" fmla="*/ 177 w 212"/>
                  <a:gd name="T29" fmla="*/ 194 h 319"/>
                  <a:gd name="T30" fmla="*/ 177 w 212"/>
                  <a:gd name="T31" fmla="*/ 88 h 319"/>
                  <a:gd name="T32" fmla="*/ 190 w 212"/>
                  <a:gd name="T33" fmla="*/ 75 h 319"/>
                  <a:gd name="T34" fmla="*/ 212 w 212"/>
                  <a:gd name="T35" fmla="*/ 75 h 319"/>
                  <a:gd name="T36" fmla="*/ 212 w 212"/>
                  <a:gd name="T37" fmla="*/ 18 h 319"/>
                  <a:gd name="T38" fmla="*/ 195 w 212"/>
                  <a:gd name="T39" fmla="*/ 0 h 319"/>
                  <a:gd name="T40" fmla="*/ 46 w 212"/>
                  <a:gd name="T41" fmla="*/ 0 h 319"/>
                  <a:gd name="T42" fmla="*/ 28 w 212"/>
                  <a:gd name="T43" fmla="*/ 18 h 319"/>
                  <a:gd name="T44" fmla="*/ 28 w 212"/>
                  <a:gd name="T45" fmla="*/ 58 h 319"/>
                  <a:gd name="T46" fmla="*/ 0 w 212"/>
                  <a:gd name="T47" fmla="*/ 58 h 319"/>
                  <a:gd name="T48" fmla="*/ 0 w 212"/>
                  <a:gd name="T49" fmla="*/ 93 h 319"/>
                  <a:gd name="T50" fmla="*/ 28 w 212"/>
                  <a:gd name="T51" fmla="*/ 93 h 319"/>
                  <a:gd name="T52" fmla="*/ 28 w 212"/>
                  <a:gd name="T53" fmla="*/ 123 h 319"/>
                  <a:gd name="T54" fmla="*/ 0 w 212"/>
                  <a:gd name="T55" fmla="*/ 123 h 319"/>
                  <a:gd name="T56" fmla="*/ 0 w 212"/>
                  <a:gd name="T57" fmla="*/ 158 h 319"/>
                  <a:gd name="T58" fmla="*/ 28 w 212"/>
                  <a:gd name="T59" fmla="*/ 158 h 319"/>
                  <a:gd name="T60" fmla="*/ 28 w 212"/>
                  <a:gd name="T61" fmla="*/ 188 h 319"/>
                  <a:gd name="T62" fmla="*/ 0 w 212"/>
                  <a:gd name="T63" fmla="*/ 188 h 319"/>
                  <a:gd name="T64" fmla="*/ 0 w 212"/>
                  <a:gd name="T65" fmla="*/ 224 h 319"/>
                  <a:gd name="T66" fmla="*/ 28 w 212"/>
                  <a:gd name="T67" fmla="*/ 224 h 319"/>
                  <a:gd name="T68" fmla="*/ 28 w 212"/>
                  <a:gd name="T69" fmla="*/ 26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8" y="264"/>
                    </a:moveTo>
                    <a:lnTo>
                      <a:pt x="47" y="282"/>
                    </a:lnTo>
                    <a:lnTo>
                      <a:pt x="82" y="282"/>
                    </a:lnTo>
                    <a:lnTo>
                      <a:pt x="82" y="306"/>
                    </a:lnTo>
                    <a:lnTo>
                      <a:pt x="82" y="310"/>
                    </a:lnTo>
                    <a:lnTo>
                      <a:pt x="90" y="319"/>
                    </a:lnTo>
                    <a:lnTo>
                      <a:pt x="94" y="319"/>
                    </a:lnTo>
                    <a:lnTo>
                      <a:pt x="151" y="319"/>
                    </a:lnTo>
                    <a:lnTo>
                      <a:pt x="159" y="310"/>
                    </a:lnTo>
                    <a:lnTo>
                      <a:pt x="159" y="282"/>
                    </a:lnTo>
                    <a:lnTo>
                      <a:pt x="194" y="282"/>
                    </a:lnTo>
                    <a:lnTo>
                      <a:pt x="212" y="264"/>
                    </a:lnTo>
                    <a:lnTo>
                      <a:pt x="212" y="207"/>
                    </a:lnTo>
                    <a:lnTo>
                      <a:pt x="190" y="207"/>
                    </a:lnTo>
                    <a:lnTo>
                      <a:pt x="177" y="194"/>
                    </a:lnTo>
                    <a:lnTo>
                      <a:pt x="177" y="88"/>
                    </a:lnTo>
                    <a:lnTo>
                      <a:pt x="190" y="75"/>
                    </a:lnTo>
                    <a:lnTo>
                      <a:pt x="212" y="75"/>
                    </a:lnTo>
                    <a:lnTo>
                      <a:pt x="212" y="18"/>
                    </a:lnTo>
                    <a:lnTo>
                      <a:pt x="195" y="0"/>
                    </a:lnTo>
                    <a:lnTo>
                      <a:pt x="46" y="0"/>
                    </a:lnTo>
                    <a:lnTo>
                      <a:pt x="28" y="18"/>
                    </a:lnTo>
                    <a:lnTo>
                      <a:pt x="28" y="58"/>
                    </a:lnTo>
                    <a:lnTo>
                      <a:pt x="0" y="58"/>
                    </a:lnTo>
                    <a:lnTo>
                      <a:pt x="0" y="93"/>
                    </a:lnTo>
                    <a:lnTo>
                      <a:pt x="28" y="93"/>
                    </a:lnTo>
                    <a:lnTo>
                      <a:pt x="28" y="123"/>
                    </a:lnTo>
                    <a:lnTo>
                      <a:pt x="0" y="123"/>
                    </a:lnTo>
                    <a:lnTo>
                      <a:pt x="0" y="158"/>
                    </a:lnTo>
                    <a:lnTo>
                      <a:pt x="28" y="158"/>
                    </a:lnTo>
                    <a:lnTo>
                      <a:pt x="28" y="188"/>
                    </a:lnTo>
                    <a:lnTo>
                      <a:pt x="0" y="188"/>
                    </a:lnTo>
                    <a:lnTo>
                      <a:pt x="0" y="224"/>
                    </a:lnTo>
                    <a:lnTo>
                      <a:pt x="28" y="224"/>
                    </a:lnTo>
                    <a:lnTo>
                      <a:pt x="28" y="264"/>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57" name="Freeform 140"/>
              <p:cNvSpPr>
                <a:spLocks/>
              </p:cNvSpPr>
              <p:nvPr/>
            </p:nvSpPr>
            <p:spPr bwMode="auto">
              <a:xfrm>
                <a:off x="5380038" y="4576763"/>
                <a:ext cx="122238" cy="0"/>
              </a:xfrm>
              <a:custGeom>
                <a:avLst/>
                <a:gdLst>
                  <a:gd name="T0" fmla="*/ 77 w 77"/>
                  <a:gd name="T1" fmla="*/ 0 w 77"/>
                  <a:gd name="T2" fmla="*/ 77 w 77"/>
                </a:gdLst>
                <a:ahLst/>
                <a:cxnLst>
                  <a:cxn ang="0">
                    <a:pos x="T0" y="0"/>
                  </a:cxn>
                  <a:cxn ang="0">
                    <a:pos x="T1" y="0"/>
                  </a:cxn>
                  <a:cxn ang="0">
                    <a:pos x="T2" y="0"/>
                  </a:cxn>
                </a:cxnLst>
                <a:rect l="0" t="0" r="r" b="b"/>
                <a:pathLst>
                  <a:path w="77">
                    <a:moveTo>
                      <a:pt x="77" y="0"/>
                    </a:moveTo>
                    <a:lnTo>
                      <a:pt x="0" y="0"/>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58" name="Line 141"/>
              <p:cNvSpPr>
                <a:spLocks noChangeShapeType="1"/>
              </p:cNvSpPr>
              <p:nvPr/>
            </p:nvSpPr>
            <p:spPr bwMode="auto">
              <a:xfrm flipH="1">
                <a:off x="5380038" y="45799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59" name="Freeform 142"/>
              <p:cNvSpPr>
                <a:spLocks/>
              </p:cNvSpPr>
              <p:nvPr/>
            </p:nvSpPr>
            <p:spPr bwMode="auto">
              <a:xfrm>
                <a:off x="5108576" y="4073525"/>
                <a:ext cx="336550" cy="506413"/>
              </a:xfrm>
              <a:custGeom>
                <a:avLst/>
                <a:gdLst>
                  <a:gd name="T0" fmla="*/ 212 w 212"/>
                  <a:gd name="T1" fmla="*/ 132 h 319"/>
                  <a:gd name="T2" fmla="*/ 212 w 212"/>
                  <a:gd name="T3" fmla="*/ 96 h 319"/>
                  <a:gd name="T4" fmla="*/ 184 w 212"/>
                  <a:gd name="T5" fmla="*/ 96 h 319"/>
                  <a:gd name="T6" fmla="*/ 184 w 212"/>
                  <a:gd name="T7" fmla="*/ 56 h 319"/>
                  <a:gd name="T8" fmla="*/ 166 w 212"/>
                  <a:gd name="T9" fmla="*/ 37 h 319"/>
                  <a:gd name="T10" fmla="*/ 131 w 212"/>
                  <a:gd name="T11" fmla="*/ 37 h 319"/>
                  <a:gd name="T12" fmla="*/ 131 w 212"/>
                  <a:gd name="T13" fmla="*/ 14 h 319"/>
                  <a:gd name="T14" fmla="*/ 131 w 212"/>
                  <a:gd name="T15" fmla="*/ 10 h 319"/>
                  <a:gd name="T16" fmla="*/ 123 w 212"/>
                  <a:gd name="T17" fmla="*/ 0 h 319"/>
                  <a:gd name="T18" fmla="*/ 118 w 212"/>
                  <a:gd name="T19" fmla="*/ 0 h 319"/>
                  <a:gd name="T20" fmla="*/ 62 w 212"/>
                  <a:gd name="T21" fmla="*/ 0 h 319"/>
                  <a:gd name="T22" fmla="*/ 54 w 212"/>
                  <a:gd name="T23" fmla="*/ 10 h 319"/>
                  <a:gd name="T24" fmla="*/ 54 w 212"/>
                  <a:gd name="T25" fmla="*/ 37 h 319"/>
                  <a:gd name="T26" fmla="*/ 19 w 212"/>
                  <a:gd name="T27" fmla="*/ 37 h 319"/>
                  <a:gd name="T28" fmla="*/ 0 w 212"/>
                  <a:gd name="T29" fmla="*/ 56 h 319"/>
                  <a:gd name="T30" fmla="*/ 0 w 212"/>
                  <a:gd name="T31" fmla="*/ 111 h 319"/>
                  <a:gd name="T32" fmla="*/ 60 w 212"/>
                  <a:gd name="T33" fmla="*/ 111 h 319"/>
                  <a:gd name="T34" fmla="*/ 68 w 212"/>
                  <a:gd name="T35" fmla="*/ 120 h 319"/>
                  <a:gd name="T36" fmla="*/ 68 w 212"/>
                  <a:gd name="T37" fmla="*/ 237 h 319"/>
                  <a:gd name="T38" fmla="*/ 60 w 212"/>
                  <a:gd name="T39" fmla="*/ 246 h 319"/>
                  <a:gd name="T40" fmla="*/ 0 w 212"/>
                  <a:gd name="T41" fmla="*/ 246 h 319"/>
                  <a:gd name="T42" fmla="*/ 0 w 212"/>
                  <a:gd name="T43" fmla="*/ 301 h 319"/>
                  <a:gd name="T44" fmla="*/ 18 w 212"/>
                  <a:gd name="T45" fmla="*/ 319 h 319"/>
                  <a:gd name="T46" fmla="*/ 166 w 212"/>
                  <a:gd name="T47" fmla="*/ 319 h 319"/>
                  <a:gd name="T48" fmla="*/ 184 w 212"/>
                  <a:gd name="T49" fmla="*/ 301 h 319"/>
                  <a:gd name="T50" fmla="*/ 184 w 212"/>
                  <a:gd name="T51" fmla="*/ 261 h 319"/>
                  <a:gd name="T52" fmla="*/ 212 w 212"/>
                  <a:gd name="T53" fmla="*/ 261 h 319"/>
                  <a:gd name="T54" fmla="*/ 212 w 212"/>
                  <a:gd name="T55" fmla="*/ 226 h 319"/>
                  <a:gd name="T56" fmla="*/ 184 w 212"/>
                  <a:gd name="T57" fmla="*/ 226 h 319"/>
                  <a:gd name="T58" fmla="*/ 184 w 212"/>
                  <a:gd name="T59" fmla="*/ 197 h 319"/>
                  <a:gd name="T60" fmla="*/ 212 w 212"/>
                  <a:gd name="T61" fmla="*/ 197 h 319"/>
                  <a:gd name="T62" fmla="*/ 212 w 212"/>
                  <a:gd name="T63" fmla="*/ 161 h 319"/>
                  <a:gd name="T64" fmla="*/ 184 w 212"/>
                  <a:gd name="T65" fmla="*/ 161 h 319"/>
                  <a:gd name="T66" fmla="*/ 184 w 212"/>
                  <a:gd name="T67" fmla="*/ 132 h 319"/>
                  <a:gd name="T68" fmla="*/ 212 w 212"/>
                  <a:gd name="T69" fmla="*/ 13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319">
                    <a:moveTo>
                      <a:pt x="212" y="132"/>
                    </a:moveTo>
                    <a:lnTo>
                      <a:pt x="212" y="96"/>
                    </a:lnTo>
                    <a:lnTo>
                      <a:pt x="184" y="96"/>
                    </a:lnTo>
                    <a:lnTo>
                      <a:pt x="184" y="56"/>
                    </a:lnTo>
                    <a:lnTo>
                      <a:pt x="166" y="37"/>
                    </a:lnTo>
                    <a:lnTo>
                      <a:pt x="131" y="37"/>
                    </a:lnTo>
                    <a:lnTo>
                      <a:pt x="131" y="14"/>
                    </a:lnTo>
                    <a:lnTo>
                      <a:pt x="131" y="10"/>
                    </a:lnTo>
                    <a:lnTo>
                      <a:pt x="123" y="0"/>
                    </a:lnTo>
                    <a:lnTo>
                      <a:pt x="118" y="0"/>
                    </a:lnTo>
                    <a:lnTo>
                      <a:pt x="62" y="0"/>
                    </a:lnTo>
                    <a:lnTo>
                      <a:pt x="54" y="10"/>
                    </a:lnTo>
                    <a:lnTo>
                      <a:pt x="54" y="37"/>
                    </a:lnTo>
                    <a:lnTo>
                      <a:pt x="19" y="37"/>
                    </a:lnTo>
                    <a:lnTo>
                      <a:pt x="0" y="56"/>
                    </a:lnTo>
                    <a:lnTo>
                      <a:pt x="0" y="111"/>
                    </a:lnTo>
                    <a:lnTo>
                      <a:pt x="60" y="111"/>
                    </a:lnTo>
                    <a:lnTo>
                      <a:pt x="68" y="120"/>
                    </a:lnTo>
                    <a:lnTo>
                      <a:pt x="68" y="237"/>
                    </a:lnTo>
                    <a:lnTo>
                      <a:pt x="60" y="246"/>
                    </a:lnTo>
                    <a:lnTo>
                      <a:pt x="0" y="246"/>
                    </a:lnTo>
                    <a:lnTo>
                      <a:pt x="0" y="301"/>
                    </a:lnTo>
                    <a:lnTo>
                      <a:pt x="18" y="319"/>
                    </a:lnTo>
                    <a:lnTo>
                      <a:pt x="166" y="319"/>
                    </a:lnTo>
                    <a:lnTo>
                      <a:pt x="184" y="301"/>
                    </a:lnTo>
                    <a:lnTo>
                      <a:pt x="184" y="261"/>
                    </a:lnTo>
                    <a:lnTo>
                      <a:pt x="212" y="261"/>
                    </a:lnTo>
                    <a:lnTo>
                      <a:pt x="212" y="226"/>
                    </a:lnTo>
                    <a:lnTo>
                      <a:pt x="184" y="226"/>
                    </a:lnTo>
                    <a:lnTo>
                      <a:pt x="184" y="197"/>
                    </a:lnTo>
                    <a:lnTo>
                      <a:pt x="212" y="197"/>
                    </a:lnTo>
                    <a:lnTo>
                      <a:pt x="212" y="161"/>
                    </a:lnTo>
                    <a:lnTo>
                      <a:pt x="184" y="161"/>
                    </a:lnTo>
                    <a:lnTo>
                      <a:pt x="184" y="132"/>
                    </a:lnTo>
                    <a:lnTo>
                      <a:pt x="212" y="132"/>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160" name="Freeform 143"/>
              <p:cNvSpPr>
                <a:spLocks/>
              </p:cNvSpPr>
              <p:nvPr/>
            </p:nvSpPr>
            <p:spPr bwMode="auto">
              <a:xfrm>
                <a:off x="5194301" y="4135438"/>
                <a:ext cx="122238" cy="0"/>
              </a:xfrm>
              <a:custGeom>
                <a:avLst/>
                <a:gdLst>
                  <a:gd name="T0" fmla="*/ 0 w 77"/>
                  <a:gd name="T1" fmla="*/ 77 w 77"/>
                  <a:gd name="T2" fmla="*/ 0 w 77"/>
                </a:gdLst>
                <a:ahLst/>
                <a:cxnLst>
                  <a:cxn ang="0">
                    <a:pos x="T0" y="0"/>
                  </a:cxn>
                  <a:cxn ang="0">
                    <a:pos x="T1" y="0"/>
                  </a:cxn>
                  <a:cxn ang="0">
                    <a:pos x="T2" y="0"/>
                  </a:cxn>
                </a:cxnLst>
                <a:rect l="0" t="0" r="r" b="b"/>
                <a:pathLst>
                  <a:path w="77">
                    <a:moveTo>
                      <a:pt x="0" y="0"/>
                    </a:moveTo>
                    <a:lnTo>
                      <a:pt x="7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1" name="Line 144"/>
              <p:cNvSpPr>
                <a:spLocks noChangeShapeType="1"/>
              </p:cNvSpPr>
              <p:nvPr/>
            </p:nvSpPr>
            <p:spPr bwMode="auto">
              <a:xfrm>
                <a:off x="5194301"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2" name="Freeform 145"/>
              <p:cNvSpPr>
                <a:spLocks/>
              </p:cNvSpPr>
              <p:nvPr/>
            </p:nvSpPr>
            <p:spPr bwMode="auto">
              <a:xfrm>
                <a:off x="4881563"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4" name="Freeform 147"/>
              <p:cNvSpPr>
                <a:spLocks noEditPoints="1"/>
              </p:cNvSpPr>
              <p:nvPr/>
            </p:nvSpPr>
            <p:spPr bwMode="auto">
              <a:xfrm>
                <a:off x="4879976" y="4132263"/>
                <a:ext cx="292100" cy="449263"/>
              </a:xfrm>
              <a:custGeom>
                <a:avLst/>
                <a:gdLst>
                  <a:gd name="T0" fmla="*/ 164 w 184"/>
                  <a:gd name="T1" fmla="*/ 3 h 283"/>
                  <a:gd name="T2" fmla="*/ 181 w 184"/>
                  <a:gd name="T3" fmla="*/ 20 h 283"/>
                  <a:gd name="T4" fmla="*/ 181 w 184"/>
                  <a:gd name="T5" fmla="*/ 263 h 283"/>
                  <a:gd name="T6" fmla="*/ 164 w 184"/>
                  <a:gd name="T7" fmla="*/ 280 h 283"/>
                  <a:gd name="T8" fmla="*/ 19 w 184"/>
                  <a:gd name="T9" fmla="*/ 280 h 283"/>
                  <a:gd name="T10" fmla="*/ 2 w 184"/>
                  <a:gd name="T11" fmla="*/ 263 h 283"/>
                  <a:gd name="T12" fmla="*/ 2 w 184"/>
                  <a:gd name="T13" fmla="*/ 20 h 283"/>
                  <a:gd name="T14" fmla="*/ 19 w 184"/>
                  <a:gd name="T15" fmla="*/ 3 h 283"/>
                  <a:gd name="T16" fmla="*/ 164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4" y="3"/>
                    </a:moveTo>
                    <a:lnTo>
                      <a:pt x="181" y="20"/>
                    </a:lnTo>
                    <a:lnTo>
                      <a:pt x="181" y="263"/>
                    </a:lnTo>
                    <a:lnTo>
                      <a:pt x="164" y="280"/>
                    </a:lnTo>
                    <a:lnTo>
                      <a:pt x="19" y="280"/>
                    </a:lnTo>
                    <a:lnTo>
                      <a:pt x="2" y="263"/>
                    </a:lnTo>
                    <a:lnTo>
                      <a:pt x="2" y="20"/>
                    </a:lnTo>
                    <a:lnTo>
                      <a:pt x="19" y="3"/>
                    </a:lnTo>
                    <a:lnTo>
                      <a:pt x="164"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5" name="Freeform 148"/>
              <p:cNvSpPr>
                <a:spLocks/>
              </p:cNvSpPr>
              <p:nvPr/>
            </p:nvSpPr>
            <p:spPr bwMode="auto">
              <a:xfrm>
                <a:off x="4879976"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66" name="Freeform 149"/>
              <p:cNvSpPr>
                <a:spLocks/>
              </p:cNvSpPr>
              <p:nvPr/>
            </p:nvSpPr>
            <p:spPr bwMode="auto">
              <a:xfrm>
                <a:off x="464978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8" name="Freeform 151"/>
              <p:cNvSpPr>
                <a:spLocks noEditPoints="1"/>
              </p:cNvSpPr>
              <p:nvPr/>
            </p:nvSpPr>
            <p:spPr bwMode="auto">
              <a:xfrm>
                <a:off x="464820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69" name="Freeform 152"/>
              <p:cNvSpPr>
                <a:spLocks/>
              </p:cNvSpPr>
              <p:nvPr/>
            </p:nvSpPr>
            <p:spPr bwMode="auto">
              <a:xfrm>
                <a:off x="464820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0" name="Line 144"/>
              <p:cNvSpPr>
                <a:spLocks noChangeShapeType="1"/>
              </p:cNvSpPr>
              <p:nvPr/>
            </p:nvSpPr>
            <p:spPr bwMode="auto">
              <a:xfrm>
                <a:off x="4958557"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1" name="Line 144"/>
              <p:cNvSpPr>
                <a:spLocks noChangeShapeType="1"/>
              </p:cNvSpPr>
              <p:nvPr/>
            </p:nvSpPr>
            <p:spPr bwMode="auto">
              <a:xfrm>
                <a:off x="473075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2" name="Line 141"/>
              <p:cNvSpPr>
                <a:spLocks noChangeShapeType="1"/>
              </p:cNvSpPr>
              <p:nvPr/>
            </p:nvSpPr>
            <p:spPr bwMode="auto">
              <a:xfrm flipH="1">
                <a:off x="4965701"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73" name="Line 141"/>
              <p:cNvSpPr>
                <a:spLocks noChangeShapeType="1"/>
              </p:cNvSpPr>
              <p:nvPr/>
            </p:nvSpPr>
            <p:spPr bwMode="auto">
              <a:xfrm flipH="1">
                <a:off x="472995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7" name="Gruppieren 2196"/>
            <p:cNvGrpSpPr/>
            <p:nvPr/>
          </p:nvGrpSpPr>
          <p:grpSpPr>
            <a:xfrm>
              <a:off x="6552220" y="4073525"/>
              <a:ext cx="1104106" cy="565150"/>
              <a:chOff x="6552220" y="4073525"/>
              <a:chExt cx="1104106" cy="565150"/>
            </a:xfrm>
          </p:grpSpPr>
          <p:grpSp>
            <p:nvGrpSpPr>
              <p:cNvPr id="2183" name="Gruppieren 2182"/>
              <p:cNvGrpSpPr/>
              <p:nvPr/>
            </p:nvGrpSpPr>
            <p:grpSpPr>
              <a:xfrm>
                <a:off x="6552220" y="4073525"/>
                <a:ext cx="292100" cy="565150"/>
                <a:chOff x="5657851" y="4073525"/>
                <a:chExt cx="292100" cy="565150"/>
              </a:xfrm>
            </p:grpSpPr>
            <p:sp>
              <p:nvSpPr>
                <p:cNvPr id="2178"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79"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0"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1"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2"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85" name="Gruppieren 2184"/>
              <p:cNvGrpSpPr/>
              <p:nvPr/>
            </p:nvGrpSpPr>
            <p:grpSpPr>
              <a:xfrm>
                <a:off x="6954651" y="4073525"/>
                <a:ext cx="292100" cy="565150"/>
                <a:chOff x="5657851" y="4073525"/>
                <a:chExt cx="292100" cy="565150"/>
              </a:xfrm>
            </p:grpSpPr>
            <p:sp>
              <p:nvSpPr>
                <p:cNvPr id="2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91" name="Gruppieren 2190"/>
              <p:cNvGrpSpPr/>
              <p:nvPr/>
            </p:nvGrpSpPr>
            <p:grpSpPr>
              <a:xfrm>
                <a:off x="7364226" y="4073525"/>
                <a:ext cx="292100" cy="565150"/>
                <a:chOff x="5657851" y="4073525"/>
                <a:chExt cx="292100" cy="565150"/>
              </a:xfrm>
            </p:grpSpPr>
            <p:sp>
              <p:nvSpPr>
                <p:cNvPr id="2192"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3"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94"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5"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96"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sp>
        <p:nvSpPr>
          <p:cNvPr id="130" name="AutoShape 1139"/>
          <p:cNvSpPr>
            <a:spLocks noChangeAspect="1" noChangeArrowheads="1" noTextEdit="1"/>
          </p:cNvSpPr>
          <p:nvPr/>
        </p:nvSpPr>
        <p:spPr bwMode="auto">
          <a:xfrm>
            <a:off x="5276851" y="4849813"/>
            <a:ext cx="1381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 name="Gruppieren 1"/>
          <p:cNvGrpSpPr/>
          <p:nvPr/>
        </p:nvGrpSpPr>
        <p:grpSpPr>
          <a:xfrm rot="18900000">
            <a:off x="6503392" y="5066152"/>
            <a:ext cx="385763" cy="407988"/>
            <a:chOff x="6267451" y="5280026"/>
            <a:chExt cx="385763" cy="407988"/>
          </a:xfrm>
        </p:grpSpPr>
        <p:sp>
          <p:nvSpPr>
            <p:cNvPr id="132"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3"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4"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5"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6"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7"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8"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0" name="Gruppieren 139"/>
          <p:cNvGrpSpPr/>
          <p:nvPr/>
        </p:nvGrpSpPr>
        <p:grpSpPr>
          <a:xfrm rot="18900000">
            <a:off x="6503392" y="5747189"/>
            <a:ext cx="385763" cy="407988"/>
            <a:chOff x="6267451" y="5280026"/>
            <a:chExt cx="385763" cy="407988"/>
          </a:xfrm>
        </p:grpSpPr>
        <p:sp>
          <p:nvSpPr>
            <p:cNvPr id="141"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2"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3"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4"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5"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6"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7"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48" name="Gruppieren 147"/>
          <p:cNvGrpSpPr/>
          <p:nvPr/>
        </p:nvGrpSpPr>
        <p:grpSpPr>
          <a:xfrm rot="8100000">
            <a:off x="5758658" y="5052806"/>
            <a:ext cx="385763" cy="407988"/>
            <a:chOff x="6267451" y="5280026"/>
            <a:chExt cx="385763" cy="407988"/>
          </a:xfrm>
        </p:grpSpPr>
        <p:sp>
          <p:nvSpPr>
            <p:cNvPr id="149"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1"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2"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3"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4"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5"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56" name="Gruppieren 155"/>
          <p:cNvGrpSpPr/>
          <p:nvPr/>
        </p:nvGrpSpPr>
        <p:grpSpPr>
          <a:xfrm rot="8100000">
            <a:off x="5758658" y="5733843"/>
            <a:ext cx="385763" cy="407988"/>
            <a:chOff x="6267451" y="5280026"/>
            <a:chExt cx="385763" cy="407988"/>
          </a:xfrm>
        </p:grpSpPr>
        <p:sp>
          <p:nvSpPr>
            <p:cNvPr id="157" name="Freeform 1142"/>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8" name="Freeform 1143"/>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9" name="Freeform 1144"/>
            <p:cNvSpPr>
              <a:spLocks/>
            </p:cNvSpPr>
            <p:nvPr/>
          </p:nvSpPr>
          <p:spPr bwMode="auto">
            <a:xfrm>
              <a:off x="6267451" y="5280026"/>
              <a:ext cx="79375" cy="79375"/>
            </a:xfrm>
            <a:custGeom>
              <a:avLst/>
              <a:gdLst>
                <a:gd name="T0" fmla="*/ 48 w 58"/>
                <a:gd name="T1" fmla="*/ 11 h 58"/>
                <a:gd name="T2" fmla="*/ 11 w 58"/>
                <a:gd name="T3" fmla="*/ 10 h 58"/>
                <a:gd name="T4" fmla="*/ 10 w 58"/>
                <a:gd name="T5" fmla="*/ 47 h 58"/>
                <a:gd name="T6" fmla="*/ 47 w 58"/>
                <a:gd name="T7" fmla="*/ 48 h 58"/>
                <a:gd name="T8" fmla="*/ 48 w 58"/>
                <a:gd name="T9" fmla="*/ 11 h 58"/>
              </a:gdLst>
              <a:ahLst/>
              <a:cxnLst>
                <a:cxn ang="0">
                  <a:pos x="T0" y="T1"/>
                </a:cxn>
                <a:cxn ang="0">
                  <a:pos x="T2" y="T3"/>
                </a:cxn>
                <a:cxn ang="0">
                  <a:pos x="T4" y="T5"/>
                </a:cxn>
                <a:cxn ang="0">
                  <a:pos x="T6" y="T7"/>
                </a:cxn>
                <a:cxn ang="0">
                  <a:pos x="T8" y="T9"/>
                </a:cxn>
              </a:cxnLst>
              <a:rect l="0" t="0" r="r" b="b"/>
              <a:pathLst>
                <a:path w="58" h="58">
                  <a:moveTo>
                    <a:pt x="48" y="11"/>
                  </a:moveTo>
                  <a:cubicBezTo>
                    <a:pt x="38" y="0"/>
                    <a:pt x="22" y="0"/>
                    <a:pt x="11" y="10"/>
                  </a:cubicBezTo>
                  <a:cubicBezTo>
                    <a:pt x="1" y="20"/>
                    <a:pt x="0" y="36"/>
                    <a:pt x="10" y="47"/>
                  </a:cubicBezTo>
                  <a:cubicBezTo>
                    <a:pt x="20" y="58"/>
                    <a:pt x="36" y="58"/>
                    <a:pt x="47" y="48"/>
                  </a:cubicBezTo>
                  <a:cubicBezTo>
                    <a:pt x="58" y="38"/>
                    <a:pt x="58" y="22"/>
                    <a:pt x="48" y="11"/>
                  </a:cubicBezTo>
                  <a:close/>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0" name="Freeform 1145"/>
            <p:cNvSpPr>
              <a:spLocks/>
            </p:cNvSpPr>
            <p:nvPr/>
          </p:nvSpPr>
          <p:spPr bwMode="auto">
            <a:xfrm>
              <a:off x="6302376" y="5341938"/>
              <a:ext cx="146050" cy="139700"/>
            </a:xfrm>
            <a:custGeom>
              <a:avLst/>
              <a:gdLst>
                <a:gd name="T0" fmla="*/ 0 w 107"/>
                <a:gd name="T1" fmla="*/ 95 h 102"/>
                <a:gd name="T2" fmla="*/ 77 w 107"/>
                <a:gd name="T3" fmla="*/ 75 h 102"/>
                <a:gd name="T4" fmla="*/ 103 w 107"/>
                <a:gd name="T5" fmla="*/ 0 h 102"/>
              </a:gdLst>
              <a:ahLst/>
              <a:cxnLst>
                <a:cxn ang="0">
                  <a:pos x="T0" y="T1"/>
                </a:cxn>
                <a:cxn ang="0">
                  <a:pos x="T2" y="T3"/>
                </a:cxn>
                <a:cxn ang="0">
                  <a:pos x="T4" y="T5"/>
                </a:cxn>
              </a:cxnLst>
              <a:rect l="0" t="0" r="r" b="b"/>
              <a:pathLst>
                <a:path w="107" h="102">
                  <a:moveTo>
                    <a:pt x="0" y="95"/>
                  </a:moveTo>
                  <a:cubicBezTo>
                    <a:pt x="26" y="102"/>
                    <a:pt x="55" y="95"/>
                    <a:pt x="77" y="75"/>
                  </a:cubicBezTo>
                  <a:cubicBezTo>
                    <a:pt x="98" y="55"/>
                    <a:pt x="107" y="27"/>
                    <a:pt x="103" y="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1" name="Freeform 1146"/>
            <p:cNvSpPr>
              <a:spLocks/>
            </p:cNvSpPr>
            <p:nvPr/>
          </p:nvSpPr>
          <p:spPr bwMode="auto">
            <a:xfrm>
              <a:off x="6318251" y="5362576"/>
              <a:ext cx="195263" cy="185738"/>
            </a:xfrm>
            <a:custGeom>
              <a:avLst/>
              <a:gdLst>
                <a:gd name="T0" fmla="*/ 142 w 142"/>
                <a:gd name="T1" fmla="*/ 0 h 135"/>
                <a:gd name="T2" fmla="*/ 99 w 142"/>
                <a:gd name="T3" fmla="*/ 97 h 135"/>
                <a:gd name="T4" fmla="*/ 0 w 142"/>
                <a:gd name="T5" fmla="*/ 133 h 135"/>
              </a:gdLst>
              <a:ahLst/>
              <a:cxnLst>
                <a:cxn ang="0">
                  <a:pos x="T0" y="T1"/>
                </a:cxn>
                <a:cxn ang="0">
                  <a:pos x="T2" y="T3"/>
                </a:cxn>
                <a:cxn ang="0">
                  <a:pos x="T4" y="T5"/>
                </a:cxn>
              </a:cxnLst>
              <a:rect l="0" t="0" r="r" b="b"/>
              <a:pathLst>
                <a:path w="142" h="135">
                  <a:moveTo>
                    <a:pt x="142" y="0"/>
                  </a:moveTo>
                  <a:cubicBezTo>
                    <a:pt x="142" y="36"/>
                    <a:pt x="127" y="71"/>
                    <a:pt x="99" y="97"/>
                  </a:cubicBezTo>
                  <a:cubicBezTo>
                    <a:pt x="72" y="123"/>
                    <a:pt x="35" y="135"/>
                    <a:pt x="0" y="133"/>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2" name="Freeform 1147"/>
            <p:cNvSpPr>
              <a:spLocks/>
            </p:cNvSpPr>
            <p:nvPr/>
          </p:nvSpPr>
          <p:spPr bwMode="auto">
            <a:xfrm>
              <a:off x="6335714" y="5383213"/>
              <a:ext cx="246063" cy="231775"/>
            </a:xfrm>
            <a:custGeom>
              <a:avLst/>
              <a:gdLst>
                <a:gd name="T0" fmla="*/ 180 w 180"/>
                <a:gd name="T1" fmla="*/ 0 h 169"/>
                <a:gd name="T2" fmla="*/ 122 w 180"/>
                <a:gd name="T3" fmla="*/ 119 h 169"/>
                <a:gd name="T4" fmla="*/ 0 w 180"/>
                <a:gd name="T5" fmla="*/ 169 h 169"/>
              </a:gdLst>
              <a:ahLst/>
              <a:cxnLst>
                <a:cxn ang="0">
                  <a:pos x="T0" y="T1"/>
                </a:cxn>
                <a:cxn ang="0">
                  <a:pos x="T2" y="T3"/>
                </a:cxn>
                <a:cxn ang="0">
                  <a:pos x="T4" y="T5"/>
                </a:cxn>
              </a:cxnLst>
              <a:rect l="0" t="0" r="r" b="b"/>
              <a:pathLst>
                <a:path w="180" h="169">
                  <a:moveTo>
                    <a:pt x="180" y="0"/>
                  </a:moveTo>
                  <a:cubicBezTo>
                    <a:pt x="176" y="44"/>
                    <a:pt x="157" y="87"/>
                    <a:pt x="122" y="119"/>
                  </a:cubicBezTo>
                  <a:cubicBezTo>
                    <a:pt x="87" y="151"/>
                    <a:pt x="44" y="168"/>
                    <a:pt x="0" y="169"/>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3" name="Freeform 1148"/>
            <p:cNvSpPr>
              <a:spLocks/>
            </p:cNvSpPr>
            <p:nvPr/>
          </p:nvSpPr>
          <p:spPr bwMode="auto">
            <a:xfrm>
              <a:off x="6348414" y="5403851"/>
              <a:ext cx="304800" cy="284163"/>
            </a:xfrm>
            <a:custGeom>
              <a:avLst/>
              <a:gdLst>
                <a:gd name="T0" fmla="*/ 221 w 221"/>
                <a:gd name="T1" fmla="*/ 0 h 206"/>
                <a:gd name="T2" fmla="*/ 150 w 221"/>
                <a:gd name="T3" fmla="*/ 145 h 206"/>
                <a:gd name="T4" fmla="*/ 0 w 221"/>
                <a:gd name="T5" fmla="*/ 206 h 206"/>
              </a:gdLst>
              <a:ahLst/>
              <a:cxnLst>
                <a:cxn ang="0">
                  <a:pos x="T0" y="T1"/>
                </a:cxn>
                <a:cxn ang="0">
                  <a:pos x="T2" y="T3"/>
                </a:cxn>
                <a:cxn ang="0">
                  <a:pos x="T4" y="T5"/>
                </a:cxn>
              </a:cxnLst>
              <a:rect l="0" t="0" r="r" b="b"/>
              <a:pathLst>
                <a:path w="221" h="206">
                  <a:moveTo>
                    <a:pt x="221" y="0"/>
                  </a:moveTo>
                  <a:cubicBezTo>
                    <a:pt x="216" y="54"/>
                    <a:pt x="192" y="106"/>
                    <a:pt x="150" y="145"/>
                  </a:cubicBezTo>
                  <a:cubicBezTo>
                    <a:pt x="107" y="185"/>
                    <a:pt x="54" y="205"/>
                    <a:pt x="0" y="206"/>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13" name="Gruppieren 212"/>
          <p:cNvGrpSpPr/>
          <p:nvPr/>
        </p:nvGrpSpPr>
        <p:grpSpPr>
          <a:xfrm>
            <a:off x="1517650" y="5246688"/>
            <a:ext cx="1486662" cy="947737"/>
            <a:chOff x="1517650" y="5246688"/>
            <a:chExt cx="1486662" cy="947737"/>
          </a:xfrm>
        </p:grpSpPr>
        <p:grpSp>
          <p:nvGrpSpPr>
            <p:cNvPr id="170" name="Gruppieren 169"/>
            <p:cNvGrpSpPr/>
            <p:nvPr/>
          </p:nvGrpSpPr>
          <p:grpSpPr>
            <a:xfrm>
              <a:off x="2399654" y="5836805"/>
              <a:ext cx="183324" cy="354691"/>
              <a:chOff x="5657851" y="4073525"/>
              <a:chExt cx="292100" cy="565150"/>
            </a:xfrm>
          </p:grpSpPr>
          <p:sp>
            <p:nvSpPr>
              <p:cNvPr id="18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6" name="Freeform 159"/>
            <p:cNvSpPr>
              <a:spLocks/>
            </p:cNvSpPr>
            <p:nvPr/>
          </p:nvSpPr>
          <p:spPr bwMode="auto">
            <a:xfrm>
              <a:off x="1592263" y="5465763"/>
              <a:ext cx="766763" cy="728662"/>
            </a:xfrm>
            <a:custGeom>
              <a:avLst/>
              <a:gdLst>
                <a:gd name="T0" fmla="*/ 0 w 483"/>
                <a:gd name="T1" fmla="*/ 0 h 459"/>
                <a:gd name="T2" fmla="*/ 0 w 483"/>
                <a:gd name="T3" fmla="*/ 459 h 459"/>
                <a:gd name="T4" fmla="*/ 483 w 483"/>
                <a:gd name="T5" fmla="*/ 459 h 459"/>
              </a:gdLst>
              <a:ahLst/>
              <a:cxnLst>
                <a:cxn ang="0">
                  <a:pos x="T0" y="T1"/>
                </a:cxn>
                <a:cxn ang="0">
                  <a:pos x="T2" y="T3"/>
                </a:cxn>
                <a:cxn ang="0">
                  <a:pos x="T4" y="T5"/>
                </a:cxn>
              </a:cxnLst>
              <a:rect l="0" t="0" r="r" b="b"/>
              <a:pathLst>
                <a:path w="483" h="459">
                  <a:moveTo>
                    <a:pt x="0" y="0"/>
                  </a:moveTo>
                  <a:lnTo>
                    <a:pt x="0" y="459"/>
                  </a:lnTo>
                  <a:lnTo>
                    <a:pt x="483" y="45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Freeform 160"/>
            <p:cNvSpPr>
              <a:spLocks/>
            </p:cNvSpPr>
            <p:nvPr/>
          </p:nvSpPr>
          <p:spPr bwMode="auto">
            <a:xfrm>
              <a:off x="1517650" y="5246688"/>
              <a:ext cx="134938" cy="173037"/>
            </a:xfrm>
            <a:custGeom>
              <a:avLst/>
              <a:gdLst>
                <a:gd name="T0" fmla="*/ 117 w 164"/>
                <a:gd name="T1" fmla="*/ 211 h 211"/>
                <a:gd name="T2" fmla="*/ 52 w 164"/>
                <a:gd name="T3" fmla="*/ 182 h 211"/>
                <a:gd name="T4" fmla="*/ 33 w 164"/>
                <a:gd name="T5" fmla="*/ 142 h 211"/>
                <a:gd name="T6" fmla="*/ 0 w 164"/>
                <a:gd name="T7" fmla="*/ 142 h 211"/>
                <a:gd name="T8" fmla="*/ 0 w 164"/>
                <a:gd name="T9" fmla="*/ 117 h 211"/>
                <a:gd name="T10" fmla="*/ 29 w 164"/>
                <a:gd name="T11" fmla="*/ 117 h 211"/>
                <a:gd name="T12" fmla="*/ 29 w 164"/>
                <a:gd name="T13" fmla="*/ 109 h 211"/>
                <a:gd name="T14" fmla="*/ 30 w 164"/>
                <a:gd name="T15" fmla="*/ 94 h 211"/>
                <a:gd name="T16" fmla="*/ 0 w 164"/>
                <a:gd name="T17" fmla="*/ 94 h 211"/>
                <a:gd name="T18" fmla="*/ 0 w 164"/>
                <a:gd name="T19" fmla="*/ 69 h 211"/>
                <a:gd name="T20" fmla="*/ 34 w 164"/>
                <a:gd name="T21" fmla="*/ 69 h 211"/>
                <a:gd name="T22" fmla="*/ 43 w 164"/>
                <a:gd name="T23" fmla="*/ 47 h 211"/>
                <a:gd name="T24" fmla="*/ 118 w 164"/>
                <a:gd name="T25" fmla="*/ 0 h 211"/>
                <a:gd name="T26" fmla="*/ 160 w 164"/>
                <a:gd name="T27" fmla="*/ 10 h 211"/>
                <a:gd name="T28" fmla="*/ 153 w 164"/>
                <a:gd name="T29" fmla="*/ 39 h 211"/>
                <a:gd name="T30" fmla="*/ 118 w 164"/>
                <a:gd name="T31" fmla="*/ 27 h 211"/>
                <a:gd name="T32" fmla="*/ 77 w 164"/>
                <a:gd name="T33" fmla="*/ 52 h 211"/>
                <a:gd name="T34" fmla="*/ 71 w 164"/>
                <a:gd name="T35" fmla="*/ 69 h 211"/>
                <a:gd name="T36" fmla="*/ 136 w 164"/>
                <a:gd name="T37" fmla="*/ 69 h 211"/>
                <a:gd name="T38" fmla="*/ 136 w 164"/>
                <a:gd name="T39" fmla="*/ 94 h 211"/>
                <a:gd name="T40" fmla="*/ 67 w 164"/>
                <a:gd name="T41" fmla="*/ 94 h 211"/>
                <a:gd name="T42" fmla="*/ 67 w 164"/>
                <a:gd name="T43" fmla="*/ 105 h 211"/>
                <a:gd name="T44" fmla="*/ 67 w 164"/>
                <a:gd name="T45" fmla="*/ 117 h 211"/>
                <a:gd name="T46" fmla="*/ 136 w 164"/>
                <a:gd name="T47" fmla="*/ 117 h 211"/>
                <a:gd name="T48" fmla="*/ 136 w 164"/>
                <a:gd name="T49" fmla="*/ 142 h 211"/>
                <a:gd name="T50" fmla="*/ 70 w 164"/>
                <a:gd name="T51" fmla="*/ 142 h 211"/>
                <a:gd name="T52" fmla="*/ 75 w 164"/>
                <a:gd name="T53" fmla="*/ 156 h 211"/>
                <a:gd name="T54" fmla="*/ 120 w 164"/>
                <a:gd name="T55" fmla="*/ 185 h 211"/>
                <a:gd name="T56" fmla="*/ 157 w 164"/>
                <a:gd name="T57" fmla="*/ 172 h 211"/>
                <a:gd name="T58" fmla="*/ 164 w 164"/>
                <a:gd name="T59" fmla="*/ 199 h 211"/>
                <a:gd name="T60" fmla="*/ 117 w 164"/>
                <a:gd name="T6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211">
                  <a:moveTo>
                    <a:pt x="117" y="211"/>
                  </a:moveTo>
                  <a:cubicBezTo>
                    <a:pt x="90" y="211"/>
                    <a:pt x="68" y="201"/>
                    <a:pt x="52" y="182"/>
                  </a:cubicBezTo>
                  <a:cubicBezTo>
                    <a:pt x="43" y="171"/>
                    <a:pt x="37" y="157"/>
                    <a:pt x="33" y="142"/>
                  </a:cubicBezTo>
                  <a:cubicBezTo>
                    <a:pt x="0" y="142"/>
                    <a:pt x="0" y="142"/>
                    <a:pt x="0" y="142"/>
                  </a:cubicBezTo>
                  <a:cubicBezTo>
                    <a:pt x="0" y="117"/>
                    <a:pt x="0" y="117"/>
                    <a:pt x="0" y="117"/>
                  </a:cubicBezTo>
                  <a:cubicBezTo>
                    <a:pt x="29" y="117"/>
                    <a:pt x="29" y="117"/>
                    <a:pt x="29" y="117"/>
                  </a:cubicBezTo>
                  <a:cubicBezTo>
                    <a:pt x="29" y="114"/>
                    <a:pt x="29" y="112"/>
                    <a:pt x="29" y="109"/>
                  </a:cubicBezTo>
                  <a:cubicBezTo>
                    <a:pt x="29" y="104"/>
                    <a:pt x="29" y="99"/>
                    <a:pt x="30" y="94"/>
                  </a:cubicBezTo>
                  <a:cubicBezTo>
                    <a:pt x="0" y="94"/>
                    <a:pt x="0" y="94"/>
                    <a:pt x="0" y="94"/>
                  </a:cubicBezTo>
                  <a:cubicBezTo>
                    <a:pt x="0" y="69"/>
                    <a:pt x="0" y="69"/>
                    <a:pt x="0" y="69"/>
                  </a:cubicBezTo>
                  <a:cubicBezTo>
                    <a:pt x="34" y="69"/>
                    <a:pt x="34" y="69"/>
                    <a:pt x="34" y="69"/>
                  </a:cubicBezTo>
                  <a:cubicBezTo>
                    <a:pt x="36" y="61"/>
                    <a:pt x="39" y="54"/>
                    <a:pt x="43" y="47"/>
                  </a:cubicBezTo>
                  <a:cubicBezTo>
                    <a:pt x="58" y="18"/>
                    <a:pt x="86" y="0"/>
                    <a:pt x="118" y="0"/>
                  </a:cubicBezTo>
                  <a:cubicBezTo>
                    <a:pt x="138" y="0"/>
                    <a:pt x="150" y="5"/>
                    <a:pt x="160" y="10"/>
                  </a:cubicBezTo>
                  <a:cubicBezTo>
                    <a:pt x="153" y="39"/>
                    <a:pt x="153" y="39"/>
                    <a:pt x="153" y="39"/>
                  </a:cubicBezTo>
                  <a:cubicBezTo>
                    <a:pt x="142" y="31"/>
                    <a:pt x="131" y="27"/>
                    <a:pt x="118" y="27"/>
                  </a:cubicBezTo>
                  <a:cubicBezTo>
                    <a:pt x="101" y="27"/>
                    <a:pt x="86" y="36"/>
                    <a:pt x="77" y="52"/>
                  </a:cubicBezTo>
                  <a:cubicBezTo>
                    <a:pt x="75" y="57"/>
                    <a:pt x="72" y="62"/>
                    <a:pt x="71" y="69"/>
                  </a:cubicBezTo>
                  <a:cubicBezTo>
                    <a:pt x="136" y="69"/>
                    <a:pt x="136" y="69"/>
                    <a:pt x="136" y="69"/>
                  </a:cubicBezTo>
                  <a:cubicBezTo>
                    <a:pt x="136" y="94"/>
                    <a:pt x="136" y="94"/>
                    <a:pt x="136" y="94"/>
                  </a:cubicBezTo>
                  <a:cubicBezTo>
                    <a:pt x="67" y="94"/>
                    <a:pt x="67" y="94"/>
                    <a:pt x="67" y="94"/>
                  </a:cubicBezTo>
                  <a:cubicBezTo>
                    <a:pt x="67" y="98"/>
                    <a:pt x="67" y="101"/>
                    <a:pt x="67" y="105"/>
                  </a:cubicBezTo>
                  <a:cubicBezTo>
                    <a:pt x="67" y="109"/>
                    <a:pt x="67" y="113"/>
                    <a:pt x="67" y="117"/>
                  </a:cubicBezTo>
                  <a:cubicBezTo>
                    <a:pt x="136" y="117"/>
                    <a:pt x="136" y="117"/>
                    <a:pt x="136" y="117"/>
                  </a:cubicBezTo>
                  <a:cubicBezTo>
                    <a:pt x="136" y="142"/>
                    <a:pt x="136" y="142"/>
                    <a:pt x="136" y="142"/>
                  </a:cubicBezTo>
                  <a:cubicBezTo>
                    <a:pt x="70" y="142"/>
                    <a:pt x="70" y="142"/>
                    <a:pt x="70" y="142"/>
                  </a:cubicBezTo>
                  <a:cubicBezTo>
                    <a:pt x="71" y="147"/>
                    <a:pt x="73" y="152"/>
                    <a:pt x="75" y="156"/>
                  </a:cubicBezTo>
                  <a:cubicBezTo>
                    <a:pt x="84" y="175"/>
                    <a:pt x="100" y="185"/>
                    <a:pt x="120" y="185"/>
                  </a:cubicBezTo>
                  <a:cubicBezTo>
                    <a:pt x="135" y="185"/>
                    <a:pt x="145" y="181"/>
                    <a:pt x="157" y="172"/>
                  </a:cubicBezTo>
                  <a:cubicBezTo>
                    <a:pt x="164" y="199"/>
                    <a:pt x="164" y="199"/>
                    <a:pt x="164" y="199"/>
                  </a:cubicBezTo>
                  <a:cubicBezTo>
                    <a:pt x="150" y="207"/>
                    <a:pt x="139" y="211"/>
                    <a:pt x="117" y="211"/>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61"/>
            <p:cNvSpPr>
              <a:spLocks/>
            </p:cNvSpPr>
            <p:nvPr/>
          </p:nvSpPr>
          <p:spPr bwMode="auto">
            <a:xfrm>
              <a:off x="1609725" y="5480050"/>
              <a:ext cx="739775" cy="685800"/>
            </a:xfrm>
            <a:custGeom>
              <a:avLst/>
              <a:gdLst>
                <a:gd name="T0" fmla="*/ 899 w 899"/>
                <a:gd name="T1" fmla="*/ 789 h 833"/>
                <a:gd name="T2" fmla="*/ 855 w 899"/>
                <a:gd name="T3" fmla="*/ 734 h 833"/>
                <a:gd name="T4" fmla="*/ 852 w 899"/>
                <a:gd name="T5" fmla="*/ 763 h 833"/>
                <a:gd name="T6" fmla="*/ 41 w 899"/>
                <a:gd name="T7" fmla="*/ 0 h 833"/>
                <a:gd name="T8" fmla="*/ 0 w 899"/>
                <a:gd name="T9" fmla="*/ 6 h 833"/>
                <a:gd name="T10" fmla="*/ 149 w 899"/>
                <a:gd name="T11" fmla="*/ 402 h 833"/>
                <a:gd name="T12" fmla="*/ 400 w 899"/>
                <a:gd name="T13" fmla="*/ 641 h 833"/>
                <a:gd name="T14" fmla="*/ 847 w 899"/>
                <a:gd name="T15" fmla="*/ 804 h 833"/>
                <a:gd name="T16" fmla="*/ 844 w 899"/>
                <a:gd name="T17" fmla="*/ 833 h 833"/>
                <a:gd name="T18" fmla="*/ 899 w 899"/>
                <a:gd name="T19" fmla="*/ 78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9" h="833">
                  <a:moveTo>
                    <a:pt x="899" y="789"/>
                  </a:moveTo>
                  <a:cubicBezTo>
                    <a:pt x="855" y="734"/>
                    <a:pt x="855" y="734"/>
                    <a:pt x="855" y="734"/>
                  </a:cubicBezTo>
                  <a:cubicBezTo>
                    <a:pt x="852" y="763"/>
                    <a:pt x="852" y="763"/>
                    <a:pt x="852" y="763"/>
                  </a:cubicBezTo>
                  <a:cubicBezTo>
                    <a:pt x="674" y="738"/>
                    <a:pt x="126" y="609"/>
                    <a:pt x="41" y="0"/>
                  </a:cubicBezTo>
                  <a:cubicBezTo>
                    <a:pt x="0" y="6"/>
                    <a:pt x="0" y="6"/>
                    <a:pt x="0" y="6"/>
                  </a:cubicBezTo>
                  <a:cubicBezTo>
                    <a:pt x="21" y="156"/>
                    <a:pt x="71" y="289"/>
                    <a:pt x="149" y="402"/>
                  </a:cubicBezTo>
                  <a:cubicBezTo>
                    <a:pt x="214" y="496"/>
                    <a:pt x="298" y="576"/>
                    <a:pt x="400" y="641"/>
                  </a:cubicBezTo>
                  <a:cubicBezTo>
                    <a:pt x="573" y="751"/>
                    <a:pt x="752" y="790"/>
                    <a:pt x="847" y="804"/>
                  </a:cubicBezTo>
                  <a:cubicBezTo>
                    <a:pt x="844" y="833"/>
                    <a:pt x="844" y="833"/>
                    <a:pt x="844" y="833"/>
                  </a:cubicBezTo>
                  <a:lnTo>
                    <a:pt x="899" y="789"/>
                  </a:ln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32" name="Gruppieren 231"/>
            <p:cNvGrpSpPr/>
            <p:nvPr/>
          </p:nvGrpSpPr>
          <p:grpSpPr>
            <a:xfrm>
              <a:off x="2611585" y="5836805"/>
              <a:ext cx="183324" cy="354691"/>
              <a:chOff x="5657851" y="4073525"/>
              <a:chExt cx="292100" cy="565150"/>
            </a:xfrm>
          </p:grpSpPr>
          <p:sp>
            <p:nvSpPr>
              <p:cNvPr id="23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38" name="Gruppieren 237"/>
            <p:cNvGrpSpPr/>
            <p:nvPr/>
          </p:nvGrpSpPr>
          <p:grpSpPr>
            <a:xfrm>
              <a:off x="2820988" y="5836805"/>
              <a:ext cx="183324" cy="354691"/>
              <a:chOff x="5657851" y="4073525"/>
              <a:chExt cx="292100" cy="565150"/>
            </a:xfrm>
          </p:grpSpPr>
          <p:sp>
            <p:nvSpPr>
              <p:cNvPr id="239"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0"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1"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2"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3"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75" name="Gruppieren 274"/>
            <p:cNvGrpSpPr/>
            <p:nvPr/>
          </p:nvGrpSpPr>
          <p:grpSpPr>
            <a:xfrm>
              <a:off x="1796388" y="5461281"/>
              <a:ext cx="183324" cy="354691"/>
              <a:chOff x="5657851" y="4073525"/>
              <a:chExt cx="292100" cy="565150"/>
            </a:xfrm>
          </p:grpSpPr>
          <p:sp>
            <p:nvSpPr>
              <p:cNvPr id="276"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7"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8"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9"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0"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69" name="Gruppieren 268"/>
            <p:cNvGrpSpPr/>
            <p:nvPr/>
          </p:nvGrpSpPr>
          <p:grpSpPr>
            <a:xfrm>
              <a:off x="1899826" y="5461281"/>
              <a:ext cx="183324" cy="354691"/>
              <a:chOff x="5657851" y="4073525"/>
              <a:chExt cx="292100" cy="565150"/>
            </a:xfrm>
          </p:grpSpPr>
          <p:sp>
            <p:nvSpPr>
              <p:cNvPr id="270"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1"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2"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3"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4"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172" name="Gruppieren 171"/>
            <p:cNvGrpSpPr/>
            <p:nvPr/>
          </p:nvGrpSpPr>
          <p:grpSpPr>
            <a:xfrm>
              <a:off x="2002220" y="5461281"/>
              <a:ext cx="183324" cy="354691"/>
              <a:chOff x="5657851" y="4073525"/>
              <a:chExt cx="292100" cy="565150"/>
            </a:xfrm>
          </p:grpSpPr>
          <p:sp>
            <p:nvSpPr>
              <p:cNvPr id="17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7"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8"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214" name="Gruppieren 213"/>
          <p:cNvGrpSpPr/>
          <p:nvPr/>
        </p:nvGrpSpPr>
        <p:grpSpPr>
          <a:xfrm>
            <a:off x="3452175" y="5396242"/>
            <a:ext cx="1866900" cy="799771"/>
            <a:chOff x="3578226" y="5396242"/>
            <a:chExt cx="1866900" cy="799771"/>
          </a:xfrm>
        </p:grpSpPr>
        <p:grpSp>
          <p:nvGrpSpPr>
            <p:cNvPr id="212" name="Gruppieren 211"/>
            <p:cNvGrpSpPr/>
            <p:nvPr/>
          </p:nvGrpSpPr>
          <p:grpSpPr>
            <a:xfrm>
              <a:off x="4350297" y="5396242"/>
              <a:ext cx="183324" cy="354691"/>
              <a:chOff x="4050126" y="5396242"/>
              <a:chExt cx="183324" cy="354691"/>
            </a:xfrm>
          </p:grpSpPr>
          <p:sp>
            <p:nvSpPr>
              <p:cNvPr id="282"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3"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4"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5"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6"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1145" name="Freeform 192"/>
            <p:cNvSpPr>
              <a:spLocks noEditPoints="1"/>
            </p:cNvSpPr>
            <p:nvPr/>
          </p:nvSpPr>
          <p:spPr bwMode="auto">
            <a:xfrm>
              <a:off x="4359276" y="5437188"/>
              <a:ext cx="182563" cy="279400"/>
            </a:xfrm>
            <a:custGeom>
              <a:avLst/>
              <a:gdLst>
                <a:gd name="T0" fmla="*/ 103 w 115"/>
                <a:gd name="T1" fmla="*/ 3 h 176"/>
                <a:gd name="T2" fmla="*/ 113 w 115"/>
                <a:gd name="T3" fmla="*/ 13 h 176"/>
                <a:gd name="T4" fmla="*/ 113 w 115"/>
                <a:gd name="T5" fmla="*/ 164 h 176"/>
                <a:gd name="T6" fmla="*/ 103 w 115"/>
                <a:gd name="T7" fmla="*/ 174 h 176"/>
                <a:gd name="T8" fmla="*/ 13 w 115"/>
                <a:gd name="T9" fmla="*/ 174 h 176"/>
                <a:gd name="T10" fmla="*/ 3 w 115"/>
                <a:gd name="T11" fmla="*/ 164 h 176"/>
                <a:gd name="T12" fmla="*/ 3 w 115"/>
                <a:gd name="T13" fmla="*/ 13 h 176"/>
                <a:gd name="T14" fmla="*/ 13 w 115"/>
                <a:gd name="T15" fmla="*/ 3 h 176"/>
                <a:gd name="T16" fmla="*/ 103 w 115"/>
                <a:gd name="T17" fmla="*/ 3 h 176"/>
                <a:gd name="T18" fmla="*/ 103 w 115"/>
                <a:gd name="T19" fmla="*/ 0 h 176"/>
                <a:gd name="T20" fmla="*/ 11 w 115"/>
                <a:gd name="T21" fmla="*/ 0 h 176"/>
                <a:gd name="T22" fmla="*/ 0 w 115"/>
                <a:gd name="T23" fmla="*/ 11 h 176"/>
                <a:gd name="T24" fmla="*/ 0 w 115"/>
                <a:gd name="T25" fmla="*/ 165 h 176"/>
                <a:gd name="T26" fmla="*/ 11 w 115"/>
                <a:gd name="T27" fmla="*/ 176 h 176"/>
                <a:gd name="T28" fmla="*/ 103 w 115"/>
                <a:gd name="T29" fmla="*/ 176 h 176"/>
                <a:gd name="T30" fmla="*/ 115 w 115"/>
                <a:gd name="T31" fmla="*/ 165 h 176"/>
                <a:gd name="T32" fmla="*/ 115 w 115"/>
                <a:gd name="T33" fmla="*/ 11 h 176"/>
                <a:gd name="T34" fmla="*/ 103 w 115"/>
                <a:gd name="T35" fmla="*/ 0 h 176"/>
                <a:gd name="T36" fmla="*/ 103 w 115"/>
                <a:gd name="T3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76">
                  <a:moveTo>
                    <a:pt x="103" y="3"/>
                  </a:moveTo>
                  <a:lnTo>
                    <a:pt x="113" y="13"/>
                  </a:lnTo>
                  <a:lnTo>
                    <a:pt x="113" y="164"/>
                  </a:lnTo>
                  <a:lnTo>
                    <a:pt x="103" y="174"/>
                  </a:lnTo>
                  <a:lnTo>
                    <a:pt x="13" y="174"/>
                  </a:lnTo>
                  <a:lnTo>
                    <a:pt x="3" y="164"/>
                  </a:lnTo>
                  <a:lnTo>
                    <a:pt x="3" y="13"/>
                  </a:lnTo>
                  <a:lnTo>
                    <a:pt x="13" y="3"/>
                  </a:lnTo>
                  <a:lnTo>
                    <a:pt x="103" y="3"/>
                  </a:lnTo>
                  <a:moveTo>
                    <a:pt x="103" y="0"/>
                  </a:moveTo>
                  <a:lnTo>
                    <a:pt x="11" y="0"/>
                  </a:lnTo>
                  <a:lnTo>
                    <a:pt x="0" y="11"/>
                  </a:lnTo>
                  <a:lnTo>
                    <a:pt x="0" y="165"/>
                  </a:lnTo>
                  <a:lnTo>
                    <a:pt x="11" y="176"/>
                  </a:lnTo>
                  <a:lnTo>
                    <a:pt x="103" y="176"/>
                  </a:lnTo>
                  <a:lnTo>
                    <a:pt x="115" y="165"/>
                  </a:lnTo>
                  <a:lnTo>
                    <a:pt x="115" y="11"/>
                  </a:lnTo>
                  <a:lnTo>
                    <a:pt x="103" y="0"/>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2" name="Freeform 209"/>
            <p:cNvSpPr>
              <a:spLocks/>
            </p:cNvSpPr>
            <p:nvPr/>
          </p:nvSpPr>
          <p:spPr bwMode="auto">
            <a:xfrm>
              <a:off x="3578226" y="5434013"/>
              <a:ext cx="1866900" cy="762000"/>
            </a:xfrm>
            <a:custGeom>
              <a:avLst/>
              <a:gdLst>
                <a:gd name="T0" fmla="*/ 0 w 1176"/>
                <a:gd name="T1" fmla="*/ 480 h 480"/>
                <a:gd name="T2" fmla="*/ 1176 w 1176"/>
                <a:gd name="T3" fmla="*/ 480 h 480"/>
                <a:gd name="T4" fmla="*/ 1176 w 1176"/>
                <a:gd name="T5" fmla="*/ 0 h 480"/>
              </a:gdLst>
              <a:ahLst/>
              <a:cxnLst>
                <a:cxn ang="0">
                  <a:pos x="T0" y="T1"/>
                </a:cxn>
                <a:cxn ang="0">
                  <a:pos x="T2" y="T3"/>
                </a:cxn>
                <a:cxn ang="0">
                  <a:pos x="T4" y="T5"/>
                </a:cxn>
              </a:cxnLst>
              <a:rect l="0" t="0" r="r" b="b"/>
              <a:pathLst>
                <a:path w="1176" h="480">
                  <a:moveTo>
                    <a:pt x="0" y="480"/>
                  </a:moveTo>
                  <a:lnTo>
                    <a:pt x="1176" y="480"/>
                  </a:lnTo>
                  <a:lnTo>
                    <a:pt x="11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07" name="Freeform 210"/>
            <p:cNvSpPr>
              <a:spLocks/>
            </p:cNvSpPr>
            <p:nvPr/>
          </p:nvSpPr>
          <p:spPr bwMode="auto">
            <a:xfrm>
              <a:off x="3792538" y="5734050"/>
              <a:ext cx="547688" cy="404812"/>
            </a:xfrm>
            <a:custGeom>
              <a:avLst/>
              <a:gdLst>
                <a:gd name="T0" fmla="*/ 345 w 345"/>
                <a:gd name="T1" fmla="*/ 7 h 255"/>
                <a:gd name="T2" fmla="*/ 307 w 345"/>
                <a:gd name="T3" fmla="*/ 0 h 255"/>
                <a:gd name="T4" fmla="*/ 316 w 345"/>
                <a:gd name="T5" fmla="*/ 13 h 255"/>
                <a:gd name="T6" fmla="*/ 0 w 345"/>
                <a:gd name="T7" fmla="*/ 236 h 255"/>
                <a:gd name="T8" fmla="*/ 14 w 345"/>
                <a:gd name="T9" fmla="*/ 255 h 255"/>
                <a:gd name="T10" fmla="*/ 329 w 345"/>
                <a:gd name="T11" fmla="*/ 32 h 255"/>
                <a:gd name="T12" fmla="*/ 338 w 345"/>
                <a:gd name="T13" fmla="*/ 45 h 255"/>
                <a:gd name="T14" fmla="*/ 345 w 345"/>
                <a:gd name="T15" fmla="*/ 7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255">
                  <a:moveTo>
                    <a:pt x="345" y="7"/>
                  </a:moveTo>
                  <a:lnTo>
                    <a:pt x="307" y="0"/>
                  </a:lnTo>
                  <a:lnTo>
                    <a:pt x="316" y="13"/>
                  </a:lnTo>
                  <a:lnTo>
                    <a:pt x="0" y="236"/>
                  </a:lnTo>
                  <a:lnTo>
                    <a:pt x="14" y="255"/>
                  </a:lnTo>
                  <a:lnTo>
                    <a:pt x="329" y="32"/>
                  </a:lnTo>
                  <a:lnTo>
                    <a:pt x="338" y="45"/>
                  </a:lnTo>
                  <a:lnTo>
                    <a:pt x="345" y="7"/>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318" name="Gruppieren 317"/>
            <p:cNvGrpSpPr/>
            <p:nvPr/>
          </p:nvGrpSpPr>
          <p:grpSpPr>
            <a:xfrm>
              <a:off x="4569372" y="5396242"/>
              <a:ext cx="183324" cy="354691"/>
              <a:chOff x="4050126" y="5396242"/>
              <a:chExt cx="183324" cy="354691"/>
            </a:xfrm>
          </p:grpSpPr>
          <p:sp>
            <p:nvSpPr>
              <p:cNvPr id="319"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0"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1"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2"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3"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24" name="Gruppieren 323"/>
            <p:cNvGrpSpPr/>
            <p:nvPr/>
          </p:nvGrpSpPr>
          <p:grpSpPr>
            <a:xfrm>
              <a:off x="4786311" y="5396242"/>
              <a:ext cx="183324" cy="354691"/>
              <a:chOff x="4050126" y="5396242"/>
              <a:chExt cx="183324" cy="354691"/>
            </a:xfrm>
          </p:grpSpPr>
          <p:sp>
            <p:nvSpPr>
              <p:cNvPr id="325"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6"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7"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8"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9"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0" name="Gruppieren 329"/>
            <p:cNvGrpSpPr/>
            <p:nvPr/>
          </p:nvGrpSpPr>
          <p:grpSpPr>
            <a:xfrm>
              <a:off x="5008768" y="5396242"/>
              <a:ext cx="183324" cy="354691"/>
              <a:chOff x="4050126" y="5396242"/>
              <a:chExt cx="183324" cy="354691"/>
            </a:xfrm>
          </p:grpSpPr>
          <p:sp>
            <p:nvSpPr>
              <p:cNvPr id="331"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2"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3"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4"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5"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36" name="Gruppieren 335"/>
            <p:cNvGrpSpPr/>
            <p:nvPr/>
          </p:nvGrpSpPr>
          <p:grpSpPr>
            <a:xfrm>
              <a:off x="5229236" y="5396242"/>
              <a:ext cx="183324" cy="354691"/>
              <a:chOff x="4050126" y="5396242"/>
              <a:chExt cx="183324" cy="354691"/>
            </a:xfrm>
          </p:grpSpPr>
          <p:sp>
            <p:nvSpPr>
              <p:cNvPr id="337" name="Freeform 149"/>
              <p:cNvSpPr>
                <a:spLocks/>
              </p:cNvSpPr>
              <p:nvPr/>
            </p:nvSpPr>
            <p:spPr bwMode="auto">
              <a:xfrm>
                <a:off x="4051122" y="5435099"/>
                <a:ext cx="181331" cy="277974"/>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8" name="Freeform 151"/>
              <p:cNvSpPr>
                <a:spLocks noEditPoints="1"/>
              </p:cNvSpPr>
              <p:nvPr/>
            </p:nvSpPr>
            <p:spPr bwMode="auto">
              <a:xfrm>
                <a:off x="4050126" y="5433106"/>
                <a:ext cx="183324" cy="281960"/>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9" name="Freeform 152"/>
              <p:cNvSpPr>
                <a:spLocks/>
              </p:cNvSpPr>
              <p:nvPr/>
            </p:nvSpPr>
            <p:spPr bwMode="auto">
              <a:xfrm>
                <a:off x="4050126" y="5396242"/>
                <a:ext cx="183324" cy="354691"/>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0" name="Line 144"/>
              <p:cNvSpPr>
                <a:spLocks noChangeShapeType="1"/>
              </p:cNvSpPr>
              <p:nvPr/>
            </p:nvSpPr>
            <p:spPr bwMode="auto">
              <a:xfrm>
                <a:off x="4101934" y="5435099"/>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1" name="Line 141"/>
              <p:cNvSpPr>
                <a:spLocks noChangeShapeType="1"/>
              </p:cNvSpPr>
              <p:nvPr/>
            </p:nvSpPr>
            <p:spPr bwMode="auto">
              <a:xfrm flipH="1">
                <a:off x="4101437" y="5713073"/>
                <a:ext cx="76717"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342" name="Gruppieren 341"/>
            <p:cNvGrpSpPr/>
            <p:nvPr/>
          </p:nvGrpSpPr>
          <p:grpSpPr>
            <a:xfrm>
              <a:off x="3583196" y="5815013"/>
              <a:ext cx="183324" cy="354691"/>
              <a:chOff x="5657851" y="4073525"/>
              <a:chExt cx="292100" cy="565150"/>
            </a:xfrm>
          </p:grpSpPr>
          <p:sp>
            <p:nvSpPr>
              <p:cNvPr id="343" name="Freeform 149"/>
              <p:cNvSpPr>
                <a:spLocks/>
              </p:cNvSpPr>
              <p:nvPr/>
            </p:nvSpPr>
            <p:spPr bwMode="auto">
              <a:xfrm>
                <a:off x="5659438" y="4135438"/>
                <a:ext cx="288925" cy="442913"/>
              </a:xfrm>
              <a:custGeom>
                <a:avLst/>
                <a:gdLst>
                  <a:gd name="T0" fmla="*/ 18 w 182"/>
                  <a:gd name="T1" fmla="*/ 279 h 279"/>
                  <a:gd name="T2" fmla="*/ 0 w 182"/>
                  <a:gd name="T3" fmla="*/ 261 h 279"/>
                  <a:gd name="T4" fmla="*/ 0 w 182"/>
                  <a:gd name="T5" fmla="*/ 17 h 279"/>
                  <a:gd name="T6" fmla="*/ 18 w 182"/>
                  <a:gd name="T7" fmla="*/ 0 h 279"/>
                  <a:gd name="T8" fmla="*/ 164 w 182"/>
                  <a:gd name="T9" fmla="*/ 0 h 279"/>
                  <a:gd name="T10" fmla="*/ 182 w 182"/>
                  <a:gd name="T11" fmla="*/ 17 h 279"/>
                  <a:gd name="T12" fmla="*/ 182 w 182"/>
                  <a:gd name="T13" fmla="*/ 261 h 279"/>
                  <a:gd name="T14" fmla="*/ 164 w 182"/>
                  <a:gd name="T15" fmla="*/ 279 h 279"/>
                  <a:gd name="T16" fmla="*/ 18 w 182"/>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9">
                    <a:moveTo>
                      <a:pt x="18" y="279"/>
                    </a:moveTo>
                    <a:lnTo>
                      <a:pt x="0" y="261"/>
                    </a:lnTo>
                    <a:lnTo>
                      <a:pt x="0" y="17"/>
                    </a:lnTo>
                    <a:lnTo>
                      <a:pt x="18" y="0"/>
                    </a:lnTo>
                    <a:lnTo>
                      <a:pt x="164" y="0"/>
                    </a:lnTo>
                    <a:lnTo>
                      <a:pt x="182" y="17"/>
                    </a:lnTo>
                    <a:lnTo>
                      <a:pt x="182" y="261"/>
                    </a:lnTo>
                    <a:lnTo>
                      <a:pt x="164" y="279"/>
                    </a:lnTo>
                    <a:lnTo>
                      <a:pt x="18" y="2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4" name="Freeform 151"/>
              <p:cNvSpPr>
                <a:spLocks noEditPoints="1"/>
              </p:cNvSpPr>
              <p:nvPr/>
            </p:nvSpPr>
            <p:spPr bwMode="auto">
              <a:xfrm>
                <a:off x="5657851" y="4132263"/>
                <a:ext cx="292100" cy="449263"/>
              </a:xfrm>
              <a:custGeom>
                <a:avLst/>
                <a:gdLst>
                  <a:gd name="T0" fmla="*/ 165 w 184"/>
                  <a:gd name="T1" fmla="*/ 3 h 283"/>
                  <a:gd name="T2" fmla="*/ 182 w 184"/>
                  <a:gd name="T3" fmla="*/ 20 h 283"/>
                  <a:gd name="T4" fmla="*/ 182 w 184"/>
                  <a:gd name="T5" fmla="*/ 263 h 283"/>
                  <a:gd name="T6" fmla="*/ 165 w 184"/>
                  <a:gd name="T7" fmla="*/ 280 h 283"/>
                  <a:gd name="T8" fmla="*/ 19 w 184"/>
                  <a:gd name="T9" fmla="*/ 280 h 283"/>
                  <a:gd name="T10" fmla="*/ 2 w 184"/>
                  <a:gd name="T11" fmla="*/ 263 h 283"/>
                  <a:gd name="T12" fmla="*/ 2 w 184"/>
                  <a:gd name="T13" fmla="*/ 20 h 283"/>
                  <a:gd name="T14" fmla="*/ 19 w 184"/>
                  <a:gd name="T15" fmla="*/ 3 h 283"/>
                  <a:gd name="T16" fmla="*/ 165 w 184"/>
                  <a:gd name="T17" fmla="*/ 3 h 283"/>
                  <a:gd name="T18" fmla="*/ 165 w 184"/>
                  <a:gd name="T19" fmla="*/ 0 h 283"/>
                  <a:gd name="T20" fmla="*/ 18 w 184"/>
                  <a:gd name="T21" fmla="*/ 0 h 283"/>
                  <a:gd name="T22" fmla="*/ 0 w 184"/>
                  <a:gd name="T23" fmla="*/ 19 h 283"/>
                  <a:gd name="T24" fmla="*/ 0 w 184"/>
                  <a:gd name="T25" fmla="*/ 264 h 283"/>
                  <a:gd name="T26" fmla="*/ 18 w 184"/>
                  <a:gd name="T27" fmla="*/ 283 h 283"/>
                  <a:gd name="T28" fmla="*/ 165 w 184"/>
                  <a:gd name="T29" fmla="*/ 283 h 283"/>
                  <a:gd name="T30" fmla="*/ 184 w 184"/>
                  <a:gd name="T31" fmla="*/ 264 h 283"/>
                  <a:gd name="T32" fmla="*/ 184 w 184"/>
                  <a:gd name="T33" fmla="*/ 19 h 283"/>
                  <a:gd name="T34" fmla="*/ 165 w 184"/>
                  <a:gd name="T35" fmla="*/ 0 h 283"/>
                  <a:gd name="T36" fmla="*/ 165 w 184"/>
                  <a:gd name="T3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283">
                    <a:moveTo>
                      <a:pt x="165" y="3"/>
                    </a:moveTo>
                    <a:lnTo>
                      <a:pt x="182" y="20"/>
                    </a:lnTo>
                    <a:lnTo>
                      <a:pt x="182" y="263"/>
                    </a:lnTo>
                    <a:lnTo>
                      <a:pt x="165" y="280"/>
                    </a:lnTo>
                    <a:lnTo>
                      <a:pt x="19" y="280"/>
                    </a:lnTo>
                    <a:lnTo>
                      <a:pt x="2" y="263"/>
                    </a:lnTo>
                    <a:lnTo>
                      <a:pt x="2" y="20"/>
                    </a:lnTo>
                    <a:lnTo>
                      <a:pt x="19" y="3"/>
                    </a:lnTo>
                    <a:lnTo>
                      <a:pt x="165" y="3"/>
                    </a:lnTo>
                    <a:moveTo>
                      <a:pt x="165" y="0"/>
                    </a:moveTo>
                    <a:lnTo>
                      <a:pt x="18" y="0"/>
                    </a:lnTo>
                    <a:lnTo>
                      <a:pt x="0" y="19"/>
                    </a:lnTo>
                    <a:lnTo>
                      <a:pt x="0" y="264"/>
                    </a:lnTo>
                    <a:lnTo>
                      <a:pt x="18" y="283"/>
                    </a:lnTo>
                    <a:lnTo>
                      <a:pt x="165" y="283"/>
                    </a:lnTo>
                    <a:lnTo>
                      <a:pt x="184" y="264"/>
                    </a:lnTo>
                    <a:lnTo>
                      <a:pt x="184" y="19"/>
                    </a:lnTo>
                    <a:lnTo>
                      <a:pt x="165"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5" name="Freeform 152"/>
              <p:cNvSpPr>
                <a:spLocks/>
              </p:cNvSpPr>
              <p:nvPr/>
            </p:nvSpPr>
            <p:spPr bwMode="auto">
              <a:xfrm>
                <a:off x="5657851" y="4073525"/>
                <a:ext cx="292100" cy="565150"/>
              </a:xfrm>
              <a:custGeom>
                <a:avLst/>
                <a:gdLst>
                  <a:gd name="T0" fmla="*/ 165 w 184"/>
                  <a:gd name="T1" fmla="*/ 37 h 356"/>
                  <a:gd name="T2" fmla="*/ 130 w 184"/>
                  <a:gd name="T3" fmla="*/ 37 h 356"/>
                  <a:gd name="T4" fmla="*/ 130 w 184"/>
                  <a:gd name="T5" fmla="*/ 14 h 356"/>
                  <a:gd name="T6" fmla="*/ 130 w 184"/>
                  <a:gd name="T7" fmla="*/ 10 h 356"/>
                  <a:gd name="T8" fmla="*/ 123 w 184"/>
                  <a:gd name="T9" fmla="*/ 0 h 356"/>
                  <a:gd name="T10" fmla="*/ 118 w 184"/>
                  <a:gd name="T11" fmla="*/ 0 h 356"/>
                  <a:gd name="T12" fmla="*/ 61 w 184"/>
                  <a:gd name="T13" fmla="*/ 0 h 356"/>
                  <a:gd name="T14" fmla="*/ 53 w 184"/>
                  <a:gd name="T15" fmla="*/ 10 h 356"/>
                  <a:gd name="T16" fmla="*/ 53 w 184"/>
                  <a:gd name="T17" fmla="*/ 37 h 356"/>
                  <a:gd name="T18" fmla="*/ 18 w 184"/>
                  <a:gd name="T19" fmla="*/ 37 h 356"/>
                  <a:gd name="T20" fmla="*/ 0 w 184"/>
                  <a:gd name="T21" fmla="*/ 56 h 356"/>
                  <a:gd name="T22" fmla="*/ 0 w 184"/>
                  <a:gd name="T23" fmla="*/ 301 h 356"/>
                  <a:gd name="T24" fmla="*/ 18 w 184"/>
                  <a:gd name="T25" fmla="*/ 320 h 356"/>
                  <a:gd name="T26" fmla="*/ 53 w 184"/>
                  <a:gd name="T27" fmla="*/ 320 h 356"/>
                  <a:gd name="T28" fmla="*/ 53 w 184"/>
                  <a:gd name="T29" fmla="*/ 347 h 356"/>
                  <a:gd name="T30" fmla="*/ 61 w 184"/>
                  <a:gd name="T31" fmla="*/ 356 h 356"/>
                  <a:gd name="T32" fmla="*/ 118 w 184"/>
                  <a:gd name="T33" fmla="*/ 356 h 356"/>
                  <a:gd name="T34" fmla="*/ 123 w 184"/>
                  <a:gd name="T35" fmla="*/ 356 h 356"/>
                  <a:gd name="T36" fmla="*/ 130 w 184"/>
                  <a:gd name="T37" fmla="*/ 347 h 356"/>
                  <a:gd name="T38" fmla="*/ 130 w 184"/>
                  <a:gd name="T39" fmla="*/ 343 h 356"/>
                  <a:gd name="T40" fmla="*/ 130 w 184"/>
                  <a:gd name="T41" fmla="*/ 320 h 356"/>
                  <a:gd name="T42" fmla="*/ 165 w 184"/>
                  <a:gd name="T43" fmla="*/ 320 h 356"/>
                  <a:gd name="T44" fmla="*/ 184 w 184"/>
                  <a:gd name="T45" fmla="*/ 301 h 356"/>
                  <a:gd name="T46" fmla="*/ 184 w 184"/>
                  <a:gd name="T47" fmla="*/ 56 h 356"/>
                  <a:gd name="T48" fmla="*/ 165 w 184"/>
                  <a:gd name="T49" fmla="*/ 3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356">
                    <a:moveTo>
                      <a:pt x="165" y="37"/>
                    </a:moveTo>
                    <a:lnTo>
                      <a:pt x="130" y="37"/>
                    </a:lnTo>
                    <a:lnTo>
                      <a:pt x="130" y="14"/>
                    </a:lnTo>
                    <a:lnTo>
                      <a:pt x="130" y="10"/>
                    </a:lnTo>
                    <a:lnTo>
                      <a:pt x="123" y="0"/>
                    </a:lnTo>
                    <a:lnTo>
                      <a:pt x="118" y="0"/>
                    </a:lnTo>
                    <a:lnTo>
                      <a:pt x="61" y="0"/>
                    </a:lnTo>
                    <a:lnTo>
                      <a:pt x="53" y="10"/>
                    </a:lnTo>
                    <a:lnTo>
                      <a:pt x="53" y="37"/>
                    </a:lnTo>
                    <a:lnTo>
                      <a:pt x="18" y="37"/>
                    </a:lnTo>
                    <a:lnTo>
                      <a:pt x="0" y="56"/>
                    </a:lnTo>
                    <a:lnTo>
                      <a:pt x="0" y="301"/>
                    </a:lnTo>
                    <a:lnTo>
                      <a:pt x="18" y="320"/>
                    </a:lnTo>
                    <a:lnTo>
                      <a:pt x="53" y="320"/>
                    </a:lnTo>
                    <a:lnTo>
                      <a:pt x="53" y="347"/>
                    </a:lnTo>
                    <a:lnTo>
                      <a:pt x="61" y="356"/>
                    </a:lnTo>
                    <a:lnTo>
                      <a:pt x="118" y="356"/>
                    </a:lnTo>
                    <a:lnTo>
                      <a:pt x="123" y="356"/>
                    </a:lnTo>
                    <a:lnTo>
                      <a:pt x="130" y="347"/>
                    </a:lnTo>
                    <a:lnTo>
                      <a:pt x="130" y="343"/>
                    </a:lnTo>
                    <a:lnTo>
                      <a:pt x="130" y="320"/>
                    </a:lnTo>
                    <a:lnTo>
                      <a:pt x="165" y="320"/>
                    </a:lnTo>
                    <a:lnTo>
                      <a:pt x="184" y="301"/>
                    </a:lnTo>
                    <a:lnTo>
                      <a:pt x="184" y="56"/>
                    </a:lnTo>
                    <a:lnTo>
                      <a:pt x="165" y="37"/>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6" name="Line 144"/>
              <p:cNvSpPr>
                <a:spLocks noChangeShapeType="1"/>
              </p:cNvSpPr>
              <p:nvPr/>
            </p:nvSpPr>
            <p:spPr bwMode="auto">
              <a:xfrm>
                <a:off x="5740400" y="4135438"/>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7" name="Line 141"/>
              <p:cNvSpPr>
                <a:spLocks noChangeShapeType="1"/>
              </p:cNvSpPr>
              <p:nvPr/>
            </p:nvSpPr>
            <p:spPr bwMode="auto">
              <a:xfrm flipH="1">
                <a:off x="5739607" y="4578351"/>
                <a:ext cx="1222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072394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0" name="Title 1159"/>
          <p:cNvSpPr>
            <a:spLocks noGrp="1"/>
          </p:cNvSpPr>
          <p:nvPr>
            <p:ph type="title"/>
          </p:nvPr>
        </p:nvSpPr>
        <p:spPr/>
        <p:txBody>
          <a:bodyPr/>
          <a:lstStyle/>
          <a:p>
            <a:r>
              <a:rPr lang="de-DE" dirty="0" smtClean="0"/>
              <a:t>Icons / Graphics</a:t>
            </a:r>
            <a:br>
              <a:rPr lang="de-DE" dirty="0" smtClean="0"/>
            </a:br>
            <a:r>
              <a:rPr lang="en-US" dirty="0" err="1" smtClean="0">
                <a:solidFill>
                  <a:schemeClr val="accent1"/>
                </a:solidFill>
              </a:rPr>
              <a:t>Industrie</a:t>
            </a:r>
            <a:r>
              <a:rPr lang="en-US" dirty="0" smtClean="0">
                <a:solidFill>
                  <a:schemeClr val="accent1"/>
                </a:solidFill>
              </a:rPr>
              <a:t> 4.0</a:t>
            </a:r>
            <a:endParaRPr lang="de-DE" dirty="0">
              <a:solidFill>
                <a:schemeClr val="accent1"/>
              </a:solidFill>
            </a:endParaRPr>
          </a:p>
        </p:txBody>
      </p:sp>
      <p:sp>
        <p:nvSpPr>
          <p:cNvPr id="3" name="Date Placeholder 2"/>
          <p:cNvSpPr>
            <a:spLocks noGrp="1"/>
          </p:cNvSpPr>
          <p:nvPr>
            <p:ph type="dt" sz="half" idx="14"/>
          </p:nvPr>
        </p:nvSpPr>
        <p:spPr/>
        <p:txBody>
          <a:bodyPr/>
          <a:lstStyle/>
          <a:p>
            <a:r>
              <a:rPr lang="de-DE" smtClean="0"/>
              <a:t>Month DD, YYYY</a:t>
            </a:r>
            <a:endParaRPr lang="en-US" dirty="0"/>
          </a:p>
        </p:txBody>
      </p:sp>
      <p:graphicFrame>
        <p:nvGraphicFramePr>
          <p:cNvPr id="183"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AutoShape 1191"/>
          <p:cNvSpPr>
            <a:spLocks noChangeAspect="1" noChangeArrowheads="1" noTextEdit="1"/>
          </p:cNvSpPr>
          <p:nvPr/>
        </p:nvSpPr>
        <p:spPr bwMode="auto">
          <a:xfrm>
            <a:off x="4742994" y="3968750"/>
            <a:ext cx="11715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1161" name="Gruppieren 1160"/>
          <p:cNvGrpSpPr/>
          <p:nvPr/>
        </p:nvGrpSpPr>
        <p:grpSpPr>
          <a:xfrm>
            <a:off x="1479550" y="3973513"/>
            <a:ext cx="606425" cy="812800"/>
            <a:chOff x="1954213" y="3968750"/>
            <a:chExt cx="606425" cy="812800"/>
          </a:xfrm>
        </p:grpSpPr>
        <p:sp>
          <p:nvSpPr>
            <p:cNvPr id="9"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0" name="Gruppieren 99"/>
          <p:cNvGrpSpPr/>
          <p:nvPr/>
        </p:nvGrpSpPr>
        <p:grpSpPr>
          <a:xfrm>
            <a:off x="2268539" y="3971131"/>
            <a:ext cx="600075" cy="808037"/>
            <a:chOff x="2268539" y="3971131"/>
            <a:chExt cx="600075" cy="808037"/>
          </a:xfrm>
        </p:grpSpPr>
        <p:sp>
          <p:nvSpPr>
            <p:cNvPr id="1157" name="Rectangle 18"/>
            <p:cNvSpPr>
              <a:spLocks noChangeArrowheads="1"/>
            </p:cNvSpPr>
            <p:nvPr/>
          </p:nvSpPr>
          <p:spPr bwMode="auto">
            <a:xfrm>
              <a:off x="2268539" y="4307681"/>
              <a:ext cx="600075" cy="471487"/>
            </a:xfrm>
            <a:prstGeom prst="rect">
              <a:avLst/>
            </a:prstGeom>
            <a:solidFill>
              <a:srgbClr val="FFFFFF"/>
            </a:solidFill>
            <a:ln w="1270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58" name="Freeform 19"/>
            <p:cNvSpPr>
              <a:spLocks/>
            </p:cNvSpPr>
            <p:nvPr/>
          </p:nvSpPr>
          <p:spPr bwMode="auto">
            <a:xfrm>
              <a:off x="2498726" y="4426744"/>
              <a:ext cx="141288" cy="233362"/>
            </a:xfrm>
            <a:custGeom>
              <a:avLst/>
              <a:gdLst>
                <a:gd name="T0" fmla="*/ 129 w 177"/>
                <a:gd name="T1" fmla="*/ 166 h 295"/>
                <a:gd name="T2" fmla="*/ 129 w 177"/>
                <a:gd name="T3" fmla="*/ 295 h 295"/>
                <a:gd name="T4" fmla="*/ 49 w 177"/>
                <a:gd name="T5" fmla="*/ 295 h 295"/>
                <a:gd name="T6" fmla="*/ 49 w 177"/>
                <a:gd name="T7" fmla="*/ 166 h 295"/>
                <a:gd name="T8" fmla="*/ 49 w 177"/>
                <a:gd name="T9" fmla="*/ 166 h 295"/>
                <a:gd name="T10" fmla="*/ 39 w 177"/>
                <a:gd name="T11" fmla="*/ 160 h 295"/>
                <a:gd name="T12" fmla="*/ 29 w 177"/>
                <a:gd name="T13" fmla="*/ 152 h 295"/>
                <a:gd name="T14" fmla="*/ 20 w 177"/>
                <a:gd name="T15" fmla="*/ 144 h 295"/>
                <a:gd name="T16" fmla="*/ 13 w 177"/>
                <a:gd name="T17" fmla="*/ 134 h 295"/>
                <a:gd name="T18" fmla="*/ 7 w 177"/>
                <a:gd name="T19" fmla="*/ 123 h 295"/>
                <a:gd name="T20" fmla="*/ 3 w 177"/>
                <a:gd name="T21" fmla="*/ 111 h 295"/>
                <a:gd name="T22" fmla="*/ 0 w 177"/>
                <a:gd name="T23" fmla="*/ 100 h 295"/>
                <a:gd name="T24" fmla="*/ 0 w 177"/>
                <a:gd name="T25" fmla="*/ 87 h 295"/>
                <a:gd name="T26" fmla="*/ 0 w 177"/>
                <a:gd name="T27" fmla="*/ 87 h 295"/>
                <a:gd name="T28" fmla="*/ 2 w 177"/>
                <a:gd name="T29" fmla="*/ 70 h 295"/>
                <a:gd name="T30" fmla="*/ 7 w 177"/>
                <a:gd name="T31" fmla="*/ 53 h 295"/>
                <a:gd name="T32" fmla="*/ 15 w 177"/>
                <a:gd name="T33" fmla="*/ 39 h 295"/>
                <a:gd name="T34" fmla="*/ 26 w 177"/>
                <a:gd name="T35" fmla="*/ 26 h 295"/>
                <a:gd name="T36" fmla="*/ 39 w 177"/>
                <a:gd name="T37" fmla="*/ 15 h 295"/>
                <a:gd name="T38" fmla="*/ 53 w 177"/>
                <a:gd name="T39" fmla="*/ 7 h 295"/>
                <a:gd name="T40" fmla="*/ 71 w 177"/>
                <a:gd name="T41" fmla="*/ 2 h 295"/>
                <a:gd name="T42" fmla="*/ 89 w 177"/>
                <a:gd name="T43" fmla="*/ 0 h 295"/>
                <a:gd name="T44" fmla="*/ 89 w 177"/>
                <a:gd name="T45" fmla="*/ 0 h 295"/>
                <a:gd name="T46" fmla="*/ 107 w 177"/>
                <a:gd name="T47" fmla="*/ 2 h 295"/>
                <a:gd name="T48" fmla="*/ 123 w 177"/>
                <a:gd name="T49" fmla="*/ 7 h 295"/>
                <a:gd name="T50" fmla="*/ 139 w 177"/>
                <a:gd name="T51" fmla="*/ 15 h 295"/>
                <a:gd name="T52" fmla="*/ 152 w 177"/>
                <a:gd name="T53" fmla="*/ 26 h 295"/>
                <a:gd name="T54" fmla="*/ 163 w 177"/>
                <a:gd name="T55" fmla="*/ 39 h 295"/>
                <a:gd name="T56" fmla="*/ 171 w 177"/>
                <a:gd name="T57" fmla="*/ 53 h 295"/>
                <a:gd name="T58" fmla="*/ 176 w 177"/>
                <a:gd name="T59" fmla="*/ 70 h 295"/>
                <a:gd name="T60" fmla="*/ 177 w 177"/>
                <a:gd name="T61" fmla="*/ 87 h 295"/>
                <a:gd name="T62" fmla="*/ 177 w 177"/>
                <a:gd name="T63" fmla="*/ 87 h 295"/>
                <a:gd name="T64" fmla="*/ 177 w 177"/>
                <a:gd name="T65" fmla="*/ 100 h 295"/>
                <a:gd name="T66" fmla="*/ 174 w 177"/>
                <a:gd name="T67" fmla="*/ 111 h 295"/>
                <a:gd name="T68" fmla="*/ 169 w 177"/>
                <a:gd name="T69" fmla="*/ 123 h 295"/>
                <a:gd name="T70" fmla="*/ 164 w 177"/>
                <a:gd name="T71" fmla="*/ 134 h 295"/>
                <a:gd name="T72" fmla="*/ 156 w 177"/>
                <a:gd name="T73" fmla="*/ 144 h 295"/>
                <a:gd name="T74" fmla="*/ 148 w 177"/>
                <a:gd name="T75" fmla="*/ 152 h 295"/>
                <a:gd name="T76" fmla="*/ 139 w 177"/>
                <a:gd name="T77" fmla="*/ 160 h 295"/>
                <a:gd name="T78" fmla="*/ 129 w 177"/>
                <a:gd name="T79" fmla="*/ 166 h 295"/>
                <a:gd name="T80" fmla="*/ 129 w 177"/>
                <a:gd name="T81" fmla="*/ 16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295">
                  <a:moveTo>
                    <a:pt x="129" y="166"/>
                  </a:moveTo>
                  <a:lnTo>
                    <a:pt x="129" y="295"/>
                  </a:lnTo>
                  <a:lnTo>
                    <a:pt x="49" y="295"/>
                  </a:lnTo>
                  <a:lnTo>
                    <a:pt x="49" y="166"/>
                  </a:lnTo>
                  <a:lnTo>
                    <a:pt x="49" y="166"/>
                  </a:lnTo>
                  <a:lnTo>
                    <a:pt x="39" y="160"/>
                  </a:lnTo>
                  <a:lnTo>
                    <a:pt x="29" y="152"/>
                  </a:lnTo>
                  <a:lnTo>
                    <a:pt x="20" y="144"/>
                  </a:lnTo>
                  <a:lnTo>
                    <a:pt x="13" y="134"/>
                  </a:lnTo>
                  <a:lnTo>
                    <a:pt x="7" y="123"/>
                  </a:lnTo>
                  <a:lnTo>
                    <a:pt x="3" y="111"/>
                  </a:lnTo>
                  <a:lnTo>
                    <a:pt x="0" y="100"/>
                  </a:lnTo>
                  <a:lnTo>
                    <a:pt x="0" y="87"/>
                  </a:lnTo>
                  <a:lnTo>
                    <a:pt x="0" y="87"/>
                  </a:lnTo>
                  <a:lnTo>
                    <a:pt x="2" y="70"/>
                  </a:lnTo>
                  <a:lnTo>
                    <a:pt x="7" y="53"/>
                  </a:lnTo>
                  <a:lnTo>
                    <a:pt x="15" y="39"/>
                  </a:lnTo>
                  <a:lnTo>
                    <a:pt x="26" y="26"/>
                  </a:lnTo>
                  <a:lnTo>
                    <a:pt x="39" y="15"/>
                  </a:lnTo>
                  <a:lnTo>
                    <a:pt x="53" y="7"/>
                  </a:lnTo>
                  <a:lnTo>
                    <a:pt x="71" y="2"/>
                  </a:lnTo>
                  <a:lnTo>
                    <a:pt x="89" y="0"/>
                  </a:lnTo>
                  <a:lnTo>
                    <a:pt x="89" y="0"/>
                  </a:lnTo>
                  <a:lnTo>
                    <a:pt x="107" y="2"/>
                  </a:lnTo>
                  <a:lnTo>
                    <a:pt x="123" y="7"/>
                  </a:lnTo>
                  <a:lnTo>
                    <a:pt x="139" y="15"/>
                  </a:lnTo>
                  <a:lnTo>
                    <a:pt x="152" y="26"/>
                  </a:lnTo>
                  <a:lnTo>
                    <a:pt x="163" y="39"/>
                  </a:lnTo>
                  <a:lnTo>
                    <a:pt x="171" y="53"/>
                  </a:lnTo>
                  <a:lnTo>
                    <a:pt x="176" y="70"/>
                  </a:lnTo>
                  <a:lnTo>
                    <a:pt x="177" y="87"/>
                  </a:lnTo>
                  <a:lnTo>
                    <a:pt x="177" y="87"/>
                  </a:lnTo>
                  <a:lnTo>
                    <a:pt x="177" y="100"/>
                  </a:lnTo>
                  <a:lnTo>
                    <a:pt x="174" y="111"/>
                  </a:lnTo>
                  <a:lnTo>
                    <a:pt x="169" y="123"/>
                  </a:lnTo>
                  <a:lnTo>
                    <a:pt x="164" y="134"/>
                  </a:lnTo>
                  <a:lnTo>
                    <a:pt x="156" y="144"/>
                  </a:lnTo>
                  <a:lnTo>
                    <a:pt x="148" y="152"/>
                  </a:lnTo>
                  <a:lnTo>
                    <a:pt x="139" y="160"/>
                  </a:lnTo>
                  <a:lnTo>
                    <a:pt x="129" y="166"/>
                  </a:lnTo>
                  <a:lnTo>
                    <a:pt x="129" y="166"/>
                  </a:lnTo>
                  <a:close/>
                </a:path>
              </a:pathLst>
            </a:custGeom>
            <a:solidFill>
              <a:srgbClr val="FFFFFF"/>
            </a:solidFill>
            <a:ln w="63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9" name="Freeform 20"/>
            <p:cNvSpPr>
              <a:spLocks/>
            </p:cNvSpPr>
            <p:nvPr/>
          </p:nvSpPr>
          <p:spPr bwMode="auto">
            <a:xfrm>
              <a:off x="2343151" y="3971131"/>
              <a:ext cx="452438" cy="279400"/>
            </a:xfrm>
            <a:custGeom>
              <a:avLst/>
              <a:gdLst>
                <a:gd name="T0" fmla="*/ 467 w 570"/>
                <a:gd name="T1" fmla="*/ 284 h 353"/>
                <a:gd name="T2" fmla="*/ 465 w 570"/>
                <a:gd name="T3" fmla="*/ 266 h 353"/>
                <a:gd name="T4" fmla="*/ 457 w 570"/>
                <a:gd name="T5" fmla="*/ 232 h 353"/>
                <a:gd name="T6" fmla="*/ 444 w 570"/>
                <a:gd name="T7" fmla="*/ 200 h 353"/>
                <a:gd name="T8" fmla="*/ 423 w 570"/>
                <a:gd name="T9" fmla="*/ 173 h 353"/>
                <a:gd name="T10" fmla="*/ 399 w 570"/>
                <a:gd name="T11" fmla="*/ 149 h 353"/>
                <a:gd name="T12" fmla="*/ 370 w 570"/>
                <a:gd name="T13" fmla="*/ 131 h 353"/>
                <a:gd name="T14" fmla="*/ 338 w 570"/>
                <a:gd name="T15" fmla="*/ 116 h 353"/>
                <a:gd name="T16" fmla="*/ 303 w 570"/>
                <a:gd name="T17" fmla="*/ 110 h 353"/>
                <a:gd name="T18" fmla="*/ 285 w 570"/>
                <a:gd name="T19" fmla="*/ 110 h 353"/>
                <a:gd name="T20" fmla="*/ 249 w 570"/>
                <a:gd name="T21" fmla="*/ 113 h 353"/>
                <a:gd name="T22" fmla="*/ 216 w 570"/>
                <a:gd name="T23" fmla="*/ 123 h 353"/>
                <a:gd name="T24" fmla="*/ 183 w 570"/>
                <a:gd name="T25" fmla="*/ 139 h 353"/>
                <a:gd name="T26" fmla="*/ 158 w 570"/>
                <a:gd name="T27" fmla="*/ 160 h 353"/>
                <a:gd name="T28" fmla="*/ 135 w 570"/>
                <a:gd name="T29" fmla="*/ 186 h 353"/>
                <a:gd name="T30" fmla="*/ 117 w 570"/>
                <a:gd name="T31" fmla="*/ 216 h 353"/>
                <a:gd name="T32" fmla="*/ 106 w 570"/>
                <a:gd name="T33" fmla="*/ 248 h 353"/>
                <a:gd name="T34" fmla="*/ 103 w 570"/>
                <a:gd name="T35" fmla="*/ 284 h 353"/>
                <a:gd name="T36" fmla="*/ 0 w 570"/>
                <a:gd name="T37" fmla="*/ 353 h 353"/>
                <a:gd name="T38" fmla="*/ 0 w 570"/>
                <a:gd name="T39" fmla="*/ 284 h 353"/>
                <a:gd name="T40" fmla="*/ 5 w 570"/>
                <a:gd name="T41" fmla="*/ 226 h 353"/>
                <a:gd name="T42" fmla="*/ 21 w 570"/>
                <a:gd name="T43" fmla="*/ 173 h 353"/>
                <a:gd name="T44" fmla="*/ 48 w 570"/>
                <a:gd name="T45" fmla="*/ 126 h 353"/>
                <a:gd name="T46" fmla="*/ 82 w 570"/>
                <a:gd name="T47" fmla="*/ 84 h 353"/>
                <a:gd name="T48" fmla="*/ 125 w 570"/>
                <a:gd name="T49" fmla="*/ 49 h 353"/>
                <a:gd name="T50" fmla="*/ 174 w 570"/>
                <a:gd name="T51" fmla="*/ 23 h 353"/>
                <a:gd name="T52" fmla="*/ 227 w 570"/>
                <a:gd name="T53" fmla="*/ 7 h 353"/>
                <a:gd name="T54" fmla="*/ 285 w 570"/>
                <a:gd name="T55" fmla="*/ 0 h 353"/>
                <a:gd name="T56" fmla="*/ 314 w 570"/>
                <a:gd name="T57" fmla="*/ 2 h 353"/>
                <a:gd name="T58" fmla="*/ 370 w 570"/>
                <a:gd name="T59" fmla="*/ 13 h 353"/>
                <a:gd name="T60" fmla="*/ 420 w 570"/>
                <a:gd name="T61" fmla="*/ 34 h 353"/>
                <a:gd name="T62" fmla="*/ 467 w 570"/>
                <a:gd name="T63" fmla="*/ 65 h 353"/>
                <a:gd name="T64" fmla="*/ 505 w 570"/>
                <a:gd name="T65" fmla="*/ 103 h 353"/>
                <a:gd name="T66" fmla="*/ 536 w 570"/>
                <a:gd name="T67" fmla="*/ 149 h 353"/>
                <a:gd name="T68" fmla="*/ 557 w 570"/>
                <a:gd name="T69" fmla="*/ 198 h 353"/>
                <a:gd name="T70" fmla="*/ 568 w 570"/>
                <a:gd name="T71" fmla="*/ 255 h 353"/>
                <a:gd name="T72" fmla="*/ 570 w 570"/>
                <a:gd name="T73"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353">
                  <a:moveTo>
                    <a:pt x="467" y="353"/>
                  </a:moveTo>
                  <a:lnTo>
                    <a:pt x="467" y="284"/>
                  </a:lnTo>
                  <a:lnTo>
                    <a:pt x="467" y="284"/>
                  </a:lnTo>
                  <a:lnTo>
                    <a:pt x="465" y="266"/>
                  </a:lnTo>
                  <a:lnTo>
                    <a:pt x="462" y="248"/>
                  </a:lnTo>
                  <a:lnTo>
                    <a:pt x="457" y="232"/>
                  </a:lnTo>
                  <a:lnTo>
                    <a:pt x="452" y="216"/>
                  </a:lnTo>
                  <a:lnTo>
                    <a:pt x="444" y="200"/>
                  </a:lnTo>
                  <a:lnTo>
                    <a:pt x="435" y="186"/>
                  </a:lnTo>
                  <a:lnTo>
                    <a:pt x="423" y="173"/>
                  </a:lnTo>
                  <a:lnTo>
                    <a:pt x="412" y="160"/>
                  </a:lnTo>
                  <a:lnTo>
                    <a:pt x="399" y="149"/>
                  </a:lnTo>
                  <a:lnTo>
                    <a:pt x="385" y="139"/>
                  </a:lnTo>
                  <a:lnTo>
                    <a:pt x="370" y="131"/>
                  </a:lnTo>
                  <a:lnTo>
                    <a:pt x="354" y="123"/>
                  </a:lnTo>
                  <a:lnTo>
                    <a:pt x="338" y="116"/>
                  </a:lnTo>
                  <a:lnTo>
                    <a:pt x="320" y="113"/>
                  </a:lnTo>
                  <a:lnTo>
                    <a:pt x="303" y="110"/>
                  </a:lnTo>
                  <a:lnTo>
                    <a:pt x="285" y="110"/>
                  </a:lnTo>
                  <a:lnTo>
                    <a:pt x="285" y="110"/>
                  </a:lnTo>
                  <a:lnTo>
                    <a:pt x="267" y="110"/>
                  </a:lnTo>
                  <a:lnTo>
                    <a:pt x="249" y="113"/>
                  </a:lnTo>
                  <a:lnTo>
                    <a:pt x="232" y="116"/>
                  </a:lnTo>
                  <a:lnTo>
                    <a:pt x="216" y="123"/>
                  </a:lnTo>
                  <a:lnTo>
                    <a:pt x="199" y="131"/>
                  </a:lnTo>
                  <a:lnTo>
                    <a:pt x="183" y="139"/>
                  </a:lnTo>
                  <a:lnTo>
                    <a:pt x="170" y="149"/>
                  </a:lnTo>
                  <a:lnTo>
                    <a:pt x="158" y="160"/>
                  </a:lnTo>
                  <a:lnTo>
                    <a:pt x="145" y="173"/>
                  </a:lnTo>
                  <a:lnTo>
                    <a:pt x="135" y="186"/>
                  </a:lnTo>
                  <a:lnTo>
                    <a:pt x="125" y="200"/>
                  </a:lnTo>
                  <a:lnTo>
                    <a:pt x="117" y="216"/>
                  </a:lnTo>
                  <a:lnTo>
                    <a:pt x="111" y="232"/>
                  </a:lnTo>
                  <a:lnTo>
                    <a:pt x="106" y="248"/>
                  </a:lnTo>
                  <a:lnTo>
                    <a:pt x="104" y="266"/>
                  </a:lnTo>
                  <a:lnTo>
                    <a:pt x="103" y="284"/>
                  </a:lnTo>
                  <a:lnTo>
                    <a:pt x="103" y="353"/>
                  </a:lnTo>
                  <a:lnTo>
                    <a:pt x="0" y="353"/>
                  </a:lnTo>
                  <a:lnTo>
                    <a:pt x="0" y="284"/>
                  </a:lnTo>
                  <a:lnTo>
                    <a:pt x="0" y="284"/>
                  </a:lnTo>
                  <a:lnTo>
                    <a:pt x="0" y="255"/>
                  </a:lnTo>
                  <a:lnTo>
                    <a:pt x="5" y="226"/>
                  </a:lnTo>
                  <a:lnTo>
                    <a:pt x="11" y="198"/>
                  </a:lnTo>
                  <a:lnTo>
                    <a:pt x="21" y="173"/>
                  </a:lnTo>
                  <a:lnTo>
                    <a:pt x="34" y="149"/>
                  </a:lnTo>
                  <a:lnTo>
                    <a:pt x="48" y="126"/>
                  </a:lnTo>
                  <a:lnTo>
                    <a:pt x="64" y="103"/>
                  </a:lnTo>
                  <a:lnTo>
                    <a:pt x="82" y="84"/>
                  </a:lnTo>
                  <a:lnTo>
                    <a:pt x="103" y="65"/>
                  </a:lnTo>
                  <a:lnTo>
                    <a:pt x="125" y="49"/>
                  </a:lnTo>
                  <a:lnTo>
                    <a:pt x="148" y="34"/>
                  </a:lnTo>
                  <a:lnTo>
                    <a:pt x="174" y="23"/>
                  </a:lnTo>
                  <a:lnTo>
                    <a:pt x="199" y="13"/>
                  </a:lnTo>
                  <a:lnTo>
                    <a:pt x="227" y="7"/>
                  </a:lnTo>
                  <a:lnTo>
                    <a:pt x="256" y="2"/>
                  </a:lnTo>
                  <a:lnTo>
                    <a:pt x="285" y="0"/>
                  </a:lnTo>
                  <a:lnTo>
                    <a:pt x="285" y="0"/>
                  </a:lnTo>
                  <a:lnTo>
                    <a:pt x="314" y="2"/>
                  </a:lnTo>
                  <a:lnTo>
                    <a:pt x="343" y="7"/>
                  </a:lnTo>
                  <a:lnTo>
                    <a:pt x="370" y="13"/>
                  </a:lnTo>
                  <a:lnTo>
                    <a:pt x="396" y="23"/>
                  </a:lnTo>
                  <a:lnTo>
                    <a:pt x="420" y="34"/>
                  </a:lnTo>
                  <a:lnTo>
                    <a:pt x="444" y="49"/>
                  </a:lnTo>
                  <a:lnTo>
                    <a:pt x="467" y="65"/>
                  </a:lnTo>
                  <a:lnTo>
                    <a:pt x="486" y="84"/>
                  </a:lnTo>
                  <a:lnTo>
                    <a:pt x="505" y="103"/>
                  </a:lnTo>
                  <a:lnTo>
                    <a:pt x="521" y="126"/>
                  </a:lnTo>
                  <a:lnTo>
                    <a:pt x="536" y="149"/>
                  </a:lnTo>
                  <a:lnTo>
                    <a:pt x="547" y="173"/>
                  </a:lnTo>
                  <a:lnTo>
                    <a:pt x="557" y="198"/>
                  </a:lnTo>
                  <a:lnTo>
                    <a:pt x="563" y="226"/>
                  </a:lnTo>
                  <a:lnTo>
                    <a:pt x="568" y="255"/>
                  </a:lnTo>
                  <a:lnTo>
                    <a:pt x="570" y="284"/>
                  </a:lnTo>
                  <a:lnTo>
                    <a:pt x="570" y="353"/>
                  </a:lnTo>
                  <a:lnTo>
                    <a:pt x="467" y="353"/>
                  </a:lnTo>
                  <a:close/>
                </a:path>
              </a:pathLst>
            </a:custGeom>
            <a:solidFill>
              <a:srgbClr val="FFFFFF"/>
            </a:solid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62" name="Gruppieren 1161"/>
          <p:cNvGrpSpPr/>
          <p:nvPr/>
        </p:nvGrpSpPr>
        <p:grpSpPr>
          <a:xfrm>
            <a:off x="6043998" y="2202458"/>
            <a:ext cx="1541666" cy="1128629"/>
            <a:chOff x="6120172" y="2312876"/>
            <a:chExt cx="1541666" cy="1128629"/>
          </a:xfrm>
        </p:grpSpPr>
        <p:grpSp>
          <p:nvGrpSpPr>
            <p:cNvPr id="12" name="Gruppieren 11"/>
            <p:cNvGrpSpPr/>
            <p:nvPr/>
          </p:nvGrpSpPr>
          <p:grpSpPr>
            <a:xfrm>
              <a:off x="6120172" y="2312876"/>
              <a:ext cx="1258560" cy="1126668"/>
              <a:chOff x="4991100" y="5410201"/>
              <a:chExt cx="893763" cy="800100"/>
            </a:xfrm>
          </p:grpSpPr>
          <p:sp>
            <p:nvSpPr>
              <p:cNvPr id="21" name="Freeform 1193"/>
              <p:cNvSpPr>
                <a:spLocks/>
              </p:cNvSpPr>
              <p:nvPr/>
            </p:nvSpPr>
            <p:spPr bwMode="auto">
              <a:xfrm>
                <a:off x="5311775" y="6032501"/>
                <a:ext cx="254000" cy="150813"/>
              </a:xfrm>
              <a:custGeom>
                <a:avLst/>
                <a:gdLst>
                  <a:gd name="T0" fmla="*/ 160 w 160"/>
                  <a:gd name="T1" fmla="*/ 95 h 95"/>
                  <a:gd name="T2" fmla="*/ 139 w 160"/>
                  <a:gd name="T3" fmla="*/ 0 h 95"/>
                  <a:gd name="T4" fmla="*/ 20 w 160"/>
                  <a:gd name="T5" fmla="*/ 0 h 95"/>
                  <a:gd name="T6" fmla="*/ 0 w 160"/>
                  <a:gd name="T7" fmla="*/ 95 h 95"/>
                  <a:gd name="T8" fmla="*/ 160 w 160"/>
                  <a:gd name="T9" fmla="*/ 95 h 95"/>
                </a:gdLst>
                <a:ahLst/>
                <a:cxnLst>
                  <a:cxn ang="0">
                    <a:pos x="T0" y="T1"/>
                  </a:cxn>
                  <a:cxn ang="0">
                    <a:pos x="T2" y="T3"/>
                  </a:cxn>
                  <a:cxn ang="0">
                    <a:pos x="T4" y="T5"/>
                  </a:cxn>
                  <a:cxn ang="0">
                    <a:pos x="T6" y="T7"/>
                  </a:cxn>
                  <a:cxn ang="0">
                    <a:pos x="T8" y="T9"/>
                  </a:cxn>
                </a:cxnLst>
                <a:rect l="0" t="0" r="r" b="b"/>
                <a:pathLst>
                  <a:path w="160" h="95">
                    <a:moveTo>
                      <a:pt x="160" y="95"/>
                    </a:moveTo>
                    <a:lnTo>
                      <a:pt x="139" y="0"/>
                    </a:lnTo>
                    <a:lnTo>
                      <a:pt x="20" y="0"/>
                    </a:lnTo>
                    <a:lnTo>
                      <a:pt x="0" y="95"/>
                    </a:lnTo>
                    <a:lnTo>
                      <a:pt x="160" y="95"/>
                    </a:lnTo>
                    <a:close/>
                  </a:path>
                </a:pathLst>
              </a:cu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1194"/>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195"/>
              <p:cNvSpPr>
                <a:spLocks/>
              </p:cNvSpPr>
              <p:nvPr/>
            </p:nvSpPr>
            <p:spPr bwMode="auto">
              <a:xfrm>
                <a:off x="4991100" y="5410201"/>
                <a:ext cx="893763" cy="655638"/>
              </a:xfrm>
              <a:custGeom>
                <a:avLst/>
                <a:gdLst>
                  <a:gd name="T0" fmla="*/ 554 w 563"/>
                  <a:gd name="T1" fmla="*/ 0 h 413"/>
                  <a:gd name="T2" fmla="*/ 10 w 563"/>
                  <a:gd name="T3" fmla="*/ 0 h 413"/>
                  <a:gd name="T4" fmla="*/ 0 w 563"/>
                  <a:gd name="T5" fmla="*/ 9 h 413"/>
                  <a:gd name="T6" fmla="*/ 0 w 563"/>
                  <a:gd name="T7" fmla="*/ 12 h 413"/>
                  <a:gd name="T8" fmla="*/ 0 w 563"/>
                  <a:gd name="T9" fmla="*/ 400 h 413"/>
                  <a:gd name="T10" fmla="*/ 0 w 563"/>
                  <a:gd name="T11" fmla="*/ 404 h 413"/>
                  <a:gd name="T12" fmla="*/ 10 w 563"/>
                  <a:gd name="T13" fmla="*/ 413 h 413"/>
                  <a:gd name="T14" fmla="*/ 554 w 563"/>
                  <a:gd name="T15" fmla="*/ 413 h 413"/>
                  <a:gd name="T16" fmla="*/ 563 w 563"/>
                  <a:gd name="T17" fmla="*/ 404 h 413"/>
                  <a:gd name="T18" fmla="*/ 563 w 563"/>
                  <a:gd name="T19" fmla="*/ 400 h 413"/>
                  <a:gd name="T20" fmla="*/ 563 w 563"/>
                  <a:gd name="T21" fmla="*/ 12 h 413"/>
                  <a:gd name="T22" fmla="*/ 563 w 563"/>
                  <a:gd name="T23" fmla="*/ 9 h 413"/>
                  <a:gd name="T24" fmla="*/ 554 w 563"/>
                  <a:gd name="T2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413">
                    <a:moveTo>
                      <a:pt x="554" y="0"/>
                    </a:moveTo>
                    <a:lnTo>
                      <a:pt x="10" y="0"/>
                    </a:lnTo>
                    <a:lnTo>
                      <a:pt x="0" y="9"/>
                    </a:lnTo>
                    <a:lnTo>
                      <a:pt x="0" y="12"/>
                    </a:lnTo>
                    <a:lnTo>
                      <a:pt x="0" y="400"/>
                    </a:lnTo>
                    <a:lnTo>
                      <a:pt x="0" y="404"/>
                    </a:lnTo>
                    <a:lnTo>
                      <a:pt x="10" y="413"/>
                    </a:lnTo>
                    <a:lnTo>
                      <a:pt x="554" y="413"/>
                    </a:lnTo>
                    <a:lnTo>
                      <a:pt x="563" y="404"/>
                    </a:lnTo>
                    <a:lnTo>
                      <a:pt x="563" y="400"/>
                    </a:lnTo>
                    <a:lnTo>
                      <a:pt x="563" y="12"/>
                    </a:lnTo>
                    <a:lnTo>
                      <a:pt x="563" y="9"/>
                    </a:lnTo>
                    <a:lnTo>
                      <a:pt x="554"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4" name="Rectangle 1196"/>
              <p:cNvSpPr>
                <a:spLocks noChangeArrowheads="1"/>
              </p:cNvSpPr>
              <p:nvPr/>
            </p:nvSpPr>
            <p:spPr bwMode="auto">
              <a:xfrm>
                <a:off x="5043488" y="5461001"/>
                <a:ext cx="790575" cy="514350"/>
              </a:xfrm>
              <a:prstGeom prst="rect">
                <a:avLst/>
              </a:pr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25" name="Rectangle 1197"/>
              <p:cNvSpPr>
                <a:spLocks noChangeArrowheads="1"/>
              </p:cNvSpPr>
              <p:nvPr/>
            </p:nvSpPr>
            <p:spPr bwMode="auto">
              <a:xfrm>
                <a:off x="5275263" y="6183313"/>
                <a:ext cx="327025" cy="26988"/>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26" name="Gruppieren 25"/>
              <p:cNvGrpSpPr/>
              <p:nvPr/>
            </p:nvGrpSpPr>
            <p:grpSpPr>
              <a:xfrm>
                <a:off x="5083175" y="5511801"/>
                <a:ext cx="709613" cy="406400"/>
                <a:chOff x="5083175" y="5511801"/>
                <a:chExt cx="709613" cy="406400"/>
              </a:xfrm>
            </p:grpSpPr>
            <p:sp>
              <p:nvSpPr>
                <p:cNvPr id="27" name="Line 1198"/>
                <p:cNvSpPr>
                  <a:spLocks noChangeShapeType="1"/>
                </p:cNvSpPr>
                <p:nvPr/>
              </p:nvSpPr>
              <p:spPr bwMode="auto">
                <a:xfrm>
                  <a:off x="5688013" y="5738813"/>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Line 1199"/>
                <p:cNvSpPr>
                  <a:spLocks noChangeShapeType="1"/>
                </p:cNvSpPr>
                <p:nvPr/>
              </p:nvSpPr>
              <p:spPr bwMode="auto">
                <a:xfrm>
                  <a:off x="5688013" y="5772151"/>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Line 1200"/>
                <p:cNvSpPr>
                  <a:spLocks noChangeShapeType="1"/>
                </p:cNvSpPr>
                <p:nvPr/>
              </p:nvSpPr>
              <p:spPr bwMode="auto">
                <a:xfrm>
                  <a:off x="5688013" y="5805488"/>
                  <a:ext cx="104775"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Freeform 1201"/>
                <p:cNvSpPr>
                  <a:spLocks/>
                </p:cNvSpPr>
                <p:nvPr/>
              </p:nvSpPr>
              <p:spPr bwMode="auto">
                <a:xfrm>
                  <a:off x="5126038" y="5549901"/>
                  <a:ext cx="317500" cy="177800"/>
                </a:xfrm>
                <a:custGeom>
                  <a:avLst/>
                  <a:gdLst>
                    <a:gd name="T0" fmla="*/ 0 w 200"/>
                    <a:gd name="T1" fmla="*/ 112 h 112"/>
                    <a:gd name="T2" fmla="*/ 200 w 200"/>
                    <a:gd name="T3" fmla="*/ 112 h 112"/>
                    <a:gd name="T4" fmla="*/ 200 w 200"/>
                    <a:gd name="T5" fmla="*/ 0 h 112"/>
                  </a:gdLst>
                  <a:ahLst/>
                  <a:cxnLst>
                    <a:cxn ang="0">
                      <a:pos x="T0" y="T1"/>
                    </a:cxn>
                    <a:cxn ang="0">
                      <a:pos x="T2" y="T3"/>
                    </a:cxn>
                    <a:cxn ang="0">
                      <a:pos x="T4" y="T5"/>
                    </a:cxn>
                  </a:cxnLst>
                  <a:rect l="0" t="0" r="r" b="b"/>
                  <a:pathLst>
                    <a:path w="200" h="112">
                      <a:moveTo>
                        <a:pt x="0" y="112"/>
                      </a:moveTo>
                      <a:lnTo>
                        <a:pt x="200" y="112"/>
                      </a:lnTo>
                      <a:lnTo>
                        <a:pt x="200" y="0"/>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Line 1202"/>
                <p:cNvSpPr>
                  <a:spLocks noChangeShapeType="1"/>
                </p:cNvSpPr>
                <p:nvPr/>
              </p:nvSpPr>
              <p:spPr bwMode="auto">
                <a:xfrm>
                  <a:off x="5311775" y="5551488"/>
                  <a:ext cx="0" cy="350838"/>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 name="Line 1203"/>
                <p:cNvSpPr>
                  <a:spLocks noChangeShapeType="1"/>
                </p:cNvSpPr>
                <p:nvPr/>
              </p:nvSpPr>
              <p:spPr bwMode="auto">
                <a:xfrm>
                  <a:off x="5443538" y="5634038"/>
                  <a:ext cx="1460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Line 1204"/>
                <p:cNvSpPr>
                  <a:spLocks noChangeShapeType="1"/>
                </p:cNvSpPr>
                <p:nvPr/>
              </p:nvSpPr>
              <p:spPr bwMode="auto">
                <a:xfrm>
                  <a:off x="5313363" y="5815013"/>
                  <a:ext cx="133350" cy="0"/>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 name="Oval 1205"/>
                <p:cNvSpPr>
                  <a:spLocks noChangeArrowheads="1"/>
                </p:cNvSpPr>
                <p:nvPr/>
              </p:nvSpPr>
              <p:spPr bwMode="auto">
                <a:xfrm>
                  <a:off x="5570538" y="56165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5" name="Oval 1206"/>
                <p:cNvSpPr>
                  <a:spLocks noChangeArrowheads="1"/>
                </p:cNvSpPr>
                <p:nvPr/>
              </p:nvSpPr>
              <p:spPr bwMode="auto">
                <a:xfrm>
                  <a:off x="5108575"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 name="Oval 1207"/>
                <p:cNvSpPr>
                  <a:spLocks noChangeArrowheads="1"/>
                </p:cNvSpPr>
                <p:nvPr/>
              </p:nvSpPr>
              <p:spPr bwMode="auto">
                <a:xfrm>
                  <a:off x="5294313"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 name="Oval 1208"/>
                <p:cNvSpPr>
                  <a:spLocks noChangeArrowheads="1"/>
                </p:cNvSpPr>
                <p:nvPr/>
              </p:nvSpPr>
              <p:spPr bwMode="auto">
                <a:xfrm>
                  <a:off x="5294313" y="588327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 name="Oval 1209"/>
                <p:cNvSpPr>
                  <a:spLocks noChangeArrowheads="1"/>
                </p:cNvSpPr>
                <p:nvPr/>
              </p:nvSpPr>
              <p:spPr bwMode="auto">
                <a:xfrm>
                  <a:off x="5294313" y="55340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 name="Oval 1210"/>
                <p:cNvSpPr>
                  <a:spLocks noChangeArrowheads="1"/>
                </p:cNvSpPr>
                <p:nvPr/>
              </p:nvSpPr>
              <p:spPr bwMode="auto">
                <a:xfrm>
                  <a:off x="5424488" y="57102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 name="Oval 1211"/>
                <p:cNvSpPr>
                  <a:spLocks noChangeArrowheads="1"/>
                </p:cNvSpPr>
                <p:nvPr/>
              </p:nvSpPr>
              <p:spPr bwMode="auto">
                <a:xfrm>
                  <a:off x="5424488" y="5532438"/>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 name="Oval 1212"/>
                <p:cNvSpPr>
                  <a:spLocks noChangeArrowheads="1"/>
                </p:cNvSpPr>
                <p:nvPr/>
              </p:nvSpPr>
              <p:spPr bwMode="auto">
                <a:xfrm>
                  <a:off x="5424488" y="5800726"/>
                  <a:ext cx="34925" cy="34925"/>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 name="Rectangle 1213"/>
                <p:cNvSpPr>
                  <a:spLocks noChangeArrowheads="1"/>
                </p:cNvSpPr>
                <p:nvPr/>
              </p:nvSpPr>
              <p:spPr bwMode="auto">
                <a:xfrm>
                  <a:off x="5691188"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 name="Rectangle 1214"/>
                <p:cNvSpPr>
                  <a:spLocks noChangeArrowheads="1"/>
                </p:cNvSpPr>
                <p:nvPr/>
              </p:nvSpPr>
              <p:spPr bwMode="auto">
                <a:xfrm>
                  <a:off x="5753100" y="5511801"/>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 name="Rectangle 1215"/>
                <p:cNvSpPr>
                  <a:spLocks noChangeArrowheads="1"/>
                </p:cNvSpPr>
                <p:nvPr/>
              </p:nvSpPr>
              <p:spPr bwMode="auto">
                <a:xfrm>
                  <a:off x="5691188"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 name="Rectangle 1216"/>
                <p:cNvSpPr>
                  <a:spLocks noChangeArrowheads="1"/>
                </p:cNvSpPr>
                <p:nvPr/>
              </p:nvSpPr>
              <p:spPr bwMode="auto">
                <a:xfrm>
                  <a:off x="5753100" y="5573713"/>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 name="Rectangle 1217"/>
                <p:cNvSpPr>
                  <a:spLocks noChangeArrowheads="1"/>
                </p:cNvSpPr>
                <p:nvPr/>
              </p:nvSpPr>
              <p:spPr bwMode="auto">
                <a:xfrm>
                  <a:off x="5691188"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7" name="Rectangle 1218"/>
                <p:cNvSpPr>
                  <a:spLocks noChangeArrowheads="1"/>
                </p:cNvSpPr>
                <p:nvPr/>
              </p:nvSpPr>
              <p:spPr bwMode="auto">
                <a:xfrm>
                  <a:off x="5753100" y="5635626"/>
                  <a:ext cx="381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8" name="Rectangle 1219"/>
                <p:cNvSpPr>
                  <a:spLocks noChangeArrowheads="1"/>
                </p:cNvSpPr>
                <p:nvPr/>
              </p:nvSpPr>
              <p:spPr bwMode="auto">
                <a:xfrm>
                  <a:off x="5083175" y="5511801"/>
                  <a:ext cx="152400" cy="36513"/>
                </a:xfrm>
                <a:prstGeom prst="rect">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60" name="Gruppieren 59"/>
            <p:cNvGrpSpPr/>
            <p:nvPr/>
          </p:nvGrpSpPr>
          <p:grpSpPr>
            <a:xfrm rot="18000000">
              <a:off x="7181169" y="2960836"/>
              <a:ext cx="410773" cy="550565"/>
              <a:chOff x="1954213" y="3968750"/>
              <a:chExt cx="606425" cy="812800"/>
            </a:xfrm>
          </p:grpSpPr>
          <p:sp>
            <p:nvSpPr>
              <p:cNvPr id="61" name="AutoShape 10"/>
              <p:cNvSpPr>
                <a:spLocks noChangeAspect="1" noChangeArrowheads="1" noTextEdit="1"/>
              </p:cNvSpPr>
              <p:nvPr/>
            </p:nvSpPr>
            <p:spPr bwMode="auto">
              <a:xfrm>
                <a:off x="1954213" y="3968750"/>
                <a:ext cx="6064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12"/>
              <p:cNvSpPr>
                <a:spLocks noChangeArrowheads="1"/>
              </p:cNvSpPr>
              <p:nvPr/>
            </p:nvSpPr>
            <p:spPr bwMode="auto">
              <a:xfrm>
                <a:off x="1958976" y="4308475"/>
                <a:ext cx="596900" cy="468313"/>
              </a:xfrm>
              <a:prstGeom prst="rect">
                <a:avLst/>
              </a:prstGeom>
              <a:solidFill>
                <a:srgbClr val="FFFFFF"/>
              </a:solidFill>
              <a:ln w="1270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63" name="Freeform 13"/>
              <p:cNvSpPr>
                <a:spLocks/>
              </p:cNvSpPr>
              <p:nvPr/>
            </p:nvSpPr>
            <p:spPr bwMode="auto">
              <a:xfrm>
                <a:off x="2187576" y="4425950"/>
                <a:ext cx="139700" cy="231775"/>
              </a:xfrm>
              <a:custGeom>
                <a:avLst/>
                <a:gdLst>
                  <a:gd name="T0" fmla="*/ 128 w 176"/>
                  <a:gd name="T1" fmla="*/ 165 h 293"/>
                  <a:gd name="T2" fmla="*/ 128 w 176"/>
                  <a:gd name="T3" fmla="*/ 293 h 293"/>
                  <a:gd name="T4" fmla="*/ 48 w 176"/>
                  <a:gd name="T5" fmla="*/ 293 h 293"/>
                  <a:gd name="T6" fmla="*/ 48 w 176"/>
                  <a:gd name="T7" fmla="*/ 165 h 293"/>
                  <a:gd name="T8" fmla="*/ 48 w 176"/>
                  <a:gd name="T9" fmla="*/ 165 h 293"/>
                  <a:gd name="T10" fmla="*/ 38 w 176"/>
                  <a:gd name="T11" fmla="*/ 158 h 293"/>
                  <a:gd name="T12" fmla="*/ 29 w 176"/>
                  <a:gd name="T13" fmla="*/ 150 h 293"/>
                  <a:gd name="T14" fmla="*/ 19 w 176"/>
                  <a:gd name="T15" fmla="*/ 142 h 293"/>
                  <a:gd name="T16" fmla="*/ 13 w 176"/>
                  <a:gd name="T17" fmla="*/ 133 h 293"/>
                  <a:gd name="T18" fmla="*/ 6 w 176"/>
                  <a:gd name="T19" fmla="*/ 123 h 293"/>
                  <a:gd name="T20" fmla="*/ 3 w 176"/>
                  <a:gd name="T21" fmla="*/ 112 h 293"/>
                  <a:gd name="T22" fmla="*/ 0 w 176"/>
                  <a:gd name="T23" fmla="*/ 99 h 293"/>
                  <a:gd name="T24" fmla="*/ 0 w 176"/>
                  <a:gd name="T25" fmla="*/ 86 h 293"/>
                  <a:gd name="T26" fmla="*/ 0 w 176"/>
                  <a:gd name="T27" fmla="*/ 86 h 293"/>
                  <a:gd name="T28" fmla="*/ 2 w 176"/>
                  <a:gd name="T29" fmla="*/ 69 h 293"/>
                  <a:gd name="T30" fmla="*/ 6 w 176"/>
                  <a:gd name="T31" fmla="*/ 53 h 293"/>
                  <a:gd name="T32" fmla="*/ 14 w 176"/>
                  <a:gd name="T33" fmla="*/ 38 h 293"/>
                  <a:gd name="T34" fmla="*/ 26 w 176"/>
                  <a:gd name="T35" fmla="*/ 26 h 293"/>
                  <a:gd name="T36" fmla="*/ 38 w 176"/>
                  <a:gd name="T37" fmla="*/ 14 h 293"/>
                  <a:gd name="T38" fmla="*/ 53 w 176"/>
                  <a:gd name="T39" fmla="*/ 6 h 293"/>
                  <a:gd name="T40" fmla="*/ 70 w 176"/>
                  <a:gd name="T41" fmla="*/ 2 h 293"/>
                  <a:gd name="T42" fmla="*/ 88 w 176"/>
                  <a:gd name="T43" fmla="*/ 0 h 293"/>
                  <a:gd name="T44" fmla="*/ 88 w 176"/>
                  <a:gd name="T45" fmla="*/ 0 h 293"/>
                  <a:gd name="T46" fmla="*/ 106 w 176"/>
                  <a:gd name="T47" fmla="*/ 2 h 293"/>
                  <a:gd name="T48" fmla="*/ 122 w 176"/>
                  <a:gd name="T49" fmla="*/ 6 h 293"/>
                  <a:gd name="T50" fmla="*/ 138 w 176"/>
                  <a:gd name="T51" fmla="*/ 14 h 293"/>
                  <a:gd name="T52" fmla="*/ 150 w 176"/>
                  <a:gd name="T53" fmla="*/ 26 h 293"/>
                  <a:gd name="T54" fmla="*/ 162 w 176"/>
                  <a:gd name="T55" fmla="*/ 38 h 293"/>
                  <a:gd name="T56" fmla="*/ 170 w 176"/>
                  <a:gd name="T57" fmla="*/ 53 h 293"/>
                  <a:gd name="T58" fmla="*/ 174 w 176"/>
                  <a:gd name="T59" fmla="*/ 69 h 293"/>
                  <a:gd name="T60" fmla="*/ 176 w 176"/>
                  <a:gd name="T61" fmla="*/ 86 h 293"/>
                  <a:gd name="T62" fmla="*/ 176 w 176"/>
                  <a:gd name="T63" fmla="*/ 86 h 293"/>
                  <a:gd name="T64" fmla="*/ 176 w 176"/>
                  <a:gd name="T65" fmla="*/ 99 h 293"/>
                  <a:gd name="T66" fmla="*/ 173 w 176"/>
                  <a:gd name="T67" fmla="*/ 112 h 293"/>
                  <a:gd name="T68" fmla="*/ 168 w 176"/>
                  <a:gd name="T69" fmla="*/ 123 h 293"/>
                  <a:gd name="T70" fmla="*/ 163 w 176"/>
                  <a:gd name="T71" fmla="*/ 133 h 293"/>
                  <a:gd name="T72" fmla="*/ 155 w 176"/>
                  <a:gd name="T73" fmla="*/ 142 h 293"/>
                  <a:gd name="T74" fmla="*/ 147 w 176"/>
                  <a:gd name="T75" fmla="*/ 150 h 293"/>
                  <a:gd name="T76" fmla="*/ 138 w 176"/>
                  <a:gd name="T77" fmla="*/ 158 h 293"/>
                  <a:gd name="T78" fmla="*/ 128 w 176"/>
                  <a:gd name="T79" fmla="*/ 165 h 293"/>
                  <a:gd name="T80" fmla="*/ 128 w 176"/>
                  <a:gd name="T81" fmla="*/ 1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3">
                    <a:moveTo>
                      <a:pt x="128" y="165"/>
                    </a:moveTo>
                    <a:lnTo>
                      <a:pt x="128" y="293"/>
                    </a:lnTo>
                    <a:lnTo>
                      <a:pt x="48" y="293"/>
                    </a:lnTo>
                    <a:lnTo>
                      <a:pt x="48" y="165"/>
                    </a:lnTo>
                    <a:lnTo>
                      <a:pt x="48" y="165"/>
                    </a:lnTo>
                    <a:lnTo>
                      <a:pt x="38" y="158"/>
                    </a:lnTo>
                    <a:lnTo>
                      <a:pt x="29" y="150"/>
                    </a:lnTo>
                    <a:lnTo>
                      <a:pt x="19" y="142"/>
                    </a:lnTo>
                    <a:lnTo>
                      <a:pt x="13" y="133"/>
                    </a:lnTo>
                    <a:lnTo>
                      <a:pt x="6" y="123"/>
                    </a:lnTo>
                    <a:lnTo>
                      <a:pt x="3" y="112"/>
                    </a:lnTo>
                    <a:lnTo>
                      <a:pt x="0" y="99"/>
                    </a:lnTo>
                    <a:lnTo>
                      <a:pt x="0" y="86"/>
                    </a:lnTo>
                    <a:lnTo>
                      <a:pt x="0" y="86"/>
                    </a:lnTo>
                    <a:lnTo>
                      <a:pt x="2" y="69"/>
                    </a:lnTo>
                    <a:lnTo>
                      <a:pt x="6" y="53"/>
                    </a:lnTo>
                    <a:lnTo>
                      <a:pt x="14" y="38"/>
                    </a:lnTo>
                    <a:lnTo>
                      <a:pt x="26" y="26"/>
                    </a:lnTo>
                    <a:lnTo>
                      <a:pt x="38" y="14"/>
                    </a:lnTo>
                    <a:lnTo>
                      <a:pt x="53" y="6"/>
                    </a:lnTo>
                    <a:lnTo>
                      <a:pt x="70" y="2"/>
                    </a:lnTo>
                    <a:lnTo>
                      <a:pt x="88" y="0"/>
                    </a:lnTo>
                    <a:lnTo>
                      <a:pt x="88" y="0"/>
                    </a:lnTo>
                    <a:lnTo>
                      <a:pt x="106" y="2"/>
                    </a:lnTo>
                    <a:lnTo>
                      <a:pt x="122" y="6"/>
                    </a:lnTo>
                    <a:lnTo>
                      <a:pt x="138" y="14"/>
                    </a:lnTo>
                    <a:lnTo>
                      <a:pt x="150" y="26"/>
                    </a:lnTo>
                    <a:lnTo>
                      <a:pt x="162" y="38"/>
                    </a:lnTo>
                    <a:lnTo>
                      <a:pt x="170" y="53"/>
                    </a:lnTo>
                    <a:lnTo>
                      <a:pt x="174" y="69"/>
                    </a:lnTo>
                    <a:lnTo>
                      <a:pt x="176" y="86"/>
                    </a:lnTo>
                    <a:lnTo>
                      <a:pt x="176" y="86"/>
                    </a:lnTo>
                    <a:lnTo>
                      <a:pt x="176" y="99"/>
                    </a:lnTo>
                    <a:lnTo>
                      <a:pt x="173" y="112"/>
                    </a:lnTo>
                    <a:lnTo>
                      <a:pt x="168" y="123"/>
                    </a:lnTo>
                    <a:lnTo>
                      <a:pt x="163" y="133"/>
                    </a:lnTo>
                    <a:lnTo>
                      <a:pt x="155" y="142"/>
                    </a:lnTo>
                    <a:lnTo>
                      <a:pt x="147" y="150"/>
                    </a:lnTo>
                    <a:lnTo>
                      <a:pt x="138" y="158"/>
                    </a:lnTo>
                    <a:lnTo>
                      <a:pt x="128" y="165"/>
                    </a:lnTo>
                    <a:lnTo>
                      <a:pt x="128" y="165"/>
                    </a:lnTo>
                    <a:close/>
                  </a:path>
                </a:pathLst>
              </a:custGeom>
              <a:solidFill>
                <a:srgbClr val="FFFFFF"/>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4" name="Freeform 14"/>
              <p:cNvSpPr>
                <a:spLocks/>
              </p:cNvSpPr>
              <p:nvPr/>
            </p:nvSpPr>
            <p:spPr bwMode="auto">
              <a:xfrm>
                <a:off x="2033588" y="3973513"/>
                <a:ext cx="417513" cy="277813"/>
              </a:xfrm>
              <a:custGeom>
                <a:avLst/>
                <a:gdLst>
                  <a:gd name="T0" fmla="*/ 528 w 528"/>
                  <a:gd name="T1" fmla="*/ 141 h 351"/>
                  <a:gd name="T2" fmla="*/ 518 w 528"/>
                  <a:gd name="T3" fmla="*/ 125 h 351"/>
                  <a:gd name="T4" fmla="*/ 496 w 528"/>
                  <a:gd name="T5" fmla="*/ 96 h 351"/>
                  <a:gd name="T6" fmla="*/ 470 w 528"/>
                  <a:gd name="T7" fmla="*/ 71 h 351"/>
                  <a:gd name="T8" fmla="*/ 441 w 528"/>
                  <a:gd name="T9" fmla="*/ 50 h 351"/>
                  <a:gd name="T10" fmla="*/ 411 w 528"/>
                  <a:gd name="T11" fmla="*/ 31 h 351"/>
                  <a:gd name="T12" fmla="*/ 376 w 528"/>
                  <a:gd name="T13" fmla="*/ 16 h 351"/>
                  <a:gd name="T14" fmla="*/ 341 w 528"/>
                  <a:gd name="T15" fmla="*/ 7 h 351"/>
                  <a:gd name="T16" fmla="*/ 302 w 528"/>
                  <a:gd name="T17" fmla="*/ 2 h 351"/>
                  <a:gd name="T18" fmla="*/ 283 w 528"/>
                  <a:gd name="T19" fmla="*/ 0 h 351"/>
                  <a:gd name="T20" fmla="*/ 225 w 528"/>
                  <a:gd name="T21" fmla="*/ 7 h 351"/>
                  <a:gd name="T22" fmla="*/ 173 w 528"/>
                  <a:gd name="T23" fmla="*/ 23 h 351"/>
                  <a:gd name="T24" fmla="*/ 125 w 528"/>
                  <a:gd name="T25" fmla="*/ 48 h 351"/>
                  <a:gd name="T26" fmla="*/ 82 w 528"/>
                  <a:gd name="T27" fmla="*/ 84 h 351"/>
                  <a:gd name="T28" fmla="*/ 48 w 528"/>
                  <a:gd name="T29" fmla="*/ 125 h 351"/>
                  <a:gd name="T30" fmla="*/ 21 w 528"/>
                  <a:gd name="T31" fmla="*/ 172 h 351"/>
                  <a:gd name="T32" fmla="*/ 5 w 528"/>
                  <a:gd name="T33" fmla="*/ 224 h 351"/>
                  <a:gd name="T34" fmla="*/ 0 w 528"/>
                  <a:gd name="T35" fmla="*/ 282 h 351"/>
                  <a:gd name="T36" fmla="*/ 102 w 528"/>
                  <a:gd name="T37" fmla="*/ 351 h 351"/>
                  <a:gd name="T38" fmla="*/ 102 w 528"/>
                  <a:gd name="T39" fmla="*/ 282 h 351"/>
                  <a:gd name="T40" fmla="*/ 106 w 528"/>
                  <a:gd name="T41" fmla="*/ 247 h 351"/>
                  <a:gd name="T42" fmla="*/ 117 w 528"/>
                  <a:gd name="T43" fmla="*/ 215 h 351"/>
                  <a:gd name="T44" fmla="*/ 134 w 528"/>
                  <a:gd name="T45" fmla="*/ 184 h 351"/>
                  <a:gd name="T46" fmla="*/ 157 w 528"/>
                  <a:gd name="T47" fmla="*/ 159 h 351"/>
                  <a:gd name="T48" fmla="*/ 182 w 528"/>
                  <a:gd name="T49" fmla="*/ 138 h 351"/>
                  <a:gd name="T50" fmla="*/ 214 w 528"/>
                  <a:gd name="T51" fmla="*/ 122 h 351"/>
                  <a:gd name="T52" fmla="*/ 248 w 528"/>
                  <a:gd name="T53" fmla="*/ 112 h 351"/>
                  <a:gd name="T54" fmla="*/ 283 w 528"/>
                  <a:gd name="T55" fmla="*/ 109 h 351"/>
                  <a:gd name="T56" fmla="*/ 305 w 528"/>
                  <a:gd name="T57" fmla="*/ 111 h 351"/>
                  <a:gd name="T58" fmla="*/ 350 w 528"/>
                  <a:gd name="T59" fmla="*/ 122 h 351"/>
                  <a:gd name="T60" fmla="*/ 390 w 528"/>
                  <a:gd name="T61" fmla="*/ 143 h 351"/>
                  <a:gd name="T62" fmla="*/ 422 w 528"/>
                  <a:gd name="T63" fmla="*/ 173 h 351"/>
                  <a:gd name="T64" fmla="*/ 435 w 528"/>
                  <a:gd name="T65" fmla="*/ 19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8" h="351">
                    <a:moveTo>
                      <a:pt x="435" y="191"/>
                    </a:moveTo>
                    <a:lnTo>
                      <a:pt x="528" y="141"/>
                    </a:lnTo>
                    <a:lnTo>
                      <a:pt x="528" y="141"/>
                    </a:lnTo>
                    <a:lnTo>
                      <a:pt x="518" y="125"/>
                    </a:lnTo>
                    <a:lnTo>
                      <a:pt x="508" y="111"/>
                    </a:lnTo>
                    <a:lnTo>
                      <a:pt x="496" y="96"/>
                    </a:lnTo>
                    <a:lnTo>
                      <a:pt x="484" y="84"/>
                    </a:lnTo>
                    <a:lnTo>
                      <a:pt x="470" y="71"/>
                    </a:lnTo>
                    <a:lnTo>
                      <a:pt x="457" y="60"/>
                    </a:lnTo>
                    <a:lnTo>
                      <a:pt x="441" y="50"/>
                    </a:lnTo>
                    <a:lnTo>
                      <a:pt x="427" y="39"/>
                    </a:lnTo>
                    <a:lnTo>
                      <a:pt x="411" y="31"/>
                    </a:lnTo>
                    <a:lnTo>
                      <a:pt x="393" y="23"/>
                    </a:lnTo>
                    <a:lnTo>
                      <a:pt x="376" y="16"/>
                    </a:lnTo>
                    <a:lnTo>
                      <a:pt x="358" y="12"/>
                    </a:lnTo>
                    <a:lnTo>
                      <a:pt x="341" y="7"/>
                    </a:lnTo>
                    <a:lnTo>
                      <a:pt x="321" y="4"/>
                    </a:lnTo>
                    <a:lnTo>
                      <a:pt x="302" y="2"/>
                    </a:lnTo>
                    <a:lnTo>
                      <a:pt x="283" y="0"/>
                    </a:lnTo>
                    <a:lnTo>
                      <a:pt x="283" y="0"/>
                    </a:lnTo>
                    <a:lnTo>
                      <a:pt x="254" y="2"/>
                    </a:lnTo>
                    <a:lnTo>
                      <a:pt x="225" y="7"/>
                    </a:lnTo>
                    <a:lnTo>
                      <a:pt x="198" y="13"/>
                    </a:lnTo>
                    <a:lnTo>
                      <a:pt x="173" y="23"/>
                    </a:lnTo>
                    <a:lnTo>
                      <a:pt x="147" y="34"/>
                    </a:lnTo>
                    <a:lnTo>
                      <a:pt x="125" y="48"/>
                    </a:lnTo>
                    <a:lnTo>
                      <a:pt x="102" y="64"/>
                    </a:lnTo>
                    <a:lnTo>
                      <a:pt x="82" y="84"/>
                    </a:lnTo>
                    <a:lnTo>
                      <a:pt x="64" y="103"/>
                    </a:lnTo>
                    <a:lnTo>
                      <a:pt x="48" y="125"/>
                    </a:lnTo>
                    <a:lnTo>
                      <a:pt x="34" y="148"/>
                    </a:lnTo>
                    <a:lnTo>
                      <a:pt x="21" y="172"/>
                    </a:lnTo>
                    <a:lnTo>
                      <a:pt x="11" y="199"/>
                    </a:lnTo>
                    <a:lnTo>
                      <a:pt x="5" y="224"/>
                    </a:lnTo>
                    <a:lnTo>
                      <a:pt x="0" y="253"/>
                    </a:lnTo>
                    <a:lnTo>
                      <a:pt x="0" y="282"/>
                    </a:lnTo>
                    <a:lnTo>
                      <a:pt x="0" y="351"/>
                    </a:lnTo>
                    <a:lnTo>
                      <a:pt x="102" y="351"/>
                    </a:lnTo>
                    <a:lnTo>
                      <a:pt x="102" y="282"/>
                    </a:lnTo>
                    <a:lnTo>
                      <a:pt x="102" y="282"/>
                    </a:lnTo>
                    <a:lnTo>
                      <a:pt x="104" y="264"/>
                    </a:lnTo>
                    <a:lnTo>
                      <a:pt x="106" y="247"/>
                    </a:lnTo>
                    <a:lnTo>
                      <a:pt x="110" y="231"/>
                    </a:lnTo>
                    <a:lnTo>
                      <a:pt x="117" y="215"/>
                    </a:lnTo>
                    <a:lnTo>
                      <a:pt x="125" y="199"/>
                    </a:lnTo>
                    <a:lnTo>
                      <a:pt x="134" y="184"/>
                    </a:lnTo>
                    <a:lnTo>
                      <a:pt x="144" y="172"/>
                    </a:lnTo>
                    <a:lnTo>
                      <a:pt x="157" y="159"/>
                    </a:lnTo>
                    <a:lnTo>
                      <a:pt x="170" y="148"/>
                    </a:lnTo>
                    <a:lnTo>
                      <a:pt x="182" y="138"/>
                    </a:lnTo>
                    <a:lnTo>
                      <a:pt x="198" y="130"/>
                    </a:lnTo>
                    <a:lnTo>
                      <a:pt x="214" y="122"/>
                    </a:lnTo>
                    <a:lnTo>
                      <a:pt x="230" y="116"/>
                    </a:lnTo>
                    <a:lnTo>
                      <a:pt x="248" y="112"/>
                    </a:lnTo>
                    <a:lnTo>
                      <a:pt x="265" y="109"/>
                    </a:lnTo>
                    <a:lnTo>
                      <a:pt x="283" y="109"/>
                    </a:lnTo>
                    <a:lnTo>
                      <a:pt x="283" y="109"/>
                    </a:lnTo>
                    <a:lnTo>
                      <a:pt x="305" y="111"/>
                    </a:lnTo>
                    <a:lnTo>
                      <a:pt x="329" y="114"/>
                    </a:lnTo>
                    <a:lnTo>
                      <a:pt x="350" y="122"/>
                    </a:lnTo>
                    <a:lnTo>
                      <a:pt x="371" y="132"/>
                    </a:lnTo>
                    <a:lnTo>
                      <a:pt x="390" y="143"/>
                    </a:lnTo>
                    <a:lnTo>
                      <a:pt x="406" y="157"/>
                    </a:lnTo>
                    <a:lnTo>
                      <a:pt x="422" y="173"/>
                    </a:lnTo>
                    <a:lnTo>
                      <a:pt x="435" y="191"/>
                    </a:lnTo>
                    <a:lnTo>
                      <a:pt x="435" y="191"/>
                    </a:lnTo>
                    <a:close/>
                  </a:path>
                </a:pathLst>
              </a:custGeom>
              <a:solidFill>
                <a:srgbClr val="FFFFFF"/>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1183" name="Gruppieren 1182"/>
          <p:cNvGrpSpPr/>
          <p:nvPr/>
        </p:nvGrpSpPr>
        <p:grpSpPr>
          <a:xfrm>
            <a:off x="4689475" y="2062163"/>
            <a:ext cx="1038225" cy="1370012"/>
            <a:chOff x="4689475" y="2062163"/>
            <a:chExt cx="1038225" cy="1370012"/>
          </a:xfrm>
        </p:grpSpPr>
        <p:sp>
          <p:nvSpPr>
            <p:cNvPr id="1165" name="Freeform 25"/>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 name="T48" fmla="*/ 400 w 654"/>
                <a:gd name="T4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lnTo>
                    <a:pt x="40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6" name="Freeform 26"/>
            <p:cNvSpPr>
              <a:spLocks/>
            </p:cNvSpPr>
            <p:nvPr/>
          </p:nvSpPr>
          <p:spPr bwMode="auto">
            <a:xfrm>
              <a:off x="4689475" y="3013075"/>
              <a:ext cx="1038225" cy="419100"/>
            </a:xfrm>
            <a:custGeom>
              <a:avLst/>
              <a:gdLst>
                <a:gd name="T0" fmla="*/ 400 w 654"/>
                <a:gd name="T1" fmla="*/ 124 h 264"/>
                <a:gd name="T2" fmla="*/ 179 w 654"/>
                <a:gd name="T3" fmla="*/ 127 h 264"/>
                <a:gd name="T4" fmla="*/ 177 w 654"/>
                <a:gd name="T5" fmla="*/ 76 h 264"/>
                <a:gd name="T6" fmla="*/ 202 w 654"/>
                <a:gd name="T7" fmla="*/ 55 h 264"/>
                <a:gd name="T8" fmla="*/ 309 w 654"/>
                <a:gd name="T9" fmla="*/ 46 h 264"/>
                <a:gd name="T10" fmla="*/ 379 w 654"/>
                <a:gd name="T11" fmla="*/ 15 h 264"/>
                <a:gd name="T12" fmla="*/ 487 w 654"/>
                <a:gd name="T13" fmla="*/ 22 h 264"/>
                <a:gd name="T14" fmla="*/ 603 w 654"/>
                <a:gd name="T15" fmla="*/ 93 h 264"/>
                <a:gd name="T16" fmla="*/ 654 w 654"/>
                <a:gd name="T17" fmla="*/ 100 h 264"/>
                <a:gd name="T18" fmla="*/ 621 w 654"/>
                <a:gd name="T19" fmla="*/ 264 h 264"/>
                <a:gd name="T20" fmla="*/ 494 w 654"/>
                <a:gd name="T21" fmla="*/ 217 h 264"/>
                <a:gd name="T22" fmla="*/ 305 w 654"/>
                <a:gd name="T23" fmla="*/ 256 h 264"/>
                <a:gd name="T24" fmla="*/ 158 w 654"/>
                <a:gd name="T25" fmla="*/ 223 h 264"/>
                <a:gd name="T26" fmla="*/ 49 w 654"/>
                <a:gd name="T27" fmla="*/ 143 h 264"/>
                <a:gd name="T28" fmla="*/ 0 w 654"/>
                <a:gd name="T29" fmla="*/ 18 h 264"/>
                <a:gd name="T30" fmla="*/ 34 w 654"/>
                <a:gd name="T31" fmla="*/ 0 h 264"/>
                <a:gd name="T32" fmla="*/ 47 w 654"/>
                <a:gd name="T33" fmla="*/ 3 h 264"/>
                <a:gd name="T34" fmla="*/ 55 w 654"/>
                <a:gd name="T35" fmla="*/ 14 h 264"/>
                <a:gd name="T36" fmla="*/ 86 w 654"/>
                <a:gd name="T37" fmla="*/ 2 h 264"/>
                <a:gd name="T38" fmla="*/ 95 w 654"/>
                <a:gd name="T39" fmla="*/ 6 h 264"/>
                <a:gd name="T40" fmla="*/ 101 w 654"/>
                <a:gd name="T41" fmla="*/ 17 h 264"/>
                <a:gd name="T42" fmla="*/ 130 w 654"/>
                <a:gd name="T43" fmla="*/ 6 h 264"/>
                <a:gd name="T44" fmla="*/ 144 w 654"/>
                <a:gd name="T45" fmla="*/ 13 h 264"/>
                <a:gd name="T46" fmla="*/ 191 w 654"/>
                <a:gd name="T47" fmla="*/ 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4" h="264">
                  <a:moveTo>
                    <a:pt x="400" y="124"/>
                  </a:moveTo>
                  <a:lnTo>
                    <a:pt x="179" y="127"/>
                  </a:lnTo>
                  <a:lnTo>
                    <a:pt x="177" y="76"/>
                  </a:lnTo>
                  <a:lnTo>
                    <a:pt x="202" y="55"/>
                  </a:lnTo>
                  <a:lnTo>
                    <a:pt x="309" y="46"/>
                  </a:lnTo>
                  <a:lnTo>
                    <a:pt x="379" y="15"/>
                  </a:lnTo>
                  <a:lnTo>
                    <a:pt x="487" y="22"/>
                  </a:lnTo>
                  <a:lnTo>
                    <a:pt x="603" y="93"/>
                  </a:lnTo>
                  <a:lnTo>
                    <a:pt x="654" y="100"/>
                  </a:lnTo>
                  <a:lnTo>
                    <a:pt x="621" y="264"/>
                  </a:lnTo>
                  <a:lnTo>
                    <a:pt x="494" y="217"/>
                  </a:lnTo>
                  <a:lnTo>
                    <a:pt x="305" y="256"/>
                  </a:lnTo>
                  <a:lnTo>
                    <a:pt x="158" y="223"/>
                  </a:lnTo>
                  <a:lnTo>
                    <a:pt x="49" y="143"/>
                  </a:lnTo>
                  <a:lnTo>
                    <a:pt x="0" y="18"/>
                  </a:lnTo>
                  <a:lnTo>
                    <a:pt x="34" y="0"/>
                  </a:lnTo>
                  <a:lnTo>
                    <a:pt x="47" y="3"/>
                  </a:lnTo>
                  <a:lnTo>
                    <a:pt x="55" y="14"/>
                  </a:lnTo>
                  <a:lnTo>
                    <a:pt x="86" y="2"/>
                  </a:lnTo>
                  <a:lnTo>
                    <a:pt x="95" y="6"/>
                  </a:lnTo>
                  <a:lnTo>
                    <a:pt x="101" y="17"/>
                  </a:lnTo>
                  <a:lnTo>
                    <a:pt x="130" y="6"/>
                  </a:lnTo>
                  <a:lnTo>
                    <a:pt x="144" y="13"/>
                  </a:lnTo>
                  <a:lnTo>
                    <a:pt x="191" y="64"/>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7" name="Line 27"/>
            <p:cNvSpPr>
              <a:spLocks noChangeShapeType="1"/>
            </p:cNvSpPr>
            <p:nvPr/>
          </p:nvSpPr>
          <p:spPr bwMode="auto">
            <a:xfrm>
              <a:off x="4776788" y="30353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8" name="Line 28"/>
            <p:cNvSpPr>
              <a:spLocks noChangeShapeType="1"/>
            </p:cNvSpPr>
            <p:nvPr/>
          </p:nvSpPr>
          <p:spPr bwMode="auto">
            <a:xfrm>
              <a:off x="4776788" y="3035300"/>
              <a:ext cx="0" cy="0"/>
            </a:xfrm>
            <a:prstGeom prst="line">
              <a:avLst/>
            </a:prstGeom>
            <a:noFill/>
            <a:ln w="476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69" name="Freeform 29"/>
            <p:cNvSpPr>
              <a:spLocks/>
            </p:cNvSpPr>
            <p:nvPr/>
          </p:nvSpPr>
          <p:spPr bwMode="auto">
            <a:xfrm>
              <a:off x="4776788" y="3035300"/>
              <a:ext cx="403225" cy="211138"/>
            </a:xfrm>
            <a:custGeom>
              <a:avLst/>
              <a:gdLst>
                <a:gd name="T0" fmla="*/ 0 w 254"/>
                <a:gd name="T1" fmla="*/ 0 h 133"/>
                <a:gd name="T2" fmla="*/ 58 w 254"/>
                <a:gd name="T3" fmla="*/ 100 h 133"/>
                <a:gd name="T4" fmla="*/ 145 w 254"/>
                <a:gd name="T5" fmla="*/ 133 h 133"/>
                <a:gd name="T6" fmla="*/ 254 w 254"/>
                <a:gd name="T7" fmla="*/ 111 h 133"/>
              </a:gdLst>
              <a:ahLst/>
              <a:cxnLst>
                <a:cxn ang="0">
                  <a:pos x="T0" y="T1"/>
                </a:cxn>
                <a:cxn ang="0">
                  <a:pos x="T2" y="T3"/>
                </a:cxn>
                <a:cxn ang="0">
                  <a:pos x="T4" y="T5"/>
                </a:cxn>
                <a:cxn ang="0">
                  <a:pos x="T6" y="T7"/>
                </a:cxn>
              </a:cxnLst>
              <a:rect l="0" t="0" r="r" b="b"/>
              <a:pathLst>
                <a:path w="254" h="133">
                  <a:moveTo>
                    <a:pt x="0" y="0"/>
                  </a:moveTo>
                  <a:lnTo>
                    <a:pt x="58" y="100"/>
                  </a:lnTo>
                  <a:lnTo>
                    <a:pt x="145" y="133"/>
                  </a:lnTo>
                  <a:lnTo>
                    <a:pt x="254" y="111"/>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70" name="Freeform 30"/>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1" name="Freeform 31"/>
            <p:cNvSpPr>
              <a:spLocks/>
            </p:cNvSpPr>
            <p:nvPr/>
          </p:nvSpPr>
          <p:spPr bwMode="auto">
            <a:xfrm>
              <a:off x="4849813" y="3040063"/>
              <a:ext cx="60325" cy="104775"/>
            </a:xfrm>
            <a:custGeom>
              <a:avLst/>
              <a:gdLst>
                <a:gd name="T0" fmla="*/ 0 w 63"/>
                <a:gd name="T1" fmla="*/ 0 h 111"/>
                <a:gd name="T2" fmla="*/ 63 w 63"/>
                <a:gd name="T3" fmla="*/ 111 h 111"/>
              </a:gdLst>
              <a:ahLst/>
              <a:cxnLst>
                <a:cxn ang="0">
                  <a:pos x="T0" y="T1"/>
                </a:cxn>
                <a:cxn ang="0">
                  <a:pos x="T2" y="T3"/>
                </a:cxn>
              </a:cxnLst>
              <a:rect l="0" t="0" r="r" b="b"/>
              <a:pathLst>
                <a:path w="63" h="111">
                  <a:moveTo>
                    <a:pt x="0" y="0"/>
                  </a:moveTo>
                  <a:cubicBezTo>
                    <a:pt x="6" y="5"/>
                    <a:pt x="63" y="111"/>
                    <a:pt x="63" y="111"/>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1182" name="Gruppieren 1181"/>
            <p:cNvGrpSpPr/>
            <p:nvPr/>
          </p:nvGrpSpPr>
          <p:grpSpPr>
            <a:xfrm>
              <a:off x="4730606" y="2062163"/>
              <a:ext cx="813456" cy="1142600"/>
              <a:chOff x="4730606" y="2074863"/>
              <a:chExt cx="813456" cy="1142600"/>
            </a:xfrm>
          </p:grpSpPr>
          <p:grpSp>
            <p:nvGrpSpPr>
              <p:cNvPr id="1181" name="Gruppieren 1180"/>
              <p:cNvGrpSpPr/>
              <p:nvPr/>
            </p:nvGrpSpPr>
            <p:grpSpPr>
              <a:xfrm>
                <a:off x="4730606" y="2402915"/>
                <a:ext cx="813456" cy="814548"/>
                <a:chOff x="4730606" y="2402915"/>
                <a:chExt cx="813456" cy="814548"/>
              </a:xfrm>
            </p:grpSpPr>
            <p:sp>
              <p:nvSpPr>
                <p:cNvPr id="1174" name="Oval 34"/>
                <p:cNvSpPr>
                  <a:spLocks noChangeArrowheads="1"/>
                </p:cNvSpPr>
                <p:nvPr/>
              </p:nvSpPr>
              <p:spPr bwMode="auto">
                <a:xfrm>
                  <a:off x="4754563" y="2428875"/>
                  <a:ext cx="749300" cy="747713"/>
                </a:xfrm>
                <a:prstGeom prst="ellipse">
                  <a:avLst/>
                </a:prstGeom>
                <a:solidFill>
                  <a:schemeClr val="bg1"/>
                </a:solidFill>
                <a:ln w="7938" cap="flat">
                  <a:noFill/>
                  <a:prstDash val="solid"/>
                  <a:bevel/>
                  <a:headEnd/>
                  <a:tailEnd/>
                </a:ln>
              </p:spPr>
              <p:txBody>
                <a:bodyPr vert="horz" wrap="square" lIns="91440" tIns="45720" rIns="91440" bIns="45720" numCol="1" anchor="t" anchorCtr="0" compatLnSpc="1">
                  <a:prstTxWarp prst="textNoShape">
                    <a:avLst/>
                  </a:prstTxWarp>
                </a:bodyPr>
                <a:lstStyle/>
                <a:p>
                  <a:endParaRPr lang="de-DE"/>
                </a:p>
              </p:txBody>
            </p:sp>
            <p:grpSp>
              <p:nvGrpSpPr>
                <p:cNvPr id="87" name="Gruppieren 86"/>
                <p:cNvGrpSpPr/>
                <p:nvPr/>
              </p:nvGrpSpPr>
              <p:grpSpPr>
                <a:xfrm>
                  <a:off x="4730606" y="2402915"/>
                  <a:ext cx="813456" cy="814548"/>
                  <a:chOff x="1439863" y="2035176"/>
                  <a:chExt cx="1182688" cy="1184275"/>
                </a:xfrm>
              </p:grpSpPr>
              <p:sp>
                <p:nvSpPr>
                  <p:cNvPr id="88" name="Rectangle 88"/>
                  <p:cNvSpPr>
                    <a:spLocks noChangeArrowheads="1"/>
                  </p:cNvSpPr>
                  <p:nvPr/>
                </p:nvSpPr>
                <p:spPr bwMode="auto">
                  <a:xfrm>
                    <a:off x="1439863" y="2035176"/>
                    <a:ext cx="1182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89"/>
                  <p:cNvSpPr>
                    <a:spLocks noEditPoints="1"/>
                  </p:cNvSpPr>
                  <p:nvPr/>
                </p:nvSpPr>
                <p:spPr bwMode="auto">
                  <a:xfrm>
                    <a:off x="1482724" y="2065339"/>
                    <a:ext cx="1096963" cy="1071563"/>
                  </a:xfrm>
                  <a:custGeom>
                    <a:avLst/>
                    <a:gdLst>
                      <a:gd name="T0" fmla="*/ 778 w 924"/>
                      <a:gd name="T1" fmla="*/ 725 h 903"/>
                      <a:gd name="T2" fmla="*/ 657 w 924"/>
                      <a:gd name="T3" fmla="*/ 626 h 903"/>
                      <a:gd name="T4" fmla="*/ 638 w 924"/>
                      <a:gd name="T5" fmla="*/ 481 h 903"/>
                      <a:gd name="T6" fmla="*/ 775 w 924"/>
                      <a:gd name="T7" fmla="*/ 432 h 903"/>
                      <a:gd name="T8" fmla="*/ 909 w 924"/>
                      <a:gd name="T9" fmla="*/ 484 h 903"/>
                      <a:gd name="T10" fmla="*/ 882 w 924"/>
                      <a:gd name="T11" fmla="*/ 426 h 903"/>
                      <a:gd name="T12" fmla="*/ 854 w 924"/>
                      <a:gd name="T13" fmla="*/ 396 h 903"/>
                      <a:gd name="T14" fmla="*/ 830 w 924"/>
                      <a:gd name="T15" fmla="*/ 400 h 903"/>
                      <a:gd name="T16" fmla="*/ 809 w 924"/>
                      <a:gd name="T17" fmla="*/ 431 h 903"/>
                      <a:gd name="T18" fmla="*/ 729 w 924"/>
                      <a:gd name="T19" fmla="*/ 391 h 903"/>
                      <a:gd name="T20" fmla="*/ 669 w 924"/>
                      <a:gd name="T21" fmla="*/ 415 h 903"/>
                      <a:gd name="T22" fmla="*/ 715 w 924"/>
                      <a:gd name="T23" fmla="*/ 347 h 903"/>
                      <a:gd name="T24" fmla="*/ 759 w 924"/>
                      <a:gd name="T25" fmla="*/ 313 h 903"/>
                      <a:gd name="T26" fmla="*/ 821 w 924"/>
                      <a:gd name="T27" fmla="*/ 309 h 903"/>
                      <a:gd name="T28" fmla="*/ 924 w 924"/>
                      <a:gd name="T29" fmla="*/ 468 h 903"/>
                      <a:gd name="T30" fmla="*/ 620 w 924"/>
                      <a:gd name="T31" fmla="*/ 176 h 903"/>
                      <a:gd name="T32" fmla="*/ 655 w 924"/>
                      <a:gd name="T33" fmla="*/ 200 h 903"/>
                      <a:gd name="T34" fmla="*/ 557 w 924"/>
                      <a:gd name="T35" fmla="*/ 154 h 903"/>
                      <a:gd name="T36" fmla="*/ 434 w 924"/>
                      <a:gd name="T37" fmla="*/ 185 h 903"/>
                      <a:gd name="T38" fmla="*/ 427 w 924"/>
                      <a:gd name="T39" fmla="*/ 107 h 903"/>
                      <a:gd name="T40" fmla="*/ 353 w 924"/>
                      <a:gd name="T41" fmla="*/ 41 h 903"/>
                      <a:gd name="T42" fmla="*/ 643 w 924"/>
                      <a:gd name="T43" fmla="*/ 56 h 903"/>
                      <a:gd name="T44" fmla="*/ 587 w 924"/>
                      <a:gd name="T45" fmla="*/ 99 h 903"/>
                      <a:gd name="T46" fmla="*/ 585 w 924"/>
                      <a:gd name="T47" fmla="*/ 133 h 903"/>
                      <a:gd name="T48" fmla="*/ 268 w 924"/>
                      <a:gd name="T49" fmla="*/ 503 h 903"/>
                      <a:gd name="T50" fmla="*/ 268 w 924"/>
                      <a:gd name="T51" fmla="*/ 503 h 903"/>
                      <a:gd name="T52" fmla="*/ 294 w 924"/>
                      <a:gd name="T53" fmla="*/ 496 h 903"/>
                      <a:gd name="T54" fmla="*/ 415 w 924"/>
                      <a:gd name="T55" fmla="*/ 341 h 903"/>
                      <a:gd name="T56" fmla="*/ 242 w 924"/>
                      <a:gd name="T57" fmla="*/ 179 h 903"/>
                      <a:gd name="T58" fmla="*/ 440 w 924"/>
                      <a:gd name="T59" fmla="*/ 765 h 903"/>
                      <a:gd name="T60" fmla="*/ 281 w 924"/>
                      <a:gd name="T61" fmla="*/ 903 h 903"/>
                      <a:gd name="T62" fmla="*/ 276 w 924"/>
                      <a:gd name="T63" fmla="*/ 718 h 903"/>
                      <a:gd name="T64" fmla="*/ 226 w 924"/>
                      <a:gd name="T65" fmla="*/ 643 h 903"/>
                      <a:gd name="T66" fmla="*/ 176 w 924"/>
                      <a:gd name="T67" fmla="*/ 524 h 903"/>
                      <a:gd name="T68" fmla="*/ 49 w 924"/>
                      <a:gd name="T69" fmla="*/ 433 h 903"/>
                      <a:gd name="T70" fmla="*/ 185 w 924"/>
                      <a:gd name="T71" fmla="*/ 106 h 903"/>
                      <a:gd name="T72" fmla="*/ 237 w 924"/>
                      <a:gd name="T73" fmla="*/ 117 h 903"/>
                      <a:gd name="T74" fmla="*/ 237 w 924"/>
                      <a:gd name="T75" fmla="*/ 245 h 903"/>
                      <a:gd name="T76" fmla="*/ 269 w 924"/>
                      <a:gd name="T77" fmla="*/ 218 h 903"/>
                      <a:gd name="T78" fmla="*/ 363 w 924"/>
                      <a:gd name="T79" fmla="*/ 249 h 903"/>
                      <a:gd name="T80" fmla="*/ 365 w 924"/>
                      <a:gd name="T81" fmla="*/ 305 h 903"/>
                      <a:gd name="T82" fmla="*/ 342 w 924"/>
                      <a:gd name="T83" fmla="*/ 334 h 903"/>
                      <a:gd name="T84" fmla="*/ 238 w 924"/>
                      <a:gd name="T85" fmla="*/ 422 h 903"/>
                      <a:gd name="T86" fmla="*/ 161 w 924"/>
                      <a:gd name="T87" fmla="*/ 428 h 903"/>
                      <a:gd name="T88" fmla="*/ 200 w 924"/>
                      <a:gd name="T89" fmla="*/ 512 h 903"/>
                      <a:gd name="T90" fmla="*/ 398 w 924"/>
                      <a:gd name="T91" fmla="*/ 632 h 903"/>
                      <a:gd name="T92" fmla="*/ 264 w 924"/>
                      <a:gd name="T93" fmla="*/ 63 h 903"/>
                      <a:gd name="T94" fmla="*/ 244 w 924"/>
                      <a:gd name="T95" fmla="*/ 106 h 903"/>
                      <a:gd name="T96" fmla="*/ 270 w 924"/>
                      <a:gd name="T97" fmla="*/ 82 h 903"/>
                      <a:gd name="T98" fmla="*/ 270 w 924"/>
                      <a:gd name="T99" fmla="*/ 92 h 903"/>
                      <a:gd name="T100" fmla="*/ 349 w 924"/>
                      <a:gd name="T101" fmla="*/ 142 h 903"/>
                      <a:gd name="T102" fmla="*/ 357 w 924"/>
                      <a:gd name="T103" fmla="*/ 190 h 903"/>
                      <a:gd name="T104" fmla="*/ 278 w 924"/>
                      <a:gd name="T105" fmla="*/ 172 h 903"/>
                      <a:gd name="T106" fmla="*/ 282 w 924"/>
                      <a:gd name="T107" fmla="*/ 122 h 903"/>
                      <a:gd name="T108" fmla="*/ 733 w 924"/>
                      <a:gd name="T109" fmla="*/ 279 h 903"/>
                      <a:gd name="T110" fmla="*/ 715 w 924"/>
                      <a:gd name="T111" fmla="*/ 287 h 903"/>
                      <a:gd name="T112" fmla="*/ 832 w 924"/>
                      <a:gd name="T113" fmla="*/ 190 h 903"/>
                      <a:gd name="T114" fmla="*/ 838 w 924"/>
                      <a:gd name="T115" fmla="*/ 268 h 903"/>
                      <a:gd name="T116" fmla="*/ 779 w 924"/>
                      <a:gd name="T11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4" h="903">
                        <a:moveTo>
                          <a:pt x="760" y="823"/>
                        </a:moveTo>
                        <a:cubicBezTo>
                          <a:pt x="759" y="810"/>
                          <a:pt x="759" y="810"/>
                          <a:pt x="759" y="810"/>
                        </a:cubicBezTo>
                        <a:cubicBezTo>
                          <a:pt x="772" y="774"/>
                          <a:pt x="772" y="774"/>
                          <a:pt x="772" y="774"/>
                        </a:cubicBezTo>
                        <a:cubicBezTo>
                          <a:pt x="767" y="750"/>
                          <a:pt x="767" y="750"/>
                          <a:pt x="767" y="750"/>
                        </a:cubicBezTo>
                        <a:cubicBezTo>
                          <a:pt x="778" y="725"/>
                          <a:pt x="778" y="725"/>
                          <a:pt x="778" y="725"/>
                        </a:cubicBezTo>
                        <a:cubicBezTo>
                          <a:pt x="755" y="677"/>
                          <a:pt x="755" y="677"/>
                          <a:pt x="755" y="677"/>
                        </a:cubicBezTo>
                        <a:cubicBezTo>
                          <a:pt x="756" y="653"/>
                          <a:pt x="756" y="653"/>
                          <a:pt x="756" y="653"/>
                        </a:cubicBezTo>
                        <a:cubicBezTo>
                          <a:pt x="756" y="653"/>
                          <a:pt x="730" y="636"/>
                          <a:pt x="728" y="635"/>
                        </a:cubicBezTo>
                        <a:cubicBezTo>
                          <a:pt x="727" y="635"/>
                          <a:pt x="696" y="638"/>
                          <a:pt x="695" y="638"/>
                        </a:cubicBezTo>
                        <a:cubicBezTo>
                          <a:pt x="693" y="638"/>
                          <a:pt x="657" y="626"/>
                          <a:pt x="657" y="626"/>
                        </a:cubicBezTo>
                        <a:cubicBezTo>
                          <a:pt x="621" y="572"/>
                          <a:pt x="621" y="572"/>
                          <a:pt x="621" y="572"/>
                        </a:cubicBezTo>
                        <a:cubicBezTo>
                          <a:pt x="621" y="547"/>
                          <a:pt x="621" y="547"/>
                          <a:pt x="621" y="547"/>
                        </a:cubicBezTo>
                        <a:cubicBezTo>
                          <a:pt x="633" y="517"/>
                          <a:pt x="633" y="517"/>
                          <a:pt x="633" y="517"/>
                        </a:cubicBezTo>
                        <a:cubicBezTo>
                          <a:pt x="630" y="499"/>
                          <a:pt x="630" y="499"/>
                          <a:pt x="630" y="499"/>
                        </a:cubicBezTo>
                        <a:cubicBezTo>
                          <a:pt x="638" y="481"/>
                          <a:pt x="638" y="481"/>
                          <a:pt x="638" y="481"/>
                        </a:cubicBezTo>
                        <a:cubicBezTo>
                          <a:pt x="662" y="476"/>
                          <a:pt x="662" y="476"/>
                          <a:pt x="662" y="476"/>
                        </a:cubicBezTo>
                        <a:cubicBezTo>
                          <a:pt x="675" y="452"/>
                          <a:pt x="675" y="452"/>
                          <a:pt x="675" y="452"/>
                        </a:cubicBezTo>
                        <a:cubicBezTo>
                          <a:pt x="701" y="431"/>
                          <a:pt x="701" y="431"/>
                          <a:pt x="701" y="431"/>
                        </a:cubicBezTo>
                        <a:cubicBezTo>
                          <a:pt x="742" y="436"/>
                          <a:pt x="742" y="436"/>
                          <a:pt x="742" y="436"/>
                        </a:cubicBezTo>
                        <a:cubicBezTo>
                          <a:pt x="775" y="432"/>
                          <a:pt x="775" y="432"/>
                          <a:pt x="775" y="432"/>
                        </a:cubicBezTo>
                        <a:cubicBezTo>
                          <a:pt x="783" y="455"/>
                          <a:pt x="783" y="455"/>
                          <a:pt x="783" y="455"/>
                        </a:cubicBezTo>
                        <a:cubicBezTo>
                          <a:pt x="826" y="481"/>
                          <a:pt x="826" y="481"/>
                          <a:pt x="826" y="481"/>
                        </a:cubicBezTo>
                        <a:cubicBezTo>
                          <a:pt x="853" y="484"/>
                          <a:pt x="853" y="484"/>
                          <a:pt x="853" y="484"/>
                        </a:cubicBezTo>
                        <a:cubicBezTo>
                          <a:pt x="884" y="468"/>
                          <a:pt x="884" y="468"/>
                          <a:pt x="884" y="468"/>
                        </a:cubicBezTo>
                        <a:cubicBezTo>
                          <a:pt x="909" y="484"/>
                          <a:pt x="909" y="484"/>
                          <a:pt x="909" y="484"/>
                        </a:cubicBezTo>
                        <a:cubicBezTo>
                          <a:pt x="922" y="474"/>
                          <a:pt x="922" y="474"/>
                          <a:pt x="922" y="474"/>
                        </a:cubicBezTo>
                        <a:cubicBezTo>
                          <a:pt x="917" y="435"/>
                          <a:pt x="917" y="435"/>
                          <a:pt x="917" y="435"/>
                        </a:cubicBezTo>
                        <a:cubicBezTo>
                          <a:pt x="900" y="420"/>
                          <a:pt x="900" y="420"/>
                          <a:pt x="900" y="420"/>
                        </a:cubicBezTo>
                        <a:cubicBezTo>
                          <a:pt x="882" y="418"/>
                          <a:pt x="882" y="418"/>
                          <a:pt x="882" y="418"/>
                        </a:cubicBezTo>
                        <a:cubicBezTo>
                          <a:pt x="882" y="426"/>
                          <a:pt x="882" y="426"/>
                          <a:pt x="882" y="426"/>
                        </a:cubicBezTo>
                        <a:cubicBezTo>
                          <a:pt x="873" y="435"/>
                          <a:pt x="873" y="435"/>
                          <a:pt x="873" y="435"/>
                        </a:cubicBezTo>
                        <a:cubicBezTo>
                          <a:pt x="863" y="435"/>
                          <a:pt x="863" y="435"/>
                          <a:pt x="863" y="435"/>
                        </a:cubicBezTo>
                        <a:cubicBezTo>
                          <a:pt x="861" y="423"/>
                          <a:pt x="861" y="423"/>
                          <a:pt x="861" y="423"/>
                        </a:cubicBezTo>
                        <a:cubicBezTo>
                          <a:pt x="865" y="409"/>
                          <a:pt x="865" y="409"/>
                          <a:pt x="865" y="409"/>
                        </a:cubicBezTo>
                        <a:cubicBezTo>
                          <a:pt x="854" y="396"/>
                          <a:pt x="854" y="396"/>
                          <a:pt x="854" y="396"/>
                        </a:cubicBezTo>
                        <a:cubicBezTo>
                          <a:pt x="837" y="395"/>
                          <a:pt x="837" y="395"/>
                          <a:pt x="837" y="395"/>
                        </a:cubicBezTo>
                        <a:cubicBezTo>
                          <a:pt x="827" y="378"/>
                          <a:pt x="827" y="378"/>
                          <a:pt x="827" y="378"/>
                        </a:cubicBezTo>
                        <a:cubicBezTo>
                          <a:pt x="813" y="377"/>
                          <a:pt x="813" y="377"/>
                          <a:pt x="813" y="377"/>
                        </a:cubicBezTo>
                        <a:cubicBezTo>
                          <a:pt x="813" y="384"/>
                          <a:pt x="813" y="384"/>
                          <a:pt x="813" y="384"/>
                        </a:cubicBezTo>
                        <a:cubicBezTo>
                          <a:pt x="830" y="400"/>
                          <a:pt x="830" y="400"/>
                          <a:pt x="830" y="400"/>
                        </a:cubicBezTo>
                        <a:cubicBezTo>
                          <a:pt x="838" y="419"/>
                          <a:pt x="838" y="419"/>
                          <a:pt x="838" y="419"/>
                        </a:cubicBezTo>
                        <a:cubicBezTo>
                          <a:pt x="830" y="414"/>
                          <a:pt x="830" y="414"/>
                          <a:pt x="830" y="414"/>
                        </a:cubicBezTo>
                        <a:cubicBezTo>
                          <a:pt x="825" y="417"/>
                          <a:pt x="825" y="417"/>
                          <a:pt x="825" y="417"/>
                        </a:cubicBezTo>
                        <a:cubicBezTo>
                          <a:pt x="818" y="431"/>
                          <a:pt x="818" y="431"/>
                          <a:pt x="818" y="431"/>
                        </a:cubicBezTo>
                        <a:cubicBezTo>
                          <a:pt x="809" y="431"/>
                          <a:pt x="809" y="431"/>
                          <a:pt x="809" y="431"/>
                        </a:cubicBezTo>
                        <a:cubicBezTo>
                          <a:pt x="814" y="421"/>
                          <a:pt x="814" y="421"/>
                          <a:pt x="814" y="421"/>
                        </a:cubicBezTo>
                        <a:cubicBezTo>
                          <a:pt x="813" y="407"/>
                          <a:pt x="813" y="407"/>
                          <a:pt x="813" y="407"/>
                        </a:cubicBezTo>
                        <a:cubicBezTo>
                          <a:pt x="787" y="378"/>
                          <a:pt x="787" y="378"/>
                          <a:pt x="787" y="378"/>
                        </a:cubicBezTo>
                        <a:cubicBezTo>
                          <a:pt x="764" y="378"/>
                          <a:pt x="764" y="378"/>
                          <a:pt x="764" y="378"/>
                        </a:cubicBezTo>
                        <a:cubicBezTo>
                          <a:pt x="729" y="391"/>
                          <a:pt x="729" y="391"/>
                          <a:pt x="729" y="391"/>
                        </a:cubicBezTo>
                        <a:cubicBezTo>
                          <a:pt x="718" y="402"/>
                          <a:pt x="718" y="402"/>
                          <a:pt x="718" y="402"/>
                        </a:cubicBezTo>
                        <a:cubicBezTo>
                          <a:pt x="714" y="414"/>
                          <a:pt x="714" y="414"/>
                          <a:pt x="714" y="414"/>
                        </a:cubicBezTo>
                        <a:cubicBezTo>
                          <a:pt x="701" y="424"/>
                          <a:pt x="701" y="424"/>
                          <a:pt x="701" y="424"/>
                        </a:cubicBezTo>
                        <a:cubicBezTo>
                          <a:pt x="679" y="415"/>
                          <a:pt x="679" y="415"/>
                          <a:pt x="679" y="415"/>
                        </a:cubicBezTo>
                        <a:cubicBezTo>
                          <a:pt x="669" y="415"/>
                          <a:pt x="669" y="415"/>
                          <a:pt x="669" y="415"/>
                        </a:cubicBezTo>
                        <a:cubicBezTo>
                          <a:pt x="672" y="394"/>
                          <a:pt x="672" y="394"/>
                          <a:pt x="672" y="394"/>
                        </a:cubicBezTo>
                        <a:cubicBezTo>
                          <a:pt x="676" y="372"/>
                          <a:pt x="676" y="372"/>
                          <a:pt x="676" y="372"/>
                        </a:cubicBezTo>
                        <a:cubicBezTo>
                          <a:pt x="687" y="368"/>
                          <a:pt x="687" y="368"/>
                          <a:pt x="687" y="368"/>
                        </a:cubicBezTo>
                        <a:cubicBezTo>
                          <a:pt x="712" y="368"/>
                          <a:pt x="712" y="368"/>
                          <a:pt x="712" y="368"/>
                        </a:cubicBezTo>
                        <a:cubicBezTo>
                          <a:pt x="715" y="347"/>
                          <a:pt x="715" y="347"/>
                          <a:pt x="715" y="347"/>
                        </a:cubicBezTo>
                        <a:cubicBezTo>
                          <a:pt x="709" y="341"/>
                          <a:pt x="709" y="341"/>
                          <a:pt x="709" y="341"/>
                        </a:cubicBezTo>
                        <a:cubicBezTo>
                          <a:pt x="711" y="331"/>
                          <a:pt x="711" y="331"/>
                          <a:pt x="711" y="331"/>
                        </a:cubicBezTo>
                        <a:cubicBezTo>
                          <a:pt x="720" y="329"/>
                          <a:pt x="720" y="329"/>
                          <a:pt x="720" y="329"/>
                        </a:cubicBezTo>
                        <a:cubicBezTo>
                          <a:pt x="746" y="333"/>
                          <a:pt x="746" y="333"/>
                          <a:pt x="746" y="333"/>
                        </a:cubicBezTo>
                        <a:cubicBezTo>
                          <a:pt x="759" y="313"/>
                          <a:pt x="759" y="313"/>
                          <a:pt x="759" y="313"/>
                        </a:cubicBezTo>
                        <a:cubicBezTo>
                          <a:pt x="783" y="297"/>
                          <a:pt x="783" y="297"/>
                          <a:pt x="783" y="297"/>
                        </a:cubicBezTo>
                        <a:cubicBezTo>
                          <a:pt x="785" y="282"/>
                          <a:pt x="785" y="282"/>
                          <a:pt x="785" y="282"/>
                        </a:cubicBezTo>
                        <a:cubicBezTo>
                          <a:pt x="791" y="276"/>
                          <a:pt x="791" y="276"/>
                          <a:pt x="791" y="276"/>
                        </a:cubicBezTo>
                        <a:cubicBezTo>
                          <a:pt x="808" y="294"/>
                          <a:pt x="808" y="294"/>
                          <a:pt x="808" y="294"/>
                        </a:cubicBezTo>
                        <a:cubicBezTo>
                          <a:pt x="821" y="309"/>
                          <a:pt x="821" y="309"/>
                          <a:pt x="821" y="309"/>
                        </a:cubicBezTo>
                        <a:cubicBezTo>
                          <a:pt x="848" y="305"/>
                          <a:pt x="848" y="305"/>
                          <a:pt x="848" y="305"/>
                        </a:cubicBezTo>
                        <a:cubicBezTo>
                          <a:pt x="859" y="285"/>
                          <a:pt x="859" y="285"/>
                          <a:pt x="859" y="285"/>
                        </a:cubicBezTo>
                        <a:cubicBezTo>
                          <a:pt x="872" y="260"/>
                          <a:pt x="872" y="260"/>
                          <a:pt x="872" y="260"/>
                        </a:cubicBezTo>
                        <a:cubicBezTo>
                          <a:pt x="874" y="258"/>
                          <a:pt x="874" y="258"/>
                          <a:pt x="874" y="258"/>
                        </a:cubicBezTo>
                        <a:cubicBezTo>
                          <a:pt x="906" y="321"/>
                          <a:pt x="924" y="392"/>
                          <a:pt x="924" y="468"/>
                        </a:cubicBezTo>
                        <a:cubicBezTo>
                          <a:pt x="924" y="610"/>
                          <a:pt x="860" y="737"/>
                          <a:pt x="760" y="823"/>
                        </a:cubicBezTo>
                        <a:close/>
                        <a:moveTo>
                          <a:pt x="600" y="202"/>
                        </a:moveTo>
                        <a:cubicBezTo>
                          <a:pt x="598" y="192"/>
                          <a:pt x="598" y="192"/>
                          <a:pt x="598" y="192"/>
                        </a:cubicBezTo>
                        <a:cubicBezTo>
                          <a:pt x="606" y="193"/>
                          <a:pt x="606" y="193"/>
                          <a:pt x="606" y="193"/>
                        </a:cubicBezTo>
                        <a:cubicBezTo>
                          <a:pt x="620" y="176"/>
                          <a:pt x="620" y="176"/>
                          <a:pt x="620" y="176"/>
                        </a:cubicBezTo>
                        <a:cubicBezTo>
                          <a:pt x="639" y="179"/>
                          <a:pt x="639" y="179"/>
                          <a:pt x="639" y="179"/>
                        </a:cubicBezTo>
                        <a:cubicBezTo>
                          <a:pt x="647" y="184"/>
                          <a:pt x="647" y="184"/>
                          <a:pt x="647" y="184"/>
                        </a:cubicBezTo>
                        <a:cubicBezTo>
                          <a:pt x="657" y="176"/>
                          <a:pt x="657" y="176"/>
                          <a:pt x="657" y="176"/>
                        </a:cubicBezTo>
                        <a:cubicBezTo>
                          <a:pt x="665" y="190"/>
                          <a:pt x="665" y="190"/>
                          <a:pt x="665" y="190"/>
                        </a:cubicBezTo>
                        <a:cubicBezTo>
                          <a:pt x="655" y="200"/>
                          <a:pt x="655" y="200"/>
                          <a:pt x="655" y="200"/>
                        </a:cubicBezTo>
                        <a:cubicBezTo>
                          <a:pt x="635" y="210"/>
                          <a:pt x="635" y="210"/>
                          <a:pt x="635" y="210"/>
                        </a:cubicBezTo>
                        <a:cubicBezTo>
                          <a:pt x="621" y="210"/>
                          <a:pt x="621" y="210"/>
                          <a:pt x="621" y="210"/>
                        </a:cubicBezTo>
                        <a:cubicBezTo>
                          <a:pt x="609" y="201"/>
                          <a:pt x="609" y="201"/>
                          <a:pt x="609" y="201"/>
                        </a:cubicBezTo>
                        <a:lnTo>
                          <a:pt x="600" y="202"/>
                        </a:lnTo>
                        <a:close/>
                        <a:moveTo>
                          <a:pt x="557" y="154"/>
                        </a:moveTo>
                        <a:cubicBezTo>
                          <a:pt x="538" y="171"/>
                          <a:pt x="538" y="171"/>
                          <a:pt x="538" y="171"/>
                        </a:cubicBezTo>
                        <a:cubicBezTo>
                          <a:pt x="506" y="174"/>
                          <a:pt x="506" y="174"/>
                          <a:pt x="506" y="174"/>
                        </a:cubicBezTo>
                        <a:cubicBezTo>
                          <a:pt x="474" y="219"/>
                          <a:pt x="474" y="219"/>
                          <a:pt x="474" y="219"/>
                        </a:cubicBezTo>
                        <a:cubicBezTo>
                          <a:pt x="474" y="219"/>
                          <a:pt x="458" y="221"/>
                          <a:pt x="457" y="221"/>
                        </a:cubicBezTo>
                        <a:cubicBezTo>
                          <a:pt x="456" y="220"/>
                          <a:pt x="434" y="185"/>
                          <a:pt x="434" y="185"/>
                        </a:cubicBezTo>
                        <a:cubicBezTo>
                          <a:pt x="431" y="163"/>
                          <a:pt x="431" y="163"/>
                          <a:pt x="431" y="163"/>
                        </a:cubicBezTo>
                        <a:cubicBezTo>
                          <a:pt x="451" y="148"/>
                          <a:pt x="451" y="148"/>
                          <a:pt x="451" y="148"/>
                        </a:cubicBezTo>
                        <a:cubicBezTo>
                          <a:pt x="451" y="138"/>
                          <a:pt x="451" y="138"/>
                          <a:pt x="451" y="138"/>
                        </a:cubicBezTo>
                        <a:cubicBezTo>
                          <a:pt x="429" y="118"/>
                          <a:pt x="429" y="118"/>
                          <a:pt x="429" y="118"/>
                        </a:cubicBezTo>
                        <a:cubicBezTo>
                          <a:pt x="427" y="107"/>
                          <a:pt x="427" y="107"/>
                          <a:pt x="427" y="107"/>
                        </a:cubicBezTo>
                        <a:cubicBezTo>
                          <a:pt x="411" y="106"/>
                          <a:pt x="411" y="106"/>
                          <a:pt x="411" y="106"/>
                        </a:cubicBezTo>
                        <a:cubicBezTo>
                          <a:pt x="406" y="65"/>
                          <a:pt x="406" y="65"/>
                          <a:pt x="406" y="65"/>
                        </a:cubicBezTo>
                        <a:cubicBezTo>
                          <a:pt x="393" y="67"/>
                          <a:pt x="393" y="67"/>
                          <a:pt x="393" y="67"/>
                        </a:cubicBezTo>
                        <a:cubicBezTo>
                          <a:pt x="348" y="56"/>
                          <a:pt x="348" y="56"/>
                          <a:pt x="348" y="56"/>
                        </a:cubicBezTo>
                        <a:cubicBezTo>
                          <a:pt x="353" y="41"/>
                          <a:pt x="353" y="41"/>
                          <a:pt x="353" y="41"/>
                        </a:cubicBezTo>
                        <a:cubicBezTo>
                          <a:pt x="333" y="28"/>
                          <a:pt x="333" y="28"/>
                          <a:pt x="333" y="28"/>
                        </a:cubicBezTo>
                        <a:cubicBezTo>
                          <a:pt x="322" y="19"/>
                          <a:pt x="322" y="19"/>
                          <a:pt x="322" y="19"/>
                        </a:cubicBezTo>
                        <a:cubicBezTo>
                          <a:pt x="365" y="6"/>
                          <a:pt x="409" y="0"/>
                          <a:pt x="455" y="0"/>
                        </a:cubicBezTo>
                        <a:cubicBezTo>
                          <a:pt x="524" y="0"/>
                          <a:pt x="588" y="15"/>
                          <a:pt x="647" y="41"/>
                        </a:cubicBezTo>
                        <a:cubicBezTo>
                          <a:pt x="643" y="56"/>
                          <a:pt x="643" y="56"/>
                          <a:pt x="643" y="56"/>
                        </a:cubicBezTo>
                        <a:cubicBezTo>
                          <a:pt x="622" y="69"/>
                          <a:pt x="622" y="69"/>
                          <a:pt x="622" y="69"/>
                        </a:cubicBezTo>
                        <a:cubicBezTo>
                          <a:pt x="620" y="77"/>
                          <a:pt x="620" y="77"/>
                          <a:pt x="620" y="77"/>
                        </a:cubicBezTo>
                        <a:cubicBezTo>
                          <a:pt x="629" y="83"/>
                          <a:pt x="629" y="83"/>
                          <a:pt x="629" y="83"/>
                        </a:cubicBezTo>
                        <a:cubicBezTo>
                          <a:pt x="615" y="97"/>
                          <a:pt x="615" y="97"/>
                          <a:pt x="615" y="97"/>
                        </a:cubicBezTo>
                        <a:cubicBezTo>
                          <a:pt x="587" y="99"/>
                          <a:pt x="587" y="99"/>
                          <a:pt x="587" y="99"/>
                        </a:cubicBezTo>
                        <a:cubicBezTo>
                          <a:pt x="585" y="111"/>
                          <a:pt x="585" y="111"/>
                          <a:pt x="585" y="111"/>
                        </a:cubicBezTo>
                        <a:cubicBezTo>
                          <a:pt x="609" y="112"/>
                          <a:pt x="609" y="112"/>
                          <a:pt x="609" y="112"/>
                        </a:cubicBezTo>
                        <a:cubicBezTo>
                          <a:pt x="617" y="124"/>
                          <a:pt x="617" y="124"/>
                          <a:pt x="617" y="124"/>
                        </a:cubicBezTo>
                        <a:cubicBezTo>
                          <a:pt x="604" y="130"/>
                          <a:pt x="604" y="130"/>
                          <a:pt x="604" y="130"/>
                        </a:cubicBezTo>
                        <a:cubicBezTo>
                          <a:pt x="585" y="133"/>
                          <a:pt x="585" y="133"/>
                          <a:pt x="585" y="133"/>
                        </a:cubicBezTo>
                        <a:cubicBezTo>
                          <a:pt x="584" y="143"/>
                          <a:pt x="584" y="143"/>
                          <a:pt x="584" y="143"/>
                        </a:cubicBezTo>
                        <a:cubicBezTo>
                          <a:pt x="598" y="146"/>
                          <a:pt x="598" y="146"/>
                          <a:pt x="598" y="146"/>
                        </a:cubicBezTo>
                        <a:cubicBezTo>
                          <a:pt x="592" y="156"/>
                          <a:pt x="592" y="156"/>
                          <a:pt x="592" y="156"/>
                        </a:cubicBezTo>
                        <a:lnTo>
                          <a:pt x="557" y="154"/>
                        </a:lnTo>
                        <a:close/>
                        <a:moveTo>
                          <a:pt x="268" y="503"/>
                        </a:moveTo>
                        <a:cubicBezTo>
                          <a:pt x="250" y="499"/>
                          <a:pt x="250" y="499"/>
                          <a:pt x="250" y="499"/>
                        </a:cubicBezTo>
                        <a:cubicBezTo>
                          <a:pt x="227" y="476"/>
                          <a:pt x="227" y="476"/>
                          <a:pt x="227" y="476"/>
                        </a:cubicBezTo>
                        <a:cubicBezTo>
                          <a:pt x="227" y="476"/>
                          <a:pt x="231" y="463"/>
                          <a:pt x="234" y="465"/>
                        </a:cubicBezTo>
                        <a:cubicBezTo>
                          <a:pt x="237" y="467"/>
                          <a:pt x="265" y="485"/>
                          <a:pt x="265" y="485"/>
                        </a:cubicBezTo>
                        <a:lnTo>
                          <a:pt x="268" y="503"/>
                        </a:lnTo>
                        <a:close/>
                        <a:moveTo>
                          <a:pt x="298" y="503"/>
                        </a:moveTo>
                        <a:cubicBezTo>
                          <a:pt x="290" y="507"/>
                          <a:pt x="290" y="507"/>
                          <a:pt x="290" y="507"/>
                        </a:cubicBezTo>
                        <a:cubicBezTo>
                          <a:pt x="282" y="507"/>
                          <a:pt x="282" y="507"/>
                          <a:pt x="282" y="507"/>
                        </a:cubicBezTo>
                        <a:cubicBezTo>
                          <a:pt x="282" y="496"/>
                          <a:pt x="282" y="496"/>
                          <a:pt x="282" y="496"/>
                        </a:cubicBezTo>
                        <a:cubicBezTo>
                          <a:pt x="294" y="496"/>
                          <a:pt x="294" y="496"/>
                          <a:pt x="294" y="496"/>
                        </a:cubicBezTo>
                        <a:lnTo>
                          <a:pt x="298" y="503"/>
                        </a:lnTo>
                        <a:close/>
                        <a:moveTo>
                          <a:pt x="402" y="320"/>
                        </a:moveTo>
                        <a:cubicBezTo>
                          <a:pt x="417" y="320"/>
                          <a:pt x="417" y="320"/>
                          <a:pt x="417" y="320"/>
                        </a:cubicBezTo>
                        <a:cubicBezTo>
                          <a:pt x="429" y="336"/>
                          <a:pt x="429" y="336"/>
                          <a:pt x="429" y="336"/>
                        </a:cubicBezTo>
                        <a:cubicBezTo>
                          <a:pt x="415" y="341"/>
                          <a:pt x="415" y="341"/>
                          <a:pt x="415" y="341"/>
                        </a:cubicBezTo>
                        <a:cubicBezTo>
                          <a:pt x="403" y="341"/>
                          <a:pt x="403" y="341"/>
                          <a:pt x="403" y="341"/>
                        </a:cubicBezTo>
                        <a:cubicBezTo>
                          <a:pt x="398" y="331"/>
                          <a:pt x="398" y="331"/>
                          <a:pt x="398" y="331"/>
                        </a:cubicBezTo>
                        <a:lnTo>
                          <a:pt x="402" y="320"/>
                        </a:lnTo>
                        <a:close/>
                        <a:moveTo>
                          <a:pt x="242" y="170"/>
                        </a:moveTo>
                        <a:cubicBezTo>
                          <a:pt x="242" y="179"/>
                          <a:pt x="242" y="179"/>
                          <a:pt x="242" y="179"/>
                        </a:cubicBezTo>
                        <a:cubicBezTo>
                          <a:pt x="230" y="178"/>
                          <a:pt x="230" y="178"/>
                          <a:pt x="230" y="178"/>
                        </a:cubicBezTo>
                        <a:cubicBezTo>
                          <a:pt x="227" y="170"/>
                          <a:pt x="227" y="170"/>
                          <a:pt x="227" y="170"/>
                        </a:cubicBezTo>
                        <a:cubicBezTo>
                          <a:pt x="234" y="163"/>
                          <a:pt x="234" y="163"/>
                          <a:pt x="234" y="163"/>
                        </a:cubicBezTo>
                        <a:lnTo>
                          <a:pt x="242" y="170"/>
                        </a:lnTo>
                        <a:close/>
                        <a:moveTo>
                          <a:pt x="440" y="765"/>
                        </a:moveTo>
                        <a:cubicBezTo>
                          <a:pt x="363" y="807"/>
                          <a:pt x="363" y="807"/>
                          <a:pt x="363" y="807"/>
                        </a:cubicBezTo>
                        <a:cubicBezTo>
                          <a:pt x="363" y="838"/>
                          <a:pt x="363" y="838"/>
                          <a:pt x="363" y="838"/>
                        </a:cubicBezTo>
                        <a:cubicBezTo>
                          <a:pt x="329" y="870"/>
                          <a:pt x="329" y="870"/>
                          <a:pt x="329" y="870"/>
                        </a:cubicBezTo>
                        <a:cubicBezTo>
                          <a:pt x="303" y="880"/>
                          <a:pt x="303" y="880"/>
                          <a:pt x="303" y="880"/>
                        </a:cubicBezTo>
                        <a:cubicBezTo>
                          <a:pt x="281" y="903"/>
                          <a:pt x="281" y="903"/>
                          <a:pt x="281" y="903"/>
                        </a:cubicBezTo>
                        <a:cubicBezTo>
                          <a:pt x="272" y="899"/>
                          <a:pt x="262" y="895"/>
                          <a:pt x="253" y="891"/>
                        </a:cubicBezTo>
                        <a:cubicBezTo>
                          <a:pt x="253" y="869"/>
                          <a:pt x="253" y="869"/>
                          <a:pt x="253" y="869"/>
                        </a:cubicBezTo>
                        <a:cubicBezTo>
                          <a:pt x="257" y="787"/>
                          <a:pt x="257" y="787"/>
                          <a:pt x="257" y="787"/>
                        </a:cubicBezTo>
                        <a:cubicBezTo>
                          <a:pt x="274" y="763"/>
                          <a:pt x="274" y="763"/>
                          <a:pt x="274" y="763"/>
                        </a:cubicBezTo>
                        <a:cubicBezTo>
                          <a:pt x="276" y="718"/>
                          <a:pt x="276" y="718"/>
                          <a:pt x="276" y="718"/>
                        </a:cubicBezTo>
                        <a:cubicBezTo>
                          <a:pt x="246" y="703"/>
                          <a:pt x="246" y="703"/>
                          <a:pt x="246" y="703"/>
                        </a:cubicBezTo>
                        <a:cubicBezTo>
                          <a:pt x="238" y="686"/>
                          <a:pt x="238" y="686"/>
                          <a:pt x="238" y="686"/>
                        </a:cubicBezTo>
                        <a:cubicBezTo>
                          <a:pt x="231" y="674"/>
                          <a:pt x="231" y="674"/>
                          <a:pt x="231" y="674"/>
                        </a:cubicBezTo>
                        <a:cubicBezTo>
                          <a:pt x="215" y="653"/>
                          <a:pt x="215" y="653"/>
                          <a:pt x="215" y="653"/>
                        </a:cubicBezTo>
                        <a:cubicBezTo>
                          <a:pt x="226" y="643"/>
                          <a:pt x="226" y="643"/>
                          <a:pt x="226" y="643"/>
                        </a:cubicBezTo>
                        <a:cubicBezTo>
                          <a:pt x="227" y="605"/>
                          <a:pt x="227" y="605"/>
                          <a:pt x="227" y="605"/>
                        </a:cubicBezTo>
                        <a:cubicBezTo>
                          <a:pt x="238" y="595"/>
                          <a:pt x="238" y="595"/>
                          <a:pt x="238" y="595"/>
                        </a:cubicBezTo>
                        <a:cubicBezTo>
                          <a:pt x="238" y="578"/>
                          <a:pt x="238" y="578"/>
                          <a:pt x="238" y="578"/>
                        </a:cubicBezTo>
                        <a:cubicBezTo>
                          <a:pt x="213" y="562"/>
                          <a:pt x="213" y="562"/>
                          <a:pt x="213" y="562"/>
                        </a:cubicBezTo>
                        <a:cubicBezTo>
                          <a:pt x="176" y="524"/>
                          <a:pt x="176" y="524"/>
                          <a:pt x="176" y="524"/>
                        </a:cubicBezTo>
                        <a:cubicBezTo>
                          <a:pt x="146" y="513"/>
                          <a:pt x="146" y="513"/>
                          <a:pt x="146" y="513"/>
                        </a:cubicBezTo>
                        <a:cubicBezTo>
                          <a:pt x="87" y="478"/>
                          <a:pt x="87" y="478"/>
                          <a:pt x="87" y="478"/>
                        </a:cubicBezTo>
                        <a:cubicBezTo>
                          <a:pt x="72" y="437"/>
                          <a:pt x="72" y="437"/>
                          <a:pt x="72" y="437"/>
                        </a:cubicBezTo>
                        <a:cubicBezTo>
                          <a:pt x="50" y="425"/>
                          <a:pt x="50" y="425"/>
                          <a:pt x="50" y="425"/>
                        </a:cubicBezTo>
                        <a:cubicBezTo>
                          <a:pt x="49" y="433"/>
                          <a:pt x="49" y="433"/>
                          <a:pt x="49" y="433"/>
                        </a:cubicBezTo>
                        <a:cubicBezTo>
                          <a:pt x="30" y="410"/>
                          <a:pt x="30" y="410"/>
                          <a:pt x="30" y="410"/>
                        </a:cubicBezTo>
                        <a:cubicBezTo>
                          <a:pt x="0" y="359"/>
                          <a:pt x="0" y="359"/>
                          <a:pt x="0" y="359"/>
                        </a:cubicBezTo>
                        <a:cubicBezTo>
                          <a:pt x="21" y="269"/>
                          <a:pt x="68" y="190"/>
                          <a:pt x="132" y="129"/>
                        </a:cubicBezTo>
                        <a:cubicBezTo>
                          <a:pt x="161" y="125"/>
                          <a:pt x="161" y="125"/>
                          <a:pt x="161" y="125"/>
                        </a:cubicBezTo>
                        <a:cubicBezTo>
                          <a:pt x="185" y="106"/>
                          <a:pt x="185" y="106"/>
                          <a:pt x="185" y="106"/>
                        </a:cubicBezTo>
                        <a:cubicBezTo>
                          <a:pt x="198" y="106"/>
                          <a:pt x="198" y="106"/>
                          <a:pt x="198" y="106"/>
                        </a:cubicBezTo>
                        <a:cubicBezTo>
                          <a:pt x="200" y="122"/>
                          <a:pt x="200" y="122"/>
                          <a:pt x="200" y="122"/>
                        </a:cubicBezTo>
                        <a:cubicBezTo>
                          <a:pt x="211" y="124"/>
                          <a:pt x="211" y="124"/>
                          <a:pt x="211" y="124"/>
                        </a:cubicBezTo>
                        <a:cubicBezTo>
                          <a:pt x="217" y="117"/>
                          <a:pt x="217" y="117"/>
                          <a:pt x="217" y="117"/>
                        </a:cubicBezTo>
                        <a:cubicBezTo>
                          <a:pt x="237" y="117"/>
                          <a:pt x="237" y="117"/>
                          <a:pt x="237" y="117"/>
                        </a:cubicBezTo>
                        <a:cubicBezTo>
                          <a:pt x="253" y="140"/>
                          <a:pt x="253" y="140"/>
                          <a:pt x="253" y="140"/>
                        </a:cubicBezTo>
                        <a:cubicBezTo>
                          <a:pt x="196" y="172"/>
                          <a:pt x="196" y="172"/>
                          <a:pt x="196" y="172"/>
                        </a:cubicBezTo>
                        <a:cubicBezTo>
                          <a:pt x="180" y="195"/>
                          <a:pt x="180" y="195"/>
                          <a:pt x="180" y="195"/>
                        </a:cubicBezTo>
                        <a:cubicBezTo>
                          <a:pt x="210" y="240"/>
                          <a:pt x="210" y="240"/>
                          <a:pt x="210" y="240"/>
                        </a:cubicBezTo>
                        <a:cubicBezTo>
                          <a:pt x="237" y="245"/>
                          <a:pt x="237" y="245"/>
                          <a:pt x="237" y="245"/>
                        </a:cubicBezTo>
                        <a:cubicBezTo>
                          <a:pt x="248" y="273"/>
                          <a:pt x="248" y="273"/>
                          <a:pt x="248" y="273"/>
                        </a:cubicBezTo>
                        <a:cubicBezTo>
                          <a:pt x="257" y="263"/>
                          <a:pt x="257" y="263"/>
                          <a:pt x="257" y="263"/>
                        </a:cubicBezTo>
                        <a:cubicBezTo>
                          <a:pt x="264" y="250"/>
                          <a:pt x="264" y="250"/>
                          <a:pt x="264" y="250"/>
                        </a:cubicBezTo>
                        <a:cubicBezTo>
                          <a:pt x="279" y="242"/>
                          <a:pt x="279" y="242"/>
                          <a:pt x="279" y="242"/>
                        </a:cubicBezTo>
                        <a:cubicBezTo>
                          <a:pt x="269" y="218"/>
                          <a:pt x="269" y="218"/>
                          <a:pt x="269" y="218"/>
                        </a:cubicBezTo>
                        <a:cubicBezTo>
                          <a:pt x="267" y="195"/>
                          <a:pt x="267" y="195"/>
                          <a:pt x="267" y="195"/>
                        </a:cubicBezTo>
                        <a:cubicBezTo>
                          <a:pt x="313" y="203"/>
                          <a:pt x="313" y="203"/>
                          <a:pt x="313" y="203"/>
                        </a:cubicBezTo>
                        <a:cubicBezTo>
                          <a:pt x="329" y="228"/>
                          <a:pt x="329" y="228"/>
                          <a:pt x="329" y="228"/>
                        </a:cubicBezTo>
                        <a:cubicBezTo>
                          <a:pt x="354" y="219"/>
                          <a:pt x="354" y="219"/>
                          <a:pt x="354" y="219"/>
                        </a:cubicBezTo>
                        <a:cubicBezTo>
                          <a:pt x="363" y="249"/>
                          <a:pt x="363" y="249"/>
                          <a:pt x="363" y="249"/>
                        </a:cubicBezTo>
                        <a:cubicBezTo>
                          <a:pt x="381" y="249"/>
                          <a:pt x="381" y="249"/>
                          <a:pt x="381" y="249"/>
                        </a:cubicBezTo>
                        <a:cubicBezTo>
                          <a:pt x="384" y="276"/>
                          <a:pt x="384" y="276"/>
                          <a:pt x="384" y="276"/>
                        </a:cubicBezTo>
                        <a:cubicBezTo>
                          <a:pt x="402" y="276"/>
                          <a:pt x="402" y="276"/>
                          <a:pt x="402" y="276"/>
                        </a:cubicBezTo>
                        <a:cubicBezTo>
                          <a:pt x="398" y="314"/>
                          <a:pt x="398" y="314"/>
                          <a:pt x="398" y="314"/>
                        </a:cubicBezTo>
                        <a:cubicBezTo>
                          <a:pt x="365" y="305"/>
                          <a:pt x="365" y="305"/>
                          <a:pt x="365" y="305"/>
                        </a:cubicBezTo>
                        <a:cubicBezTo>
                          <a:pt x="352" y="288"/>
                          <a:pt x="352" y="288"/>
                          <a:pt x="352" y="288"/>
                        </a:cubicBezTo>
                        <a:cubicBezTo>
                          <a:pt x="327" y="309"/>
                          <a:pt x="327" y="309"/>
                          <a:pt x="327" y="309"/>
                        </a:cubicBezTo>
                        <a:cubicBezTo>
                          <a:pt x="342" y="309"/>
                          <a:pt x="342" y="309"/>
                          <a:pt x="342" y="309"/>
                        </a:cubicBezTo>
                        <a:cubicBezTo>
                          <a:pt x="358" y="334"/>
                          <a:pt x="358" y="334"/>
                          <a:pt x="358" y="334"/>
                        </a:cubicBezTo>
                        <a:cubicBezTo>
                          <a:pt x="342" y="334"/>
                          <a:pt x="342" y="334"/>
                          <a:pt x="342" y="334"/>
                        </a:cubicBezTo>
                        <a:cubicBezTo>
                          <a:pt x="323" y="334"/>
                          <a:pt x="323" y="334"/>
                          <a:pt x="323" y="334"/>
                        </a:cubicBezTo>
                        <a:cubicBezTo>
                          <a:pt x="304" y="361"/>
                          <a:pt x="304" y="361"/>
                          <a:pt x="304" y="361"/>
                        </a:cubicBezTo>
                        <a:cubicBezTo>
                          <a:pt x="265" y="372"/>
                          <a:pt x="265" y="372"/>
                          <a:pt x="265" y="372"/>
                        </a:cubicBezTo>
                        <a:cubicBezTo>
                          <a:pt x="262" y="399"/>
                          <a:pt x="262" y="399"/>
                          <a:pt x="262" y="399"/>
                        </a:cubicBezTo>
                        <a:cubicBezTo>
                          <a:pt x="238" y="422"/>
                          <a:pt x="238" y="422"/>
                          <a:pt x="238" y="422"/>
                        </a:cubicBezTo>
                        <a:cubicBezTo>
                          <a:pt x="240" y="449"/>
                          <a:pt x="240" y="449"/>
                          <a:pt x="240" y="449"/>
                        </a:cubicBezTo>
                        <a:cubicBezTo>
                          <a:pt x="231" y="453"/>
                          <a:pt x="231" y="453"/>
                          <a:pt x="231" y="453"/>
                        </a:cubicBezTo>
                        <a:cubicBezTo>
                          <a:pt x="206" y="422"/>
                          <a:pt x="206" y="422"/>
                          <a:pt x="206" y="422"/>
                        </a:cubicBezTo>
                        <a:cubicBezTo>
                          <a:pt x="184" y="428"/>
                          <a:pt x="184" y="428"/>
                          <a:pt x="184" y="428"/>
                        </a:cubicBezTo>
                        <a:cubicBezTo>
                          <a:pt x="161" y="428"/>
                          <a:pt x="161" y="428"/>
                          <a:pt x="161" y="428"/>
                        </a:cubicBezTo>
                        <a:cubicBezTo>
                          <a:pt x="138" y="442"/>
                          <a:pt x="138" y="442"/>
                          <a:pt x="138" y="442"/>
                        </a:cubicBezTo>
                        <a:cubicBezTo>
                          <a:pt x="141" y="478"/>
                          <a:pt x="141" y="478"/>
                          <a:pt x="141" y="478"/>
                        </a:cubicBezTo>
                        <a:cubicBezTo>
                          <a:pt x="165" y="486"/>
                          <a:pt x="165" y="486"/>
                          <a:pt x="165" y="486"/>
                        </a:cubicBezTo>
                        <a:cubicBezTo>
                          <a:pt x="181" y="478"/>
                          <a:pt x="181" y="478"/>
                          <a:pt x="181" y="478"/>
                        </a:cubicBezTo>
                        <a:cubicBezTo>
                          <a:pt x="200" y="512"/>
                          <a:pt x="200" y="512"/>
                          <a:pt x="200" y="512"/>
                        </a:cubicBezTo>
                        <a:cubicBezTo>
                          <a:pt x="234" y="544"/>
                          <a:pt x="234" y="544"/>
                          <a:pt x="234" y="544"/>
                        </a:cubicBezTo>
                        <a:cubicBezTo>
                          <a:pt x="335" y="549"/>
                          <a:pt x="335" y="549"/>
                          <a:pt x="335" y="549"/>
                        </a:cubicBezTo>
                        <a:cubicBezTo>
                          <a:pt x="369" y="584"/>
                          <a:pt x="369" y="584"/>
                          <a:pt x="369" y="584"/>
                        </a:cubicBezTo>
                        <a:cubicBezTo>
                          <a:pt x="394" y="607"/>
                          <a:pt x="394" y="607"/>
                          <a:pt x="394" y="607"/>
                        </a:cubicBezTo>
                        <a:cubicBezTo>
                          <a:pt x="398" y="632"/>
                          <a:pt x="398" y="632"/>
                          <a:pt x="398" y="632"/>
                        </a:cubicBezTo>
                        <a:cubicBezTo>
                          <a:pt x="436" y="633"/>
                          <a:pt x="436" y="633"/>
                          <a:pt x="436" y="633"/>
                        </a:cubicBezTo>
                        <a:cubicBezTo>
                          <a:pt x="492" y="668"/>
                          <a:pt x="492" y="668"/>
                          <a:pt x="492" y="668"/>
                        </a:cubicBezTo>
                        <a:lnTo>
                          <a:pt x="440" y="765"/>
                        </a:lnTo>
                        <a:close/>
                        <a:moveTo>
                          <a:pt x="261" y="43"/>
                        </a:moveTo>
                        <a:cubicBezTo>
                          <a:pt x="264" y="63"/>
                          <a:pt x="264" y="63"/>
                          <a:pt x="264" y="63"/>
                        </a:cubicBezTo>
                        <a:cubicBezTo>
                          <a:pt x="249" y="77"/>
                          <a:pt x="249" y="77"/>
                          <a:pt x="249" y="77"/>
                        </a:cubicBezTo>
                        <a:cubicBezTo>
                          <a:pt x="242" y="93"/>
                          <a:pt x="242" y="93"/>
                          <a:pt x="242" y="93"/>
                        </a:cubicBezTo>
                        <a:cubicBezTo>
                          <a:pt x="255" y="93"/>
                          <a:pt x="255" y="93"/>
                          <a:pt x="255" y="93"/>
                        </a:cubicBezTo>
                        <a:cubicBezTo>
                          <a:pt x="260" y="97"/>
                          <a:pt x="260" y="97"/>
                          <a:pt x="260" y="97"/>
                        </a:cubicBezTo>
                        <a:cubicBezTo>
                          <a:pt x="244" y="106"/>
                          <a:pt x="244" y="106"/>
                          <a:pt x="244" y="106"/>
                        </a:cubicBezTo>
                        <a:cubicBezTo>
                          <a:pt x="208" y="106"/>
                          <a:pt x="208" y="106"/>
                          <a:pt x="208" y="106"/>
                        </a:cubicBezTo>
                        <a:cubicBezTo>
                          <a:pt x="204" y="81"/>
                          <a:pt x="204" y="81"/>
                          <a:pt x="204" y="81"/>
                        </a:cubicBezTo>
                        <a:cubicBezTo>
                          <a:pt x="204" y="81"/>
                          <a:pt x="202" y="79"/>
                          <a:pt x="200" y="75"/>
                        </a:cubicBezTo>
                        <a:cubicBezTo>
                          <a:pt x="219" y="63"/>
                          <a:pt x="240" y="52"/>
                          <a:pt x="261" y="43"/>
                        </a:cubicBezTo>
                        <a:close/>
                        <a:moveTo>
                          <a:pt x="270" y="82"/>
                        </a:moveTo>
                        <a:cubicBezTo>
                          <a:pt x="276" y="77"/>
                          <a:pt x="276" y="77"/>
                          <a:pt x="276" y="77"/>
                        </a:cubicBezTo>
                        <a:cubicBezTo>
                          <a:pt x="285" y="88"/>
                          <a:pt x="285" y="88"/>
                          <a:pt x="285" y="88"/>
                        </a:cubicBezTo>
                        <a:cubicBezTo>
                          <a:pt x="285" y="100"/>
                          <a:pt x="285" y="100"/>
                          <a:pt x="285" y="100"/>
                        </a:cubicBezTo>
                        <a:cubicBezTo>
                          <a:pt x="278" y="100"/>
                          <a:pt x="278" y="100"/>
                          <a:pt x="278" y="100"/>
                        </a:cubicBezTo>
                        <a:cubicBezTo>
                          <a:pt x="270" y="92"/>
                          <a:pt x="270" y="92"/>
                          <a:pt x="270" y="92"/>
                        </a:cubicBezTo>
                        <a:lnTo>
                          <a:pt x="270" y="82"/>
                        </a:lnTo>
                        <a:close/>
                        <a:moveTo>
                          <a:pt x="313" y="101"/>
                        </a:moveTo>
                        <a:cubicBezTo>
                          <a:pt x="333" y="113"/>
                          <a:pt x="333" y="113"/>
                          <a:pt x="333" y="113"/>
                        </a:cubicBezTo>
                        <a:cubicBezTo>
                          <a:pt x="336" y="124"/>
                          <a:pt x="336" y="124"/>
                          <a:pt x="336" y="124"/>
                        </a:cubicBezTo>
                        <a:cubicBezTo>
                          <a:pt x="349" y="142"/>
                          <a:pt x="349" y="142"/>
                          <a:pt x="349" y="142"/>
                        </a:cubicBezTo>
                        <a:cubicBezTo>
                          <a:pt x="375" y="161"/>
                          <a:pt x="375" y="161"/>
                          <a:pt x="375" y="161"/>
                        </a:cubicBezTo>
                        <a:cubicBezTo>
                          <a:pt x="366" y="169"/>
                          <a:pt x="366" y="169"/>
                          <a:pt x="366" y="169"/>
                        </a:cubicBezTo>
                        <a:cubicBezTo>
                          <a:pt x="353" y="161"/>
                          <a:pt x="353" y="161"/>
                          <a:pt x="353" y="161"/>
                        </a:cubicBezTo>
                        <a:cubicBezTo>
                          <a:pt x="344" y="173"/>
                          <a:pt x="344" y="173"/>
                          <a:pt x="344" y="173"/>
                        </a:cubicBezTo>
                        <a:cubicBezTo>
                          <a:pt x="357" y="190"/>
                          <a:pt x="357" y="190"/>
                          <a:pt x="357" y="190"/>
                        </a:cubicBezTo>
                        <a:cubicBezTo>
                          <a:pt x="340" y="193"/>
                          <a:pt x="340" y="193"/>
                          <a:pt x="340" y="193"/>
                        </a:cubicBezTo>
                        <a:cubicBezTo>
                          <a:pt x="336" y="206"/>
                          <a:pt x="336" y="206"/>
                          <a:pt x="336" y="206"/>
                        </a:cubicBezTo>
                        <a:cubicBezTo>
                          <a:pt x="326" y="206"/>
                          <a:pt x="326" y="206"/>
                          <a:pt x="326" y="206"/>
                        </a:cubicBezTo>
                        <a:cubicBezTo>
                          <a:pt x="298" y="173"/>
                          <a:pt x="298" y="173"/>
                          <a:pt x="298" y="173"/>
                        </a:cubicBezTo>
                        <a:cubicBezTo>
                          <a:pt x="278" y="172"/>
                          <a:pt x="278" y="172"/>
                          <a:pt x="278" y="172"/>
                        </a:cubicBezTo>
                        <a:cubicBezTo>
                          <a:pt x="278" y="158"/>
                          <a:pt x="278" y="158"/>
                          <a:pt x="278" y="158"/>
                        </a:cubicBezTo>
                        <a:cubicBezTo>
                          <a:pt x="294" y="154"/>
                          <a:pt x="294" y="154"/>
                          <a:pt x="294" y="154"/>
                        </a:cubicBezTo>
                        <a:cubicBezTo>
                          <a:pt x="290" y="137"/>
                          <a:pt x="290" y="137"/>
                          <a:pt x="290" y="137"/>
                        </a:cubicBezTo>
                        <a:cubicBezTo>
                          <a:pt x="294" y="131"/>
                          <a:pt x="294" y="131"/>
                          <a:pt x="294" y="131"/>
                        </a:cubicBezTo>
                        <a:cubicBezTo>
                          <a:pt x="282" y="122"/>
                          <a:pt x="282" y="122"/>
                          <a:pt x="282" y="122"/>
                        </a:cubicBezTo>
                        <a:cubicBezTo>
                          <a:pt x="290" y="110"/>
                          <a:pt x="290" y="110"/>
                          <a:pt x="290" y="110"/>
                        </a:cubicBezTo>
                        <a:lnTo>
                          <a:pt x="313" y="101"/>
                        </a:lnTo>
                        <a:close/>
                        <a:moveTo>
                          <a:pt x="707" y="253"/>
                        </a:moveTo>
                        <a:cubicBezTo>
                          <a:pt x="719" y="253"/>
                          <a:pt x="719" y="253"/>
                          <a:pt x="719" y="253"/>
                        </a:cubicBezTo>
                        <a:cubicBezTo>
                          <a:pt x="733" y="279"/>
                          <a:pt x="733" y="279"/>
                          <a:pt x="733" y="279"/>
                        </a:cubicBezTo>
                        <a:cubicBezTo>
                          <a:pt x="750" y="295"/>
                          <a:pt x="750" y="295"/>
                          <a:pt x="750" y="295"/>
                        </a:cubicBezTo>
                        <a:cubicBezTo>
                          <a:pt x="745" y="309"/>
                          <a:pt x="745" y="309"/>
                          <a:pt x="745" y="309"/>
                        </a:cubicBezTo>
                        <a:cubicBezTo>
                          <a:pt x="728" y="320"/>
                          <a:pt x="728" y="320"/>
                          <a:pt x="728" y="320"/>
                        </a:cubicBezTo>
                        <a:cubicBezTo>
                          <a:pt x="715" y="317"/>
                          <a:pt x="715" y="317"/>
                          <a:pt x="715" y="317"/>
                        </a:cubicBezTo>
                        <a:cubicBezTo>
                          <a:pt x="715" y="287"/>
                          <a:pt x="715" y="287"/>
                          <a:pt x="715" y="287"/>
                        </a:cubicBezTo>
                        <a:cubicBezTo>
                          <a:pt x="703" y="278"/>
                          <a:pt x="703" y="278"/>
                          <a:pt x="703" y="278"/>
                        </a:cubicBezTo>
                        <a:lnTo>
                          <a:pt x="707" y="253"/>
                        </a:lnTo>
                        <a:close/>
                        <a:moveTo>
                          <a:pt x="783" y="216"/>
                        </a:moveTo>
                        <a:cubicBezTo>
                          <a:pt x="805" y="211"/>
                          <a:pt x="805" y="211"/>
                          <a:pt x="805" y="211"/>
                        </a:cubicBezTo>
                        <a:cubicBezTo>
                          <a:pt x="832" y="190"/>
                          <a:pt x="832" y="190"/>
                          <a:pt x="832" y="190"/>
                        </a:cubicBezTo>
                        <a:cubicBezTo>
                          <a:pt x="841" y="203"/>
                          <a:pt x="850" y="217"/>
                          <a:pt x="859" y="231"/>
                        </a:cubicBezTo>
                        <a:cubicBezTo>
                          <a:pt x="858" y="232"/>
                          <a:pt x="858" y="232"/>
                          <a:pt x="858" y="232"/>
                        </a:cubicBezTo>
                        <a:cubicBezTo>
                          <a:pt x="850" y="248"/>
                          <a:pt x="850" y="248"/>
                          <a:pt x="850" y="248"/>
                        </a:cubicBezTo>
                        <a:cubicBezTo>
                          <a:pt x="853" y="262"/>
                          <a:pt x="853" y="262"/>
                          <a:pt x="853" y="262"/>
                        </a:cubicBezTo>
                        <a:cubicBezTo>
                          <a:pt x="838" y="268"/>
                          <a:pt x="838" y="268"/>
                          <a:pt x="838" y="268"/>
                        </a:cubicBezTo>
                        <a:cubicBezTo>
                          <a:pt x="832" y="282"/>
                          <a:pt x="832" y="282"/>
                          <a:pt x="832" y="282"/>
                        </a:cubicBezTo>
                        <a:cubicBezTo>
                          <a:pt x="819" y="280"/>
                          <a:pt x="819" y="280"/>
                          <a:pt x="819" y="280"/>
                        </a:cubicBezTo>
                        <a:cubicBezTo>
                          <a:pt x="809" y="258"/>
                          <a:pt x="809" y="258"/>
                          <a:pt x="809" y="258"/>
                        </a:cubicBezTo>
                        <a:cubicBezTo>
                          <a:pt x="794" y="255"/>
                          <a:pt x="794" y="255"/>
                          <a:pt x="794" y="255"/>
                        </a:cubicBezTo>
                        <a:cubicBezTo>
                          <a:pt x="779" y="253"/>
                          <a:pt x="779" y="253"/>
                          <a:pt x="779" y="253"/>
                        </a:cubicBezTo>
                        <a:lnTo>
                          <a:pt x="783" y="216"/>
                        </a:lnTo>
                        <a:close/>
                      </a:path>
                    </a:pathLst>
                  </a:custGeom>
                  <a:solidFill>
                    <a:srgbClr val="FFFFFF"/>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Ellipse 89"/>
                  <p:cNvSpPr/>
                  <p:nvPr/>
                </p:nvSpPr>
                <p:spPr bwMode="gray">
                  <a:xfrm>
                    <a:off x="1468054" y="2065339"/>
                    <a:ext cx="1111633" cy="111163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de-DE" sz="1600" dirty="0" err="1" smtClean="0">
                      <a:solidFill>
                        <a:schemeClr val="bg1"/>
                      </a:solidFill>
                      <a:latin typeface="Arial" pitchFamily="34" charset="0"/>
                      <a:cs typeface="Arial" pitchFamily="34" charset="0"/>
                    </a:endParaRPr>
                  </a:p>
                </p:txBody>
              </p:sp>
            </p:grpSp>
          </p:grpSp>
          <p:grpSp>
            <p:nvGrpSpPr>
              <p:cNvPr id="1180" name="Gruppieren 1179"/>
              <p:cNvGrpSpPr/>
              <p:nvPr/>
            </p:nvGrpSpPr>
            <p:grpSpPr>
              <a:xfrm>
                <a:off x="4945063" y="2074863"/>
                <a:ext cx="482600" cy="438150"/>
                <a:chOff x="4945063" y="2074863"/>
                <a:chExt cx="482600" cy="438150"/>
              </a:xfrm>
            </p:grpSpPr>
            <p:sp>
              <p:nvSpPr>
                <p:cNvPr id="1177" name="Freeform 37"/>
                <p:cNvSpPr>
                  <a:spLocks/>
                </p:cNvSpPr>
                <p:nvPr/>
              </p:nvSpPr>
              <p:spPr bwMode="auto">
                <a:xfrm>
                  <a:off x="5081588" y="2336800"/>
                  <a:ext cx="111125" cy="176213"/>
                </a:xfrm>
                <a:custGeom>
                  <a:avLst/>
                  <a:gdLst>
                    <a:gd name="T0" fmla="*/ 117 w 117"/>
                    <a:gd name="T1" fmla="*/ 174 h 186"/>
                    <a:gd name="T2" fmla="*/ 93 w 117"/>
                    <a:gd name="T3" fmla="*/ 0 h 186"/>
                    <a:gd name="T4" fmla="*/ 75 w 117"/>
                    <a:gd name="T5" fmla="*/ 186 h 186"/>
                    <a:gd name="T6" fmla="*/ 117 w 117"/>
                    <a:gd name="T7" fmla="*/ 174 h 186"/>
                  </a:gdLst>
                  <a:ahLst/>
                  <a:cxnLst>
                    <a:cxn ang="0">
                      <a:pos x="T0" y="T1"/>
                    </a:cxn>
                    <a:cxn ang="0">
                      <a:pos x="T2" y="T3"/>
                    </a:cxn>
                    <a:cxn ang="0">
                      <a:pos x="T4" y="T5"/>
                    </a:cxn>
                    <a:cxn ang="0">
                      <a:pos x="T6" y="T7"/>
                    </a:cxn>
                  </a:cxnLst>
                  <a:rect l="0" t="0" r="r" b="b"/>
                  <a:pathLst>
                    <a:path w="117" h="186">
                      <a:moveTo>
                        <a:pt x="117" y="174"/>
                      </a:moveTo>
                      <a:cubicBezTo>
                        <a:pt x="117" y="174"/>
                        <a:pt x="39" y="126"/>
                        <a:pt x="93" y="0"/>
                      </a:cubicBezTo>
                      <a:cubicBezTo>
                        <a:pt x="93" y="0"/>
                        <a:pt x="0" y="87"/>
                        <a:pt x="75" y="186"/>
                      </a:cubicBezTo>
                      <a:lnTo>
                        <a:pt x="117" y="174"/>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8" name="Freeform 38"/>
                <p:cNvSpPr>
                  <a:spLocks/>
                </p:cNvSpPr>
                <p:nvPr/>
              </p:nvSpPr>
              <p:spPr bwMode="auto">
                <a:xfrm>
                  <a:off x="5030788" y="2074863"/>
                  <a:ext cx="396875" cy="387350"/>
                </a:xfrm>
                <a:custGeom>
                  <a:avLst/>
                  <a:gdLst>
                    <a:gd name="T0" fmla="*/ 149 w 415"/>
                    <a:gd name="T1" fmla="*/ 230 h 407"/>
                    <a:gd name="T2" fmla="*/ 415 w 415"/>
                    <a:gd name="T3" fmla="*/ 0 h 407"/>
                    <a:gd name="T4" fmla="*/ 174 w 415"/>
                    <a:gd name="T5" fmla="*/ 259 h 407"/>
                    <a:gd name="T6" fmla="*/ 291 w 415"/>
                    <a:gd name="T7" fmla="*/ 124 h 407"/>
                    <a:gd name="T8" fmla="*/ 149 w 415"/>
                    <a:gd name="T9" fmla="*/ 230 h 407"/>
                  </a:gdLst>
                  <a:ahLst/>
                  <a:cxnLst>
                    <a:cxn ang="0">
                      <a:pos x="T0" y="T1"/>
                    </a:cxn>
                    <a:cxn ang="0">
                      <a:pos x="T2" y="T3"/>
                    </a:cxn>
                    <a:cxn ang="0">
                      <a:pos x="T4" y="T5"/>
                    </a:cxn>
                    <a:cxn ang="0">
                      <a:pos x="T6" y="T7"/>
                    </a:cxn>
                    <a:cxn ang="0">
                      <a:pos x="T8" y="T9"/>
                    </a:cxn>
                  </a:cxnLst>
                  <a:rect l="0" t="0" r="r" b="b"/>
                  <a:pathLst>
                    <a:path w="415" h="407">
                      <a:moveTo>
                        <a:pt x="149" y="230"/>
                      </a:moveTo>
                      <a:cubicBezTo>
                        <a:pt x="149" y="230"/>
                        <a:pt x="0" y="53"/>
                        <a:pt x="415" y="0"/>
                      </a:cubicBezTo>
                      <a:cubicBezTo>
                        <a:pt x="415" y="0"/>
                        <a:pt x="395" y="407"/>
                        <a:pt x="174" y="259"/>
                      </a:cubicBezTo>
                      <a:cubicBezTo>
                        <a:pt x="291" y="124"/>
                        <a:pt x="291" y="124"/>
                        <a:pt x="291" y="124"/>
                      </a:cubicBezTo>
                      <a:lnTo>
                        <a:pt x="149" y="230"/>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79" name="Freeform 39"/>
                <p:cNvSpPr>
                  <a:spLocks/>
                </p:cNvSpPr>
                <p:nvPr/>
              </p:nvSpPr>
              <p:spPr bwMode="auto">
                <a:xfrm>
                  <a:off x="4945063" y="2187575"/>
                  <a:ext cx="252412" cy="282575"/>
                </a:xfrm>
                <a:custGeom>
                  <a:avLst/>
                  <a:gdLst>
                    <a:gd name="T0" fmla="*/ 179 w 265"/>
                    <a:gd name="T1" fmla="*/ 179 h 296"/>
                    <a:gd name="T2" fmla="*/ 0 w 265"/>
                    <a:gd name="T3" fmla="*/ 34 h 296"/>
                    <a:gd name="T4" fmla="*/ 195 w 265"/>
                    <a:gd name="T5" fmla="*/ 160 h 296"/>
                    <a:gd name="T6" fmla="*/ 94 w 265"/>
                    <a:gd name="T7" fmla="*/ 100 h 296"/>
                    <a:gd name="T8" fmla="*/ 179 w 265"/>
                    <a:gd name="T9" fmla="*/ 179 h 296"/>
                  </a:gdLst>
                  <a:ahLst/>
                  <a:cxnLst>
                    <a:cxn ang="0">
                      <a:pos x="T0" y="T1"/>
                    </a:cxn>
                    <a:cxn ang="0">
                      <a:pos x="T2" y="T3"/>
                    </a:cxn>
                    <a:cxn ang="0">
                      <a:pos x="T4" y="T5"/>
                    </a:cxn>
                    <a:cxn ang="0">
                      <a:pos x="T6" y="T7"/>
                    </a:cxn>
                    <a:cxn ang="0">
                      <a:pos x="T8" y="T9"/>
                    </a:cxn>
                  </a:cxnLst>
                  <a:rect l="0" t="0" r="r" b="b"/>
                  <a:pathLst>
                    <a:path w="265" h="296">
                      <a:moveTo>
                        <a:pt x="179" y="179"/>
                      </a:moveTo>
                      <a:cubicBezTo>
                        <a:pt x="179" y="179"/>
                        <a:pt x="82" y="296"/>
                        <a:pt x="0" y="34"/>
                      </a:cubicBezTo>
                      <a:cubicBezTo>
                        <a:pt x="0" y="34"/>
                        <a:pt x="265" y="0"/>
                        <a:pt x="195" y="160"/>
                      </a:cubicBezTo>
                      <a:cubicBezTo>
                        <a:pt x="94" y="100"/>
                        <a:pt x="94" y="100"/>
                        <a:pt x="94" y="100"/>
                      </a:cubicBezTo>
                      <a:lnTo>
                        <a:pt x="179" y="179"/>
                      </a:lnTo>
                      <a:close/>
                    </a:path>
                  </a:pathLst>
                </a:custGeom>
                <a:solidFill>
                  <a:srgbClr val="FFFFFF"/>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sp>
          <p:nvSpPr>
            <p:cNvPr id="1175" name="Freeform 35"/>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 name="T14" fmla="*/ 224 w 311"/>
                <a:gd name="T15" fmla="*/ 109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112">
                  <a:moveTo>
                    <a:pt x="224" y="109"/>
                  </a:moveTo>
                  <a:lnTo>
                    <a:pt x="2" y="112"/>
                  </a:lnTo>
                  <a:lnTo>
                    <a:pt x="0" y="62"/>
                  </a:lnTo>
                  <a:lnTo>
                    <a:pt x="25" y="41"/>
                  </a:lnTo>
                  <a:lnTo>
                    <a:pt x="132" y="32"/>
                  </a:lnTo>
                  <a:lnTo>
                    <a:pt x="203" y="0"/>
                  </a:lnTo>
                  <a:lnTo>
                    <a:pt x="311" y="7"/>
                  </a:lnTo>
                  <a:lnTo>
                    <a:pt x="224"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6" name="Freeform 36"/>
            <p:cNvSpPr>
              <a:spLocks/>
            </p:cNvSpPr>
            <p:nvPr/>
          </p:nvSpPr>
          <p:spPr bwMode="auto">
            <a:xfrm>
              <a:off x="4968875" y="3035300"/>
              <a:ext cx="493712" cy="177800"/>
            </a:xfrm>
            <a:custGeom>
              <a:avLst/>
              <a:gdLst>
                <a:gd name="T0" fmla="*/ 224 w 311"/>
                <a:gd name="T1" fmla="*/ 109 h 112"/>
                <a:gd name="T2" fmla="*/ 2 w 311"/>
                <a:gd name="T3" fmla="*/ 112 h 112"/>
                <a:gd name="T4" fmla="*/ 0 w 311"/>
                <a:gd name="T5" fmla="*/ 62 h 112"/>
                <a:gd name="T6" fmla="*/ 25 w 311"/>
                <a:gd name="T7" fmla="*/ 41 h 112"/>
                <a:gd name="T8" fmla="*/ 132 w 311"/>
                <a:gd name="T9" fmla="*/ 32 h 112"/>
                <a:gd name="T10" fmla="*/ 203 w 311"/>
                <a:gd name="T11" fmla="*/ 0 h 112"/>
                <a:gd name="T12" fmla="*/ 311 w 311"/>
                <a:gd name="T13" fmla="*/ 7 h 112"/>
              </a:gdLst>
              <a:ahLst/>
              <a:cxnLst>
                <a:cxn ang="0">
                  <a:pos x="T0" y="T1"/>
                </a:cxn>
                <a:cxn ang="0">
                  <a:pos x="T2" y="T3"/>
                </a:cxn>
                <a:cxn ang="0">
                  <a:pos x="T4" y="T5"/>
                </a:cxn>
                <a:cxn ang="0">
                  <a:pos x="T6" y="T7"/>
                </a:cxn>
                <a:cxn ang="0">
                  <a:pos x="T8" y="T9"/>
                </a:cxn>
                <a:cxn ang="0">
                  <a:pos x="T10" y="T11"/>
                </a:cxn>
                <a:cxn ang="0">
                  <a:pos x="T12" y="T13"/>
                </a:cxn>
              </a:cxnLst>
              <a:rect l="0" t="0" r="r" b="b"/>
              <a:pathLst>
                <a:path w="311" h="112">
                  <a:moveTo>
                    <a:pt x="224" y="109"/>
                  </a:moveTo>
                  <a:lnTo>
                    <a:pt x="2" y="112"/>
                  </a:lnTo>
                  <a:lnTo>
                    <a:pt x="0" y="62"/>
                  </a:lnTo>
                  <a:lnTo>
                    <a:pt x="25" y="41"/>
                  </a:lnTo>
                  <a:lnTo>
                    <a:pt x="132" y="32"/>
                  </a:lnTo>
                  <a:lnTo>
                    <a:pt x="203" y="0"/>
                  </a:lnTo>
                  <a:lnTo>
                    <a:pt x="311" y="7"/>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71" name="Gruppieren 70"/>
          <p:cNvGrpSpPr/>
          <p:nvPr/>
        </p:nvGrpSpPr>
        <p:grpSpPr>
          <a:xfrm>
            <a:off x="2568576" y="2181225"/>
            <a:ext cx="1549400" cy="1244600"/>
            <a:chOff x="2568576" y="2181225"/>
            <a:chExt cx="1549400" cy="1244600"/>
          </a:xfrm>
        </p:grpSpPr>
        <p:sp>
          <p:nvSpPr>
            <p:cNvPr id="53" name="Freeform 45"/>
            <p:cNvSpPr>
              <a:spLocks/>
            </p:cNvSpPr>
            <p:nvPr/>
          </p:nvSpPr>
          <p:spPr bwMode="auto">
            <a:xfrm>
              <a:off x="2938463" y="2465388"/>
              <a:ext cx="763588" cy="679450"/>
            </a:xfrm>
            <a:custGeom>
              <a:avLst/>
              <a:gdLst>
                <a:gd name="T0" fmla="*/ 719 w 721"/>
                <a:gd name="T1" fmla="*/ 133 h 642"/>
                <a:gd name="T2" fmla="*/ 679 w 721"/>
                <a:gd name="T3" fmla="*/ 71 h 642"/>
                <a:gd name="T4" fmla="*/ 628 w 721"/>
                <a:gd name="T5" fmla="*/ 61 h 642"/>
                <a:gd name="T6" fmla="*/ 596 w 721"/>
                <a:gd name="T7" fmla="*/ 81 h 642"/>
                <a:gd name="T8" fmla="*/ 585 w 721"/>
                <a:gd name="T9" fmla="*/ 133 h 642"/>
                <a:gd name="T10" fmla="*/ 533 w 721"/>
                <a:gd name="T11" fmla="*/ 122 h 642"/>
                <a:gd name="T12" fmla="*/ 514 w 721"/>
                <a:gd name="T13" fmla="*/ 92 h 642"/>
                <a:gd name="T14" fmla="*/ 454 w 721"/>
                <a:gd name="T15" fmla="*/ 0 h 642"/>
                <a:gd name="T16" fmla="*/ 333 w 721"/>
                <a:gd name="T17" fmla="*/ 78 h 642"/>
                <a:gd name="T18" fmla="*/ 302 w 721"/>
                <a:gd name="T19" fmla="*/ 98 h 642"/>
                <a:gd name="T20" fmla="*/ 291 w 721"/>
                <a:gd name="T21" fmla="*/ 148 h 642"/>
                <a:gd name="T22" fmla="*/ 342 w 721"/>
                <a:gd name="T23" fmla="*/ 159 h 642"/>
                <a:gd name="T24" fmla="*/ 361 w 721"/>
                <a:gd name="T25" fmla="*/ 190 h 642"/>
                <a:gd name="T26" fmla="*/ 351 w 721"/>
                <a:gd name="T27" fmla="*/ 240 h 642"/>
                <a:gd name="T28" fmla="*/ 289 w 721"/>
                <a:gd name="T29" fmla="*/ 280 h 642"/>
                <a:gd name="T30" fmla="*/ 239 w 721"/>
                <a:gd name="T31" fmla="*/ 269 h 642"/>
                <a:gd name="T32" fmla="*/ 219 w 721"/>
                <a:gd name="T33" fmla="*/ 238 h 642"/>
                <a:gd name="T34" fmla="*/ 230 w 721"/>
                <a:gd name="T35" fmla="*/ 188 h 642"/>
                <a:gd name="T36" fmla="*/ 179 w 721"/>
                <a:gd name="T37" fmla="*/ 177 h 642"/>
                <a:gd name="T38" fmla="*/ 149 w 721"/>
                <a:gd name="T39" fmla="*/ 197 h 642"/>
                <a:gd name="T40" fmla="*/ 29 w 721"/>
                <a:gd name="T41" fmla="*/ 275 h 642"/>
                <a:gd name="T42" fmla="*/ 88 w 721"/>
                <a:gd name="T43" fmla="*/ 366 h 642"/>
                <a:gd name="T44" fmla="*/ 108 w 721"/>
                <a:gd name="T45" fmla="*/ 397 h 642"/>
                <a:gd name="T46" fmla="*/ 96 w 721"/>
                <a:gd name="T47" fmla="*/ 448 h 642"/>
                <a:gd name="T48" fmla="*/ 45 w 721"/>
                <a:gd name="T49" fmla="*/ 438 h 642"/>
                <a:gd name="T50" fmla="*/ 13 w 721"/>
                <a:gd name="T51" fmla="*/ 458 h 642"/>
                <a:gd name="T52" fmla="*/ 2 w 721"/>
                <a:gd name="T53" fmla="*/ 509 h 642"/>
                <a:gd name="T54" fmla="*/ 41 w 721"/>
                <a:gd name="T55" fmla="*/ 570 h 642"/>
                <a:gd name="T56" fmla="*/ 93 w 721"/>
                <a:gd name="T57" fmla="*/ 580 h 642"/>
                <a:gd name="T58" fmla="*/ 124 w 721"/>
                <a:gd name="T59" fmla="*/ 560 h 642"/>
                <a:gd name="T60" fmla="*/ 136 w 721"/>
                <a:gd name="T61" fmla="*/ 509 h 642"/>
                <a:gd name="T62" fmla="*/ 187 w 721"/>
                <a:gd name="T63" fmla="*/ 519 h 642"/>
                <a:gd name="T64" fmla="*/ 207 w 721"/>
                <a:gd name="T65" fmla="*/ 550 h 642"/>
                <a:gd name="T66" fmla="*/ 266 w 721"/>
                <a:gd name="T67" fmla="*/ 642 h 642"/>
                <a:gd name="T68" fmla="*/ 386 w 721"/>
                <a:gd name="T69" fmla="*/ 564 h 642"/>
                <a:gd name="T70" fmla="*/ 417 w 721"/>
                <a:gd name="T71" fmla="*/ 544 h 642"/>
                <a:gd name="T72" fmla="*/ 428 w 721"/>
                <a:gd name="T73" fmla="*/ 494 h 642"/>
                <a:gd name="T74" fmla="*/ 377 w 721"/>
                <a:gd name="T75" fmla="*/ 483 h 642"/>
                <a:gd name="T76" fmla="*/ 357 w 721"/>
                <a:gd name="T77" fmla="*/ 453 h 642"/>
                <a:gd name="T78" fmla="*/ 369 w 721"/>
                <a:gd name="T79" fmla="*/ 402 h 642"/>
                <a:gd name="T80" fmla="*/ 396 w 721"/>
                <a:gd name="T81" fmla="*/ 378 h 642"/>
                <a:gd name="T82" fmla="*/ 430 w 721"/>
                <a:gd name="T83" fmla="*/ 363 h 642"/>
                <a:gd name="T84" fmla="*/ 480 w 721"/>
                <a:gd name="T85" fmla="*/ 373 h 642"/>
                <a:gd name="T86" fmla="*/ 500 w 721"/>
                <a:gd name="T87" fmla="*/ 404 h 642"/>
                <a:gd name="T88" fmla="*/ 489 w 721"/>
                <a:gd name="T89" fmla="*/ 454 h 642"/>
                <a:gd name="T90" fmla="*/ 539 w 721"/>
                <a:gd name="T91" fmla="*/ 465 h 642"/>
                <a:gd name="T92" fmla="*/ 691 w 721"/>
                <a:gd name="T93" fmla="*/ 367 h 642"/>
                <a:gd name="T94" fmla="*/ 632 w 721"/>
                <a:gd name="T95" fmla="*/ 275 h 642"/>
                <a:gd name="T96" fmla="*/ 612 w 721"/>
                <a:gd name="T97" fmla="*/ 245 h 642"/>
                <a:gd name="T98" fmla="*/ 624 w 721"/>
                <a:gd name="T99" fmla="*/ 194 h 642"/>
                <a:gd name="T100" fmla="*/ 676 w 721"/>
                <a:gd name="T101" fmla="*/ 204 h 642"/>
                <a:gd name="T102" fmla="*/ 707 w 721"/>
                <a:gd name="T103" fmla="*/ 184 h 642"/>
                <a:gd name="T104" fmla="*/ 719 w 721"/>
                <a:gd name="T105" fmla="*/ 13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1" h="642">
                  <a:moveTo>
                    <a:pt x="719" y="133"/>
                  </a:moveTo>
                  <a:cubicBezTo>
                    <a:pt x="717" y="116"/>
                    <a:pt x="694" y="80"/>
                    <a:pt x="679" y="71"/>
                  </a:cubicBezTo>
                  <a:cubicBezTo>
                    <a:pt x="665" y="63"/>
                    <a:pt x="644" y="59"/>
                    <a:pt x="628" y="61"/>
                  </a:cubicBezTo>
                  <a:cubicBezTo>
                    <a:pt x="611" y="63"/>
                    <a:pt x="605" y="67"/>
                    <a:pt x="596" y="81"/>
                  </a:cubicBezTo>
                  <a:cubicBezTo>
                    <a:pt x="588" y="96"/>
                    <a:pt x="591" y="129"/>
                    <a:pt x="585" y="133"/>
                  </a:cubicBezTo>
                  <a:cubicBezTo>
                    <a:pt x="572" y="141"/>
                    <a:pt x="541" y="135"/>
                    <a:pt x="533" y="122"/>
                  </a:cubicBezTo>
                  <a:cubicBezTo>
                    <a:pt x="514" y="92"/>
                    <a:pt x="514" y="92"/>
                    <a:pt x="514" y="92"/>
                  </a:cubicBezTo>
                  <a:cubicBezTo>
                    <a:pt x="454" y="0"/>
                    <a:pt x="454" y="0"/>
                    <a:pt x="454" y="0"/>
                  </a:cubicBezTo>
                  <a:cubicBezTo>
                    <a:pt x="333" y="78"/>
                    <a:pt x="333" y="78"/>
                    <a:pt x="333" y="78"/>
                  </a:cubicBezTo>
                  <a:cubicBezTo>
                    <a:pt x="302" y="98"/>
                    <a:pt x="302" y="98"/>
                    <a:pt x="302" y="98"/>
                  </a:cubicBezTo>
                  <a:cubicBezTo>
                    <a:pt x="290" y="106"/>
                    <a:pt x="283" y="136"/>
                    <a:pt x="291" y="148"/>
                  </a:cubicBezTo>
                  <a:cubicBezTo>
                    <a:pt x="295" y="154"/>
                    <a:pt x="328" y="151"/>
                    <a:pt x="342" y="159"/>
                  </a:cubicBezTo>
                  <a:cubicBezTo>
                    <a:pt x="356" y="168"/>
                    <a:pt x="360" y="174"/>
                    <a:pt x="361" y="190"/>
                  </a:cubicBezTo>
                  <a:cubicBezTo>
                    <a:pt x="363" y="206"/>
                    <a:pt x="359" y="226"/>
                    <a:pt x="351" y="240"/>
                  </a:cubicBezTo>
                  <a:cubicBezTo>
                    <a:pt x="342" y="254"/>
                    <a:pt x="306" y="278"/>
                    <a:pt x="289" y="280"/>
                  </a:cubicBezTo>
                  <a:cubicBezTo>
                    <a:pt x="273" y="282"/>
                    <a:pt x="253" y="277"/>
                    <a:pt x="239" y="269"/>
                  </a:cubicBezTo>
                  <a:cubicBezTo>
                    <a:pt x="225" y="261"/>
                    <a:pt x="221" y="255"/>
                    <a:pt x="219" y="238"/>
                  </a:cubicBezTo>
                  <a:cubicBezTo>
                    <a:pt x="217" y="222"/>
                    <a:pt x="234" y="194"/>
                    <a:pt x="230" y="188"/>
                  </a:cubicBezTo>
                  <a:cubicBezTo>
                    <a:pt x="222" y="176"/>
                    <a:pt x="192" y="169"/>
                    <a:pt x="179" y="177"/>
                  </a:cubicBezTo>
                  <a:cubicBezTo>
                    <a:pt x="149" y="197"/>
                    <a:pt x="149" y="197"/>
                    <a:pt x="149" y="197"/>
                  </a:cubicBezTo>
                  <a:cubicBezTo>
                    <a:pt x="29" y="275"/>
                    <a:pt x="29" y="275"/>
                    <a:pt x="29" y="275"/>
                  </a:cubicBezTo>
                  <a:cubicBezTo>
                    <a:pt x="88" y="366"/>
                    <a:pt x="88" y="366"/>
                    <a:pt x="88" y="366"/>
                  </a:cubicBezTo>
                  <a:cubicBezTo>
                    <a:pt x="108" y="397"/>
                    <a:pt x="108" y="397"/>
                    <a:pt x="108" y="397"/>
                  </a:cubicBezTo>
                  <a:cubicBezTo>
                    <a:pt x="116" y="409"/>
                    <a:pt x="109" y="440"/>
                    <a:pt x="96" y="448"/>
                  </a:cubicBezTo>
                  <a:cubicBezTo>
                    <a:pt x="90" y="452"/>
                    <a:pt x="61" y="436"/>
                    <a:pt x="45" y="438"/>
                  </a:cubicBezTo>
                  <a:cubicBezTo>
                    <a:pt x="28" y="440"/>
                    <a:pt x="22" y="444"/>
                    <a:pt x="13" y="458"/>
                  </a:cubicBezTo>
                  <a:cubicBezTo>
                    <a:pt x="5" y="472"/>
                    <a:pt x="0" y="493"/>
                    <a:pt x="2" y="509"/>
                  </a:cubicBezTo>
                  <a:cubicBezTo>
                    <a:pt x="3" y="525"/>
                    <a:pt x="27" y="562"/>
                    <a:pt x="41" y="570"/>
                  </a:cubicBezTo>
                  <a:cubicBezTo>
                    <a:pt x="55" y="579"/>
                    <a:pt x="76" y="582"/>
                    <a:pt x="93" y="580"/>
                  </a:cubicBezTo>
                  <a:cubicBezTo>
                    <a:pt x="109" y="578"/>
                    <a:pt x="115" y="574"/>
                    <a:pt x="124" y="560"/>
                  </a:cubicBezTo>
                  <a:cubicBezTo>
                    <a:pt x="133" y="546"/>
                    <a:pt x="130" y="513"/>
                    <a:pt x="136" y="509"/>
                  </a:cubicBezTo>
                  <a:cubicBezTo>
                    <a:pt x="149" y="501"/>
                    <a:pt x="179" y="507"/>
                    <a:pt x="187" y="519"/>
                  </a:cubicBezTo>
                  <a:cubicBezTo>
                    <a:pt x="207" y="550"/>
                    <a:pt x="207" y="550"/>
                    <a:pt x="207" y="550"/>
                  </a:cubicBezTo>
                  <a:cubicBezTo>
                    <a:pt x="266" y="642"/>
                    <a:pt x="266" y="642"/>
                    <a:pt x="266" y="642"/>
                  </a:cubicBezTo>
                  <a:cubicBezTo>
                    <a:pt x="386" y="564"/>
                    <a:pt x="386" y="564"/>
                    <a:pt x="386" y="564"/>
                  </a:cubicBezTo>
                  <a:cubicBezTo>
                    <a:pt x="417" y="544"/>
                    <a:pt x="417" y="544"/>
                    <a:pt x="417" y="544"/>
                  </a:cubicBezTo>
                  <a:cubicBezTo>
                    <a:pt x="429" y="536"/>
                    <a:pt x="436" y="506"/>
                    <a:pt x="428" y="494"/>
                  </a:cubicBezTo>
                  <a:cubicBezTo>
                    <a:pt x="424" y="488"/>
                    <a:pt x="391" y="492"/>
                    <a:pt x="377" y="483"/>
                  </a:cubicBezTo>
                  <a:cubicBezTo>
                    <a:pt x="363" y="475"/>
                    <a:pt x="359" y="469"/>
                    <a:pt x="357" y="453"/>
                  </a:cubicBezTo>
                  <a:cubicBezTo>
                    <a:pt x="356" y="436"/>
                    <a:pt x="360" y="416"/>
                    <a:pt x="369" y="402"/>
                  </a:cubicBezTo>
                  <a:cubicBezTo>
                    <a:pt x="373" y="395"/>
                    <a:pt x="384" y="386"/>
                    <a:pt x="396" y="378"/>
                  </a:cubicBezTo>
                  <a:cubicBezTo>
                    <a:pt x="408" y="370"/>
                    <a:pt x="422" y="363"/>
                    <a:pt x="430" y="363"/>
                  </a:cubicBezTo>
                  <a:cubicBezTo>
                    <a:pt x="446" y="361"/>
                    <a:pt x="466" y="365"/>
                    <a:pt x="480" y="373"/>
                  </a:cubicBezTo>
                  <a:cubicBezTo>
                    <a:pt x="494" y="382"/>
                    <a:pt x="498" y="388"/>
                    <a:pt x="500" y="404"/>
                  </a:cubicBezTo>
                  <a:cubicBezTo>
                    <a:pt x="502" y="420"/>
                    <a:pt x="485" y="448"/>
                    <a:pt x="489" y="454"/>
                  </a:cubicBezTo>
                  <a:cubicBezTo>
                    <a:pt x="497" y="467"/>
                    <a:pt x="527" y="473"/>
                    <a:pt x="539" y="465"/>
                  </a:cubicBezTo>
                  <a:cubicBezTo>
                    <a:pt x="691" y="367"/>
                    <a:pt x="691" y="367"/>
                    <a:pt x="691" y="367"/>
                  </a:cubicBezTo>
                  <a:cubicBezTo>
                    <a:pt x="632" y="275"/>
                    <a:pt x="632" y="275"/>
                    <a:pt x="632" y="275"/>
                  </a:cubicBezTo>
                  <a:cubicBezTo>
                    <a:pt x="612" y="245"/>
                    <a:pt x="612" y="245"/>
                    <a:pt x="612" y="245"/>
                  </a:cubicBezTo>
                  <a:cubicBezTo>
                    <a:pt x="605" y="233"/>
                    <a:pt x="612" y="202"/>
                    <a:pt x="624" y="194"/>
                  </a:cubicBezTo>
                  <a:cubicBezTo>
                    <a:pt x="630" y="190"/>
                    <a:pt x="659" y="206"/>
                    <a:pt x="676" y="204"/>
                  </a:cubicBezTo>
                  <a:cubicBezTo>
                    <a:pt x="692" y="202"/>
                    <a:pt x="698" y="198"/>
                    <a:pt x="707" y="184"/>
                  </a:cubicBezTo>
                  <a:cubicBezTo>
                    <a:pt x="716" y="170"/>
                    <a:pt x="721" y="149"/>
                    <a:pt x="719" y="133"/>
                  </a:cubicBezTo>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51" name="Freeform 43"/>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a:noFill/>
            </a:ln>
          </p:spPr>
          <p:txBody>
            <a:bodyPr vert="horz" wrap="square" lIns="91440" tIns="45720" rIns="91440" bIns="45720" numCol="1" anchor="t" anchorCtr="0" compatLnSpc="1">
              <a:prstTxWarp prst="textNoShape">
                <a:avLst/>
              </a:prstTxWarp>
            </a:bodyPr>
            <a:lstStyle/>
            <a:p>
              <a:endParaRPr lang="de-DE"/>
            </a:p>
          </p:txBody>
        </p:sp>
        <p:sp>
          <p:nvSpPr>
            <p:cNvPr id="52" name="Freeform 44"/>
            <p:cNvSpPr>
              <a:spLocks/>
            </p:cNvSpPr>
            <p:nvPr/>
          </p:nvSpPr>
          <p:spPr bwMode="auto">
            <a:xfrm>
              <a:off x="2568576" y="2181225"/>
              <a:ext cx="1504950" cy="1244600"/>
            </a:xfrm>
            <a:custGeom>
              <a:avLst/>
              <a:gdLst>
                <a:gd name="T0" fmla="*/ 1282 w 1419"/>
                <a:gd name="T1" fmla="*/ 523 h 1175"/>
                <a:gd name="T2" fmla="*/ 1325 w 1419"/>
                <a:gd name="T3" fmla="*/ 451 h 1175"/>
                <a:gd name="T4" fmla="*/ 1329 w 1419"/>
                <a:gd name="T5" fmla="*/ 251 h 1175"/>
                <a:gd name="T6" fmla="*/ 1182 w 1419"/>
                <a:gd name="T7" fmla="*/ 23 h 1175"/>
                <a:gd name="T8" fmla="*/ 1056 w 1419"/>
                <a:gd name="T9" fmla="*/ 105 h 1175"/>
                <a:gd name="T10" fmla="*/ 1016 w 1419"/>
                <a:gd name="T11" fmla="*/ 43 h 1175"/>
                <a:gd name="T12" fmla="*/ 945 w 1419"/>
                <a:gd name="T13" fmla="*/ 2 h 1175"/>
                <a:gd name="T14" fmla="*/ 882 w 1419"/>
                <a:gd name="T15" fmla="*/ 43 h 1175"/>
                <a:gd name="T16" fmla="*/ 890 w 1419"/>
                <a:gd name="T17" fmla="*/ 125 h 1175"/>
                <a:gd name="T18" fmla="*/ 930 w 1419"/>
                <a:gd name="T19" fmla="*/ 186 h 1175"/>
                <a:gd name="T20" fmla="*/ 682 w 1419"/>
                <a:gd name="T21" fmla="*/ 346 h 1175"/>
                <a:gd name="T22" fmla="*/ 641 w 1419"/>
                <a:gd name="T23" fmla="*/ 416 h 1175"/>
                <a:gd name="T24" fmla="*/ 711 w 1419"/>
                <a:gd name="T25" fmla="*/ 458 h 1175"/>
                <a:gd name="T26" fmla="*/ 639 w 1419"/>
                <a:gd name="T27" fmla="*/ 548 h 1175"/>
                <a:gd name="T28" fmla="*/ 568 w 1419"/>
                <a:gd name="T29" fmla="*/ 506 h 1175"/>
                <a:gd name="T30" fmla="*/ 529 w 1419"/>
                <a:gd name="T31" fmla="*/ 445 h 1175"/>
                <a:gd name="T32" fmla="*/ 200 w 1419"/>
                <a:gd name="T33" fmla="*/ 612 h 1175"/>
                <a:gd name="T34" fmla="*/ 192 w 1419"/>
                <a:gd name="T35" fmla="*/ 530 h 1175"/>
                <a:gd name="T36" fmla="*/ 107 w 1419"/>
                <a:gd name="T37" fmla="*/ 536 h 1175"/>
                <a:gd name="T38" fmla="*/ 66 w 1419"/>
                <a:gd name="T39" fmla="*/ 612 h 1175"/>
                <a:gd name="T40" fmla="*/ 137 w 1419"/>
                <a:gd name="T41" fmla="*/ 652 h 1175"/>
                <a:gd name="T42" fmla="*/ 94 w 1419"/>
                <a:gd name="T43" fmla="*/ 724 h 1175"/>
                <a:gd name="T44" fmla="*/ 237 w 1419"/>
                <a:gd name="T45" fmla="*/ 1152 h 1175"/>
                <a:gd name="T46" fmla="*/ 363 w 1419"/>
                <a:gd name="T47" fmla="*/ 1071 h 1175"/>
                <a:gd name="T48" fmla="*/ 403 w 1419"/>
                <a:gd name="T49" fmla="*/ 1132 h 1175"/>
                <a:gd name="T50" fmla="*/ 474 w 1419"/>
                <a:gd name="T51" fmla="*/ 1173 h 1175"/>
                <a:gd name="T52" fmla="*/ 549 w 1419"/>
                <a:gd name="T53" fmla="*/ 1082 h 1175"/>
                <a:gd name="T54" fmla="*/ 478 w 1419"/>
                <a:gd name="T55" fmla="*/ 1041 h 1175"/>
                <a:gd name="T56" fmla="*/ 766 w 1419"/>
                <a:gd name="T57" fmla="*/ 812 h 1175"/>
                <a:gd name="T58" fmla="*/ 727 w 1419"/>
                <a:gd name="T59" fmla="*/ 751 h 1175"/>
                <a:gd name="T60" fmla="*/ 718 w 1419"/>
                <a:gd name="T61" fmla="*/ 670 h 1175"/>
                <a:gd name="T62" fmla="*/ 779 w 1419"/>
                <a:gd name="T63" fmla="*/ 630 h 1175"/>
                <a:gd name="T64" fmla="*/ 849 w 1419"/>
                <a:gd name="T65" fmla="*/ 672 h 1175"/>
                <a:gd name="T66" fmla="*/ 889 w 1419"/>
                <a:gd name="T67" fmla="*/ 733 h 1175"/>
                <a:gd name="T68" fmla="*/ 1218 w 1419"/>
                <a:gd name="T69" fmla="*/ 564 h 1175"/>
                <a:gd name="T70" fmla="*/ 1227 w 1419"/>
                <a:gd name="T71" fmla="*/ 645 h 1175"/>
                <a:gd name="T72" fmla="*/ 1341 w 1419"/>
                <a:gd name="T73" fmla="*/ 615 h 1175"/>
                <a:gd name="T74" fmla="*/ 1333 w 1419"/>
                <a:gd name="T75" fmla="*/ 53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9" h="1175">
                  <a:moveTo>
                    <a:pt x="1333" y="533"/>
                  </a:moveTo>
                  <a:cubicBezTo>
                    <a:pt x="1318" y="525"/>
                    <a:pt x="1285" y="529"/>
                    <a:pt x="1282" y="523"/>
                  </a:cubicBezTo>
                  <a:cubicBezTo>
                    <a:pt x="1274" y="511"/>
                    <a:pt x="1280" y="480"/>
                    <a:pt x="1293" y="472"/>
                  </a:cubicBezTo>
                  <a:cubicBezTo>
                    <a:pt x="1325" y="451"/>
                    <a:pt x="1325" y="451"/>
                    <a:pt x="1325" y="451"/>
                  </a:cubicBezTo>
                  <a:cubicBezTo>
                    <a:pt x="1419" y="390"/>
                    <a:pt x="1419" y="390"/>
                    <a:pt x="1419" y="390"/>
                  </a:cubicBezTo>
                  <a:cubicBezTo>
                    <a:pt x="1329" y="251"/>
                    <a:pt x="1329" y="251"/>
                    <a:pt x="1329" y="251"/>
                  </a:cubicBezTo>
                  <a:cubicBezTo>
                    <a:pt x="1272" y="162"/>
                    <a:pt x="1272" y="162"/>
                    <a:pt x="1272" y="162"/>
                  </a:cubicBezTo>
                  <a:cubicBezTo>
                    <a:pt x="1182" y="23"/>
                    <a:pt x="1182" y="23"/>
                    <a:pt x="1182" y="23"/>
                  </a:cubicBezTo>
                  <a:cubicBezTo>
                    <a:pt x="1087" y="84"/>
                    <a:pt x="1087" y="84"/>
                    <a:pt x="1087" y="84"/>
                  </a:cubicBezTo>
                  <a:cubicBezTo>
                    <a:pt x="1056" y="105"/>
                    <a:pt x="1056" y="105"/>
                    <a:pt x="1056" y="105"/>
                  </a:cubicBezTo>
                  <a:cubicBezTo>
                    <a:pt x="1043" y="113"/>
                    <a:pt x="1012" y="106"/>
                    <a:pt x="1004" y="94"/>
                  </a:cubicBezTo>
                  <a:cubicBezTo>
                    <a:pt x="1000" y="88"/>
                    <a:pt x="1018" y="60"/>
                    <a:pt x="1016" y="43"/>
                  </a:cubicBezTo>
                  <a:cubicBezTo>
                    <a:pt x="1014" y="27"/>
                    <a:pt x="1011" y="21"/>
                    <a:pt x="996" y="13"/>
                  </a:cubicBezTo>
                  <a:cubicBezTo>
                    <a:pt x="982" y="5"/>
                    <a:pt x="962" y="0"/>
                    <a:pt x="945" y="2"/>
                  </a:cubicBezTo>
                  <a:cubicBezTo>
                    <a:pt x="937" y="3"/>
                    <a:pt x="923" y="10"/>
                    <a:pt x="910" y="18"/>
                  </a:cubicBezTo>
                  <a:cubicBezTo>
                    <a:pt x="898" y="26"/>
                    <a:pt x="886" y="36"/>
                    <a:pt x="882" y="43"/>
                  </a:cubicBezTo>
                  <a:cubicBezTo>
                    <a:pt x="873" y="57"/>
                    <a:pt x="869" y="78"/>
                    <a:pt x="870" y="94"/>
                  </a:cubicBezTo>
                  <a:cubicBezTo>
                    <a:pt x="872" y="111"/>
                    <a:pt x="876" y="117"/>
                    <a:pt x="890" y="125"/>
                  </a:cubicBezTo>
                  <a:cubicBezTo>
                    <a:pt x="904" y="133"/>
                    <a:pt x="937" y="129"/>
                    <a:pt x="941" y="135"/>
                  </a:cubicBezTo>
                  <a:cubicBezTo>
                    <a:pt x="949" y="147"/>
                    <a:pt x="942" y="178"/>
                    <a:pt x="930" y="186"/>
                  </a:cubicBezTo>
                  <a:cubicBezTo>
                    <a:pt x="898" y="207"/>
                    <a:pt x="898" y="207"/>
                    <a:pt x="898" y="207"/>
                  </a:cubicBezTo>
                  <a:cubicBezTo>
                    <a:pt x="682" y="346"/>
                    <a:pt x="682" y="346"/>
                    <a:pt x="682" y="346"/>
                  </a:cubicBezTo>
                  <a:cubicBezTo>
                    <a:pt x="651" y="366"/>
                    <a:pt x="651" y="366"/>
                    <a:pt x="651" y="366"/>
                  </a:cubicBezTo>
                  <a:cubicBezTo>
                    <a:pt x="639" y="374"/>
                    <a:pt x="633" y="404"/>
                    <a:pt x="641" y="416"/>
                  </a:cubicBezTo>
                  <a:cubicBezTo>
                    <a:pt x="644" y="422"/>
                    <a:pt x="677" y="419"/>
                    <a:pt x="691" y="427"/>
                  </a:cubicBezTo>
                  <a:cubicBezTo>
                    <a:pt x="705" y="435"/>
                    <a:pt x="709" y="441"/>
                    <a:pt x="711" y="458"/>
                  </a:cubicBezTo>
                  <a:cubicBezTo>
                    <a:pt x="712" y="474"/>
                    <a:pt x="708" y="494"/>
                    <a:pt x="700" y="508"/>
                  </a:cubicBezTo>
                  <a:cubicBezTo>
                    <a:pt x="692" y="522"/>
                    <a:pt x="655" y="546"/>
                    <a:pt x="639" y="548"/>
                  </a:cubicBezTo>
                  <a:cubicBezTo>
                    <a:pt x="623" y="549"/>
                    <a:pt x="602" y="545"/>
                    <a:pt x="588" y="537"/>
                  </a:cubicBezTo>
                  <a:cubicBezTo>
                    <a:pt x="574" y="528"/>
                    <a:pt x="570" y="522"/>
                    <a:pt x="568" y="506"/>
                  </a:cubicBezTo>
                  <a:cubicBezTo>
                    <a:pt x="567" y="490"/>
                    <a:pt x="583" y="462"/>
                    <a:pt x="579" y="456"/>
                  </a:cubicBezTo>
                  <a:cubicBezTo>
                    <a:pt x="571" y="443"/>
                    <a:pt x="541" y="437"/>
                    <a:pt x="529" y="445"/>
                  </a:cubicBezTo>
                  <a:cubicBezTo>
                    <a:pt x="252" y="622"/>
                    <a:pt x="252" y="622"/>
                    <a:pt x="252" y="622"/>
                  </a:cubicBezTo>
                  <a:cubicBezTo>
                    <a:pt x="239" y="630"/>
                    <a:pt x="208" y="624"/>
                    <a:pt x="200" y="612"/>
                  </a:cubicBezTo>
                  <a:cubicBezTo>
                    <a:pt x="197" y="606"/>
                    <a:pt x="214" y="577"/>
                    <a:pt x="212" y="561"/>
                  </a:cubicBezTo>
                  <a:cubicBezTo>
                    <a:pt x="211" y="545"/>
                    <a:pt x="207" y="538"/>
                    <a:pt x="192" y="530"/>
                  </a:cubicBezTo>
                  <a:cubicBezTo>
                    <a:pt x="178" y="522"/>
                    <a:pt x="158" y="518"/>
                    <a:pt x="141" y="520"/>
                  </a:cubicBezTo>
                  <a:cubicBezTo>
                    <a:pt x="133" y="521"/>
                    <a:pt x="119" y="527"/>
                    <a:pt x="107" y="536"/>
                  </a:cubicBezTo>
                  <a:cubicBezTo>
                    <a:pt x="94" y="544"/>
                    <a:pt x="82" y="554"/>
                    <a:pt x="78" y="561"/>
                  </a:cubicBezTo>
                  <a:cubicBezTo>
                    <a:pt x="69" y="575"/>
                    <a:pt x="65" y="595"/>
                    <a:pt x="66" y="612"/>
                  </a:cubicBezTo>
                  <a:cubicBezTo>
                    <a:pt x="68" y="628"/>
                    <a:pt x="72" y="634"/>
                    <a:pt x="86" y="642"/>
                  </a:cubicBezTo>
                  <a:cubicBezTo>
                    <a:pt x="100" y="650"/>
                    <a:pt x="133" y="646"/>
                    <a:pt x="137" y="652"/>
                  </a:cubicBezTo>
                  <a:cubicBezTo>
                    <a:pt x="145" y="665"/>
                    <a:pt x="138" y="695"/>
                    <a:pt x="126" y="704"/>
                  </a:cubicBezTo>
                  <a:cubicBezTo>
                    <a:pt x="94" y="724"/>
                    <a:pt x="94" y="724"/>
                    <a:pt x="94" y="724"/>
                  </a:cubicBezTo>
                  <a:cubicBezTo>
                    <a:pt x="0" y="785"/>
                    <a:pt x="0" y="785"/>
                    <a:pt x="0" y="785"/>
                  </a:cubicBezTo>
                  <a:cubicBezTo>
                    <a:pt x="237" y="1152"/>
                    <a:pt x="237" y="1152"/>
                    <a:pt x="237" y="1152"/>
                  </a:cubicBezTo>
                  <a:cubicBezTo>
                    <a:pt x="331" y="1091"/>
                    <a:pt x="331" y="1091"/>
                    <a:pt x="331" y="1091"/>
                  </a:cubicBezTo>
                  <a:cubicBezTo>
                    <a:pt x="363" y="1071"/>
                    <a:pt x="363" y="1071"/>
                    <a:pt x="363" y="1071"/>
                  </a:cubicBezTo>
                  <a:cubicBezTo>
                    <a:pt x="376" y="1063"/>
                    <a:pt x="407" y="1069"/>
                    <a:pt x="415" y="1081"/>
                  </a:cubicBezTo>
                  <a:cubicBezTo>
                    <a:pt x="418" y="1087"/>
                    <a:pt x="401" y="1116"/>
                    <a:pt x="403" y="1132"/>
                  </a:cubicBezTo>
                  <a:cubicBezTo>
                    <a:pt x="404" y="1148"/>
                    <a:pt x="408" y="1155"/>
                    <a:pt x="423" y="1163"/>
                  </a:cubicBezTo>
                  <a:cubicBezTo>
                    <a:pt x="437" y="1171"/>
                    <a:pt x="457" y="1175"/>
                    <a:pt x="474" y="1173"/>
                  </a:cubicBezTo>
                  <a:cubicBezTo>
                    <a:pt x="490" y="1171"/>
                    <a:pt x="528" y="1147"/>
                    <a:pt x="537" y="1132"/>
                  </a:cubicBezTo>
                  <a:cubicBezTo>
                    <a:pt x="546" y="1118"/>
                    <a:pt x="550" y="1098"/>
                    <a:pt x="549" y="1082"/>
                  </a:cubicBezTo>
                  <a:cubicBezTo>
                    <a:pt x="547" y="1065"/>
                    <a:pt x="543" y="1059"/>
                    <a:pt x="529" y="1051"/>
                  </a:cubicBezTo>
                  <a:cubicBezTo>
                    <a:pt x="515" y="1043"/>
                    <a:pt x="482" y="1047"/>
                    <a:pt x="478" y="1041"/>
                  </a:cubicBezTo>
                  <a:cubicBezTo>
                    <a:pt x="470" y="1028"/>
                    <a:pt x="477" y="998"/>
                    <a:pt x="489" y="989"/>
                  </a:cubicBezTo>
                  <a:cubicBezTo>
                    <a:pt x="766" y="812"/>
                    <a:pt x="766" y="812"/>
                    <a:pt x="766" y="812"/>
                  </a:cubicBezTo>
                  <a:cubicBezTo>
                    <a:pt x="778" y="804"/>
                    <a:pt x="785" y="774"/>
                    <a:pt x="777" y="762"/>
                  </a:cubicBezTo>
                  <a:cubicBezTo>
                    <a:pt x="773" y="756"/>
                    <a:pt x="741" y="759"/>
                    <a:pt x="727" y="751"/>
                  </a:cubicBezTo>
                  <a:cubicBezTo>
                    <a:pt x="713" y="743"/>
                    <a:pt x="709" y="737"/>
                    <a:pt x="707" y="720"/>
                  </a:cubicBezTo>
                  <a:cubicBezTo>
                    <a:pt x="705" y="704"/>
                    <a:pt x="709" y="684"/>
                    <a:pt x="718" y="670"/>
                  </a:cubicBezTo>
                  <a:cubicBezTo>
                    <a:pt x="722" y="663"/>
                    <a:pt x="733" y="654"/>
                    <a:pt x="745" y="646"/>
                  </a:cubicBezTo>
                  <a:cubicBezTo>
                    <a:pt x="758" y="638"/>
                    <a:pt x="771" y="631"/>
                    <a:pt x="779" y="630"/>
                  </a:cubicBezTo>
                  <a:cubicBezTo>
                    <a:pt x="795" y="629"/>
                    <a:pt x="815" y="633"/>
                    <a:pt x="829" y="641"/>
                  </a:cubicBezTo>
                  <a:cubicBezTo>
                    <a:pt x="843" y="649"/>
                    <a:pt x="847" y="656"/>
                    <a:pt x="849" y="672"/>
                  </a:cubicBezTo>
                  <a:cubicBezTo>
                    <a:pt x="851" y="688"/>
                    <a:pt x="834" y="716"/>
                    <a:pt x="838" y="722"/>
                  </a:cubicBezTo>
                  <a:cubicBezTo>
                    <a:pt x="846" y="734"/>
                    <a:pt x="876" y="741"/>
                    <a:pt x="889" y="733"/>
                  </a:cubicBezTo>
                  <a:cubicBezTo>
                    <a:pt x="1167" y="553"/>
                    <a:pt x="1167" y="553"/>
                    <a:pt x="1167" y="553"/>
                  </a:cubicBezTo>
                  <a:cubicBezTo>
                    <a:pt x="1180" y="545"/>
                    <a:pt x="1210" y="552"/>
                    <a:pt x="1218" y="564"/>
                  </a:cubicBezTo>
                  <a:cubicBezTo>
                    <a:pt x="1222" y="570"/>
                    <a:pt x="1205" y="598"/>
                    <a:pt x="1207" y="615"/>
                  </a:cubicBezTo>
                  <a:cubicBezTo>
                    <a:pt x="1208" y="631"/>
                    <a:pt x="1212" y="637"/>
                    <a:pt x="1227" y="645"/>
                  </a:cubicBezTo>
                  <a:cubicBezTo>
                    <a:pt x="1241" y="654"/>
                    <a:pt x="1261" y="658"/>
                    <a:pt x="1278" y="656"/>
                  </a:cubicBezTo>
                  <a:cubicBezTo>
                    <a:pt x="1294" y="654"/>
                    <a:pt x="1332" y="629"/>
                    <a:pt x="1341" y="615"/>
                  </a:cubicBezTo>
                  <a:cubicBezTo>
                    <a:pt x="1350" y="601"/>
                    <a:pt x="1354" y="580"/>
                    <a:pt x="1353" y="564"/>
                  </a:cubicBezTo>
                  <a:cubicBezTo>
                    <a:pt x="1351" y="548"/>
                    <a:pt x="1347" y="541"/>
                    <a:pt x="1333" y="53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p:cNvSpPr>
              <a:spLocks/>
            </p:cNvSpPr>
            <p:nvPr/>
          </p:nvSpPr>
          <p:spPr bwMode="auto">
            <a:xfrm>
              <a:off x="3887788" y="2349500"/>
              <a:ext cx="92075" cy="115887"/>
            </a:xfrm>
            <a:custGeom>
              <a:avLst/>
              <a:gdLst>
                <a:gd name="T0" fmla="*/ 21 w 58"/>
                <a:gd name="T1" fmla="*/ 0 h 73"/>
                <a:gd name="T2" fmla="*/ 0 w 58"/>
                <a:gd name="T3" fmla="*/ 14 h 73"/>
                <a:gd name="T4" fmla="*/ 38 w 58"/>
                <a:gd name="T5" fmla="*/ 73 h 73"/>
                <a:gd name="T6" fmla="*/ 58 w 58"/>
                <a:gd name="T7" fmla="*/ 60 h 73"/>
                <a:gd name="T8" fmla="*/ 21 w 58"/>
                <a:gd name="T9" fmla="*/ 0 h 73"/>
              </a:gdLst>
              <a:ahLst/>
              <a:cxnLst>
                <a:cxn ang="0">
                  <a:pos x="T0" y="T1"/>
                </a:cxn>
                <a:cxn ang="0">
                  <a:pos x="T2" y="T3"/>
                </a:cxn>
                <a:cxn ang="0">
                  <a:pos x="T4" y="T5"/>
                </a:cxn>
                <a:cxn ang="0">
                  <a:pos x="T6" y="T7"/>
                </a:cxn>
                <a:cxn ang="0">
                  <a:pos x="T8" y="T9"/>
                </a:cxn>
              </a:cxnLst>
              <a:rect l="0" t="0" r="r" b="b"/>
              <a:pathLst>
                <a:path w="58" h="73">
                  <a:moveTo>
                    <a:pt x="21" y="0"/>
                  </a:moveTo>
                  <a:lnTo>
                    <a:pt x="0" y="14"/>
                  </a:lnTo>
                  <a:lnTo>
                    <a:pt x="38" y="73"/>
                  </a:lnTo>
                  <a:lnTo>
                    <a:pt x="58" y="60"/>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 name="T14" fmla="*/ 38 w 12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23">
                  <a:moveTo>
                    <a:pt x="38" y="123"/>
                  </a:moveTo>
                  <a:lnTo>
                    <a:pt x="89" y="90"/>
                  </a:lnTo>
                  <a:lnTo>
                    <a:pt x="109" y="119"/>
                  </a:lnTo>
                  <a:lnTo>
                    <a:pt x="129" y="22"/>
                  </a:lnTo>
                  <a:lnTo>
                    <a:pt x="32" y="0"/>
                  </a:lnTo>
                  <a:lnTo>
                    <a:pt x="51" y="30"/>
                  </a:lnTo>
                  <a:lnTo>
                    <a:pt x="0" y="63"/>
                  </a:lnTo>
                  <a:lnTo>
                    <a:pt x="38"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p:cNvSpPr>
              <a:spLocks/>
            </p:cNvSpPr>
            <p:nvPr/>
          </p:nvSpPr>
          <p:spPr bwMode="auto">
            <a:xfrm>
              <a:off x="3913188" y="2254250"/>
              <a:ext cx="204788" cy="195262"/>
            </a:xfrm>
            <a:custGeom>
              <a:avLst/>
              <a:gdLst>
                <a:gd name="T0" fmla="*/ 38 w 129"/>
                <a:gd name="T1" fmla="*/ 123 h 123"/>
                <a:gd name="T2" fmla="*/ 89 w 129"/>
                <a:gd name="T3" fmla="*/ 90 h 123"/>
                <a:gd name="T4" fmla="*/ 109 w 129"/>
                <a:gd name="T5" fmla="*/ 119 h 123"/>
                <a:gd name="T6" fmla="*/ 129 w 129"/>
                <a:gd name="T7" fmla="*/ 22 h 123"/>
                <a:gd name="T8" fmla="*/ 32 w 129"/>
                <a:gd name="T9" fmla="*/ 0 h 123"/>
                <a:gd name="T10" fmla="*/ 51 w 129"/>
                <a:gd name="T11" fmla="*/ 30 h 123"/>
                <a:gd name="T12" fmla="*/ 0 w 129"/>
                <a:gd name="T13" fmla="*/ 63 h 123"/>
              </a:gdLst>
              <a:ahLst/>
              <a:cxnLst>
                <a:cxn ang="0">
                  <a:pos x="T0" y="T1"/>
                </a:cxn>
                <a:cxn ang="0">
                  <a:pos x="T2" y="T3"/>
                </a:cxn>
                <a:cxn ang="0">
                  <a:pos x="T4" y="T5"/>
                </a:cxn>
                <a:cxn ang="0">
                  <a:pos x="T6" y="T7"/>
                </a:cxn>
                <a:cxn ang="0">
                  <a:pos x="T8" y="T9"/>
                </a:cxn>
                <a:cxn ang="0">
                  <a:pos x="T10" y="T11"/>
                </a:cxn>
                <a:cxn ang="0">
                  <a:pos x="T12" y="T13"/>
                </a:cxn>
              </a:cxnLst>
              <a:rect l="0" t="0" r="r" b="b"/>
              <a:pathLst>
                <a:path w="129" h="123">
                  <a:moveTo>
                    <a:pt x="38" y="123"/>
                  </a:moveTo>
                  <a:lnTo>
                    <a:pt x="89" y="90"/>
                  </a:lnTo>
                  <a:lnTo>
                    <a:pt x="109" y="119"/>
                  </a:lnTo>
                  <a:lnTo>
                    <a:pt x="129" y="22"/>
                  </a:lnTo>
                  <a:lnTo>
                    <a:pt x="32" y="0"/>
                  </a:lnTo>
                  <a:lnTo>
                    <a:pt x="51" y="30"/>
                  </a:lnTo>
                  <a:lnTo>
                    <a:pt x="0" y="63"/>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0" name="Rectangle 53"/>
            <p:cNvSpPr>
              <a:spLocks noChangeArrowheads="1"/>
            </p:cNvSpPr>
            <p:nvPr/>
          </p:nvSpPr>
          <p:spPr bwMode="auto">
            <a:xfrm rot="19606553">
              <a:off x="2657105" y="2893079"/>
              <a:ext cx="26449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Effizienz</a:t>
              </a:r>
              <a:endParaRPr kumimoji="0" lang="de-DE" altLang="de-DE" sz="1800" b="0" i="0" u="none" strike="noStrike" cap="none" normalizeH="0" baseline="0" dirty="0" smtClean="0">
                <a:ln>
                  <a:noFill/>
                </a:ln>
                <a:solidFill>
                  <a:schemeClr val="accent2"/>
                </a:solidFill>
                <a:effectLst/>
              </a:endParaRPr>
            </a:p>
          </p:txBody>
        </p:sp>
        <p:sp>
          <p:nvSpPr>
            <p:cNvPr id="108" name="Rectangle 53"/>
            <p:cNvSpPr>
              <a:spLocks noChangeArrowheads="1"/>
            </p:cNvSpPr>
            <p:nvPr/>
          </p:nvSpPr>
          <p:spPr bwMode="auto">
            <a:xfrm rot="19606553">
              <a:off x="3500691" y="2330657"/>
              <a:ext cx="32701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600" b="0" i="0" u="none" strike="noStrike" cap="none" normalizeH="0" baseline="0" dirty="0" smtClean="0">
                  <a:ln>
                    <a:noFill/>
                  </a:ln>
                  <a:solidFill>
                    <a:schemeClr val="accent2"/>
                  </a:solidFill>
                  <a:effectLst/>
                  <a:latin typeface="ABB Neue Helvetica Light" panose="020B0403020202020204" pitchFamily="34" charset="0"/>
                </a:rPr>
                <a:t>Sicherheit</a:t>
              </a:r>
              <a:endParaRPr kumimoji="0" lang="de-DE" altLang="de-DE" sz="1800" b="0" i="0" u="none" strike="noStrike" cap="none" normalizeH="0" baseline="0" dirty="0" smtClean="0">
                <a:ln>
                  <a:noFill/>
                </a:ln>
                <a:solidFill>
                  <a:schemeClr val="accent2"/>
                </a:solidFill>
                <a:effectLst/>
              </a:endParaRPr>
            </a:p>
          </p:txBody>
        </p:sp>
      </p:grpSp>
      <p:grpSp>
        <p:nvGrpSpPr>
          <p:cNvPr id="99" name="Gruppieren 98"/>
          <p:cNvGrpSpPr/>
          <p:nvPr/>
        </p:nvGrpSpPr>
        <p:grpSpPr>
          <a:xfrm>
            <a:off x="1479550" y="2078038"/>
            <a:ext cx="604838" cy="1350962"/>
            <a:chOff x="1479550" y="2078038"/>
            <a:chExt cx="604838" cy="1350962"/>
          </a:xfrm>
        </p:grpSpPr>
        <p:sp>
          <p:nvSpPr>
            <p:cNvPr id="73" name="AutoShape 56"/>
            <p:cNvSpPr>
              <a:spLocks noChangeAspect="1" noChangeArrowheads="1" noTextEdit="1"/>
            </p:cNvSpPr>
            <p:nvPr/>
          </p:nvSpPr>
          <p:spPr bwMode="auto">
            <a:xfrm>
              <a:off x="1479550" y="2078038"/>
              <a:ext cx="604838"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58"/>
            <p:cNvSpPr>
              <a:spLocks/>
            </p:cNvSpPr>
            <p:nvPr/>
          </p:nvSpPr>
          <p:spPr bwMode="auto">
            <a:xfrm>
              <a:off x="1689100" y="2085975"/>
              <a:ext cx="328613" cy="325437"/>
            </a:xfrm>
            <a:custGeom>
              <a:avLst/>
              <a:gdLst>
                <a:gd name="T0" fmla="*/ 285 w 300"/>
                <a:gd name="T1" fmla="*/ 125 h 298"/>
                <a:gd name="T2" fmla="*/ 285 w 300"/>
                <a:gd name="T3" fmla="*/ 125 h 298"/>
                <a:gd name="T4" fmla="*/ 150 w 300"/>
                <a:gd name="T5" fmla="*/ 0 h 298"/>
                <a:gd name="T6" fmla="*/ 14 w 300"/>
                <a:gd name="T7" fmla="*/ 125 h 298"/>
                <a:gd name="T8" fmla="*/ 14 w 300"/>
                <a:gd name="T9" fmla="*/ 125 h 298"/>
                <a:gd name="T10" fmla="*/ 0 w 300"/>
                <a:gd name="T11" fmla="*/ 125 h 298"/>
                <a:gd name="T12" fmla="*/ 0 w 300"/>
                <a:gd name="T13" fmla="*/ 145 h 298"/>
                <a:gd name="T14" fmla="*/ 18 w 300"/>
                <a:gd name="T15" fmla="*/ 145 h 298"/>
                <a:gd name="T16" fmla="*/ 31 w 300"/>
                <a:gd name="T17" fmla="*/ 157 h 298"/>
                <a:gd name="T18" fmla="*/ 29 w 300"/>
                <a:gd name="T19" fmla="*/ 178 h 298"/>
                <a:gd name="T20" fmla="*/ 150 w 300"/>
                <a:gd name="T21" fmla="*/ 298 h 298"/>
                <a:gd name="T22" fmla="*/ 270 w 300"/>
                <a:gd name="T23" fmla="*/ 178 h 298"/>
                <a:gd name="T24" fmla="*/ 269 w 300"/>
                <a:gd name="T25" fmla="*/ 157 h 298"/>
                <a:gd name="T26" fmla="*/ 281 w 300"/>
                <a:gd name="T27" fmla="*/ 145 h 298"/>
                <a:gd name="T28" fmla="*/ 300 w 300"/>
                <a:gd name="T29" fmla="*/ 145 h 298"/>
                <a:gd name="T30" fmla="*/ 300 w 300"/>
                <a:gd name="T31" fmla="*/ 125 h 298"/>
                <a:gd name="T32" fmla="*/ 285 w 300"/>
                <a:gd name="T33" fmla="*/ 12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 h="298">
                  <a:moveTo>
                    <a:pt x="285" y="125"/>
                  </a:move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31" y="157"/>
                    <a:pt x="31" y="157"/>
                    <a:pt x="31" y="157"/>
                  </a:cubicBezTo>
                  <a:cubicBezTo>
                    <a:pt x="30" y="164"/>
                    <a:pt x="29" y="171"/>
                    <a:pt x="29" y="178"/>
                  </a:cubicBezTo>
                  <a:cubicBezTo>
                    <a:pt x="29" y="244"/>
                    <a:pt x="83" y="298"/>
                    <a:pt x="150" y="298"/>
                  </a:cubicBezTo>
                  <a:cubicBezTo>
                    <a:pt x="216" y="298"/>
                    <a:pt x="270" y="244"/>
                    <a:pt x="270" y="178"/>
                  </a:cubicBezTo>
                  <a:cubicBezTo>
                    <a:pt x="270" y="171"/>
                    <a:pt x="270" y="164"/>
                    <a:pt x="269" y="157"/>
                  </a:cubicBezTo>
                  <a:cubicBezTo>
                    <a:pt x="281" y="145"/>
                    <a:pt x="281" y="145"/>
                    <a:pt x="281" y="145"/>
                  </a:cubicBezTo>
                  <a:cubicBezTo>
                    <a:pt x="300" y="145"/>
                    <a:pt x="300" y="145"/>
                    <a:pt x="300" y="145"/>
                  </a:cubicBezTo>
                  <a:cubicBezTo>
                    <a:pt x="300" y="125"/>
                    <a:pt x="300" y="125"/>
                    <a:pt x="300" y="125"/>
                  </a:cubicBezTo>
                  <a:lnTo>
                    <a:pt x="285" y="125"/>
                  </a:lnTo>
                  <a:close/>
                </a:path>
              </a:pathLst>
            </a:custGeom>
            <a:solidFill>
              <a:srgbClr val="FFFFFF"/>
            </a:solidFill>
            <a:ln w="14288"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 name="Freeform 59"/>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 name="T32" fmla="*/ 239 w 287"/>
                <a:gd name="T33"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lnTo>
                    <a:pt x="239"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0"/>
            <p:cNvSpPr>
              <a:spLocks/>
            </p:cNvSpPr>
            <p:nvPr/>
          </p:nvSpPr>
          <p:spPr bwMode="auto">
            <a:xfrm>
              <a:off x="1625600" y="2457450"/>
              <a:ext cx="455613" cy="427037"/>
            </a:xfrm>
            <a:custGeom>
              <a:avLst/>
              <a:gdLst>
                <a:gd name="T0" fmla="*/ 239 w 287"/>
                <a:gd name="T1" fmla="*/ 205 h 269"/>
                <a:gd name="T2" fmla="*/ 239 w 287"/>
                <a:gd name="T3" fmla="*/ 220 h 269"/>
                <a:gd name="T4" fmla="*/ 209 w 287"/>
                <a:gd name="T5" fmla="*/ 220 h 269"/>
                <a:gd name="T6" fmla="*/ 209 w 287"/>
                <a:gd name="T7" fmla="*/ 261 h 269"/>
                <a:gd name="T8" fmla="*/ 217 w 287"/>
                <a:gd name="T9" fmla="*/ 269 h 269"/>
                <a:gd name="T10" fmla="*/ 275 w 287"/>
                <a:gd name="T11" fmla="*/ 269 h 269"/>
                <a:gd name="T12" fmla="*/ 287 w 287"/>
                <a:gd name="T13" fmla="*/ 52 h 269"/>
                <a:gd name="T14" fmla="*/ 235 w 287"/>
                <a:gd name="T15" fmla="*/ 0 h 269"/>
                <a:gd name="T16" fmla="*/ 52 w 287"/>
                <a:gd name="T17" fmla="*/ 0 h 269"/>
                <a:gd name="T18" fmla="*/ 0 w 287"/>
                <a:gd name="T19" fmla="*/ 52 h 269"/>
                <a:gd name="T20" fmla="*/ 12 w 287"/>
                <a:gd name="T21" fmla="*/ 269 h 269"/>
                <a:gd name="T22" fmla="*/ 69 w 287"/>
                <a:gd name="T23" fmla="*/ 269 h 269"/>
                <a:gd name="T24" fmla="*/ 77 w 287"/>
                <a:gd name="T25" fmla="*/ 261 h 269"/>
                <a:gd name="T26" fmla="*/ 77 w 287"/>
                <a:gd name="T27" fmla="*/ 220 h 269"/>
                <a:gd name="T28" fmla="*/ 47 w 287"/>
                <a:gd name="T29" fmla="*/ 220 h 269"/>
                <a:gd name="T30" fmla="*/ 47 w 287"/>
                <a:gd name="T31" fmla="*/ 20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269">
                  <a:moveTo>
                    <a:pt x="239" y="205"/>
                  </a:moveTo>
                  <a:lnTo>
                    <a:pt x="239" y="220"/>
                  </a:lnTo>
                  <a:lnTo>
                    <a:pt x="209" y="220"/>
                  </a:lnTo>
                  <a:lnTo>
                    <a:pt x="209" y="261"/>
                  </a:lnTo>
                  <a:lnTo>
                    <a:pt x="217" y="269"/>
                  </a:lnTo>
                  <a:lnTo>
                    <a:pt x="275" y="269"/>
                  </a:lnTo>
                  <a:lnTo>
                    <a:pt x="287" y="52"/>
                  </a:lnTo>
                  <a:lnTo>
                    <a:pt x="235" y="0"/>
                  </a:lnTo>
                  <a:lnTo>
                    <a:pt x="52" y="0"/>
                  </a:lnTo>
                  <a:lnTo>
                    <a:pt x="0" y="52"/>
                  </a:lnTo>
                  <a:lnTo>
                    <a:pt x="12" y="269"/>
                  </a:lnTo>
                  <a:lnTo>
                    <a:pt x="69" y="269"/>
                  </a:lnTo>
                  <a:lnTo>
                    <a:pt x="77" y="261"/>
                  </a:lnTo>
                  <a:lnTo>
                    <a:pt x="77" y="220"/>
                  </a:lnTo>
                  <a:lnTo>
                    <a:pt x="47" y="220"/>
                  </a:lnTo>
                  <a:lnTo>
                    <a:pt x="47" y="205"/>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7" name="Freeform 61"/>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 name="T24" fmla="*/ 170 w 170"/>
                <a:gd name="T25"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62"/>
            <p:cNvSpPr>
              <a:spLocks/>
            </p:cNvSpPr>
            <p:nvPr/>
          </p:nvSpPr>
          <p:spPr bwMode="auto">
            <a:xfrm>
              <a:off x="1717675" y="2884488"/>
              <a:ext cx="269875" cy="539750"/>
            </a:xfrm>
            <a:custGeom>
              <a:avLst/>
              <a:gdLst>
                <a:gd name="T0" fmla="*/ 170 w 170"/>
                <a:gd name="T1" fmla="*/ 0 h 340"/>
                <a:gd name="T2" fmla="*/ 170 w 170"/>
                <a:gd name="T3" fmla="*/ 324 h 340"/>
                <a:gd name="T4" fmla="*/ 155 w 170"/>
                <a:gd name="T5" fmla="*/ 340 h 340"/>
                <a:gd name="T6" fmla="*/ 110 w 170"/>
                <a:gd name="T7" fmla="*/ 340 h 340"/>
                <a:gd name="T8" fmla="*/ 94 w 170"/>
                <a:gd name="T9" fmla="*/ 324 h 340"/>
                <a:gd name="T10" fmla="*/ 94 w 170"/>
                <a:gd name="T11" fmla="*/ 55 h 340"/>
                <a:gd name="T12" fmla="*/ 76 w 170"/>
                <a:gd name="T13" fmla="*/ 55 h 340"/>
                <a:gd name="T14" fmla="*/ 76 w 170"/>
                <a:gd name="T15" fmla="*/ 324 h 340"/>
                <a:gd name="T16" fmla="*/ 61 w 170"/>
                <a:gd name="T17" fmla="*/ 340 h 340"/>
                <a:gd name="T18" fmla="*/ 16 w 170"/>
                <a:gd name="T19" fmla="*/ 340 h 340"/>
                <a:gd name="T20" fmla="*/ 0 w 170"/>
                <a:gd name="T21" fmla="*/ 324 h 340"/>
                <a:gd name="T22" fmla="*/ 0 w 170"/>
                <a:gd name="T2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40">
                  <a:moveTo>
                    <a:pt x="170" y="0"/>
                  </a:moveTo>
                  <a:lnTo>
                    <a:pt x="170" y="324"/>
                  </a:lnTo>
                  <a:lnTo>
                    <a:pt x="155" y="340"/>
                  </a:lnTo>
                  <a:lnTo>
                    <a:pt x="110" y="340"/>
                  </a:lnTo>
                  <a:lnTo>
                    <a:pt x="94" y="324"/>
                  </a:lnTo>
                  <a:lnTo>
                    <a:pt x="94" y="55"/>
                  </a:lnTo>
                  <a:lnTo>
                    <a:pt x="76" y="55"/>
                  </a:lnTo>
                  <a:lnTo>
                    <a:pt x="76" y="324"/>
                  </a:lnTo>
                  <a:lnTo>
                    <a:pt x="61" y="340"/>
                  </a:lnTo>
                  <a:lnTo>
                    <a:pt x="16" y="340"/>
                  </a:lnTo>
                  <a:lnTo>
                    <a:pt x="0" y="324"/>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9" name="Oval 63"/>
            <p:cNvSpPr>
              <a:spLocks noChangeArrowheads="1"/>
            </p:cNvSpPr>
            <p:nvPr/>
          </p:nvSpPr>
          <p:spPr bwMode="auto">
            <a:xfrm>
              <a:off x="1720850" y="2147888"/>
              <a:ext cx="263525" cy="263525"/>
            </a:xfrm>
            <a:prstGeom prst="ellipse">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 name="Freeform 64"/>
            <p:cNvSpPr>
              <a:spLocks/>
            </p:cNvSpPr>
            <p:nvPr/>
          </p:nvSpPr>
          <p:spPr bwMode="auto">
            <a:xfrm>
              <a:off x="1711325" y="2695575"/>
              <a:ext cx="284163" cy="215900"/>
            </a:xfrm>
            <a:custGeom>
              <a:avLst/>
              <a:gdLst>
                <a:gd name="T0" fmla="*/ 0 w 260"/>
                <a:gd name="T1" fmla="*/ 185 h 198"/>
                <a:gd name="T2" fmla="*/ 13 w 260"/>
                <a:gd name="T3" fmla="*/ 198 h 198"/>
                <a:gd name="T4" fmla="*/ 246 w 260"/>
                <a:gd name="T5" fmla="*/ 198 h 198"/>
                <a:gd name="T6" fmla="*/ 260 w 260"/>
                <a:gd name="T7" fmla="*/ 185 h 198"/>
                <a:gd name="T8" fmla="*/ 260 w 260"/>
                <a:gd name="T9" fmla="*/ 13 h 198"/>
                <a:gd name="T10" fmla="*/ 246 w 260"/>
                <a:gd name="T11" fmla="*/ 0 h 198"/>
                <a:gd name="T12" fmla="*/ 13 w 260"/>
                <a:gd name="T13" fmla="*/ 0 h 198"/>
                <a:gd name="T14" fmla="*/ 0 w 260"/>
                <a:gd name="T15" fmla="*/ 13 h 198"/>
                <a:gd name="T16" fmla="*/ 0 w 260"/>
                <a:gd name="T17" fmla="*/ 18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98">
                  <a:moveTo>
                    <a:pt x="0" y="185"/>
                  </a:moveTo>
                  <a:cubicBezTo>
                    <a:pt x="0" y="192"/>
                    <a:pt x="6" y="198"/>
                    <a:pt x="13" y="198"/>
                  </a:cubicBezTo>
                  <a:cubicBezTo>
                    <a:pt x="246" y="198"/>
                    <a:pt x="246" y="198"/>
                    <a:pt x="246" y="198"/>
                  </a:cubicBezTo>
                  <a:cubicBezTo>
                    <a:pt x="254" y="198"/>
                    <a:pt x="260" y="192"/>
                    <a:pt x="260" y="185"/>
                  </a:cubicBezTo>
                  <a:cubicBezTo>
                    <a:pt x="260" y="13"/>
                    <a:pt x="260" y="13"/>
                    <a:pt x="260" y="13"/>
                  </a:cubicBezTo>
                  <a:cubicBezTo>
                    <a:pt x="260" y="6"/>
                    <a:pt x="254" y="0"/>
                    <a:pt x="246" y="0"/>
                  </a:cubicBezTo>
                  <a:cubicBezTo>
                    <a:pt x="13" y="0"/>
                    <a:pt x="13" y="0"/>
                    <a:pt x="13" y="0"/>
                  </a:cubicBezTo>
                  <a:cubicBezTo>
                    <a:pt x="6" y="0"/>
                    <a:pt x="0" y="6"/>
                    <a:pt x="0" y="13"/>
                  </a:cubicBezTo>
                  <a:cubicBezTo>
                    <a:pt x="0" y="185"/>
                    <a:pt x="0" y="185"/>
                    <a:pt x="0" y="185"/>
                  </a:cubicBezTo>
                  <a:close/>
                </a:path>
              </a:pathLst>
            </a:cu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 name="Oval 65"/>
            <p:cNvSpPr>
              <a:spLocks noChangeArrowheads="1"/>
            </p:cNvSpPr>
            <p:nvPr/>
          </p:nvSpPr>
          <p:spPr bwMode="auto">
            <a:xfrm>
              <a:off x="1724025" y="2713038"/>
              <a:ext cx="22225" cy="23812"/>
            </a:xfrm>
            <a:prstGeom prst="ellipse">
              <a:avLst/>
            </a:prstGeom>
            <a:solidFill>
              <a:srgbClr val="FFFFFF"/>
            </a:solidFill>
            <a:ln w="63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 name="Freeform 66"/>
            <p:cNvSpPr>
              <a:spLocks/>
            </p:cNvSpPr>
            <p:nvPr/>
          </p:nvSpPr>
          <p:spPr bwMode="auto">
            <a:xfrm>
              <a:off x="1689100" y="2085975"/>
              <a:ext cx="328613" cy="193675"/>
            </a:xfrm>
            <a:custGeom>
              <a:avLst/>
              <a:gdLst>
                <a:gd name="T0" fmla="*/ 248 w 300"/>
                <a:gd name="T1" fmla="*/ 178 h 178"/>
                <a:gd name="T2" fmla="*/ 281 w 300"/>
                <a:gd name="T3" fmla="*/ 145 h 178"/>
                <a:gd name="T4" fmla="*/ 300 w 300"/>
                <a:gd name="T5" fmla="*/ 145 h 178"/>
                <a:gd name="T6" fmla="*/ 300 w 300"/>
                <a:gd name="T7" fmla="*/ 125 h 178"/>
                <a:gd name="T8" fmla="*/ 285 w 300"/>
                <a:gd name="T9" fmla="*/ 125 h 178"/>
                <a:gd name="T10" fmla="*/ 285 w 300"/>
                <a:gd name="T11" fmla="*/ 125 h 178"/>
                <a:gd name="T12" fmla="*/ 150 w 300"/>
                <a:gd name="T13" fmla="*/ 0 h 178"/>
                <a:gd name="T14" fmla="*/ 14 w 300"/>
                <a:gd name="T15" fmla="*/ 125 h 178"/>
                <a:gd name="T16" fmla="*/ 14 w 300"/>
                <a:gd name="T17" fmla="*/ 125 h 178"/>
                <a:gd name="T18" fmla="*/ 0 w 300"/>
                <a:gd name="T19" fmla="*/ 125 h 178"/>
                <a:gd name="T20" fmla="*/ 0 w 300"/>
                <a:gd name="T21" fmla="*/ 145 h 178"/>
                <a:gd name="T22" fmla="*/ 18 w 300"/>
                <a:gd name="T23" fmla="*/ 145 h 178"/>
                <a:gd name="T24" fmla="*/ 51 w 300"/>
                <a:gd name="T25" fmla="*/ 178 h 178"/>
                <a:gd name="T26" fmla="*/ 248 w 300"/>
                <a:gd name="T2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178">
                  <a:moveTo>
                    <a:pt x="248" y="178"/>
                  </a:moveTo>
                  <a:cubicBezTo>
                    <a:pt x="281" y="145"/>
                    <a:pt x="281" y="145"/>
                    <a:pt x="281" y="145"/>
                  </a:cubicBezTo>
                  <a:cubicBezTo>
                    <a:pt x="300" y="145"/>
                    <a:pt x="300" y="145"/>
                    <a:pt x="300" y="145"/>
                  </a:cubicBezTo>
                  <a:cubicBezTo>
                    <a:pt x="300" y="125"/>
                    <a:pt x="300" y="125"/>
                    <a:pt x="300" y="125"/>
                  </a:cubicBezTo>
                  <a:cubicBezTo>
                    <a:pt x="285" y="125"/>
                    <a:pt x="285" y="125"/>
                    <a:pt x="285" y="125"/>
                  </a:cubicBezTo>
                  <a:cubicBezTo>
                    <a:pt x="285" y="125"/>
                    <a:pt x="285" y="125"/>
                    <a:pt x="285" y="125"/>
                  </a:cubicBezTo>
                  <a:cubicBezTo>
                    <a:pt x="260" y="76"/>
                    <a:pt x="261" y="0"/>
                    <a:pt x="150" y="0"/>
                  </a:cubicBezTo>
                  <a:cubicBezTo>
                    <a:pt x="39" y="0"/>
                    <a:pt x="39" y="76"/>
                    <a:pt x="14" y="125"/>
                  </a:cubicBezTo>
                  <a:cubicBezTo>
                    <a:pt x="14" y="125"/>
                    <a:pt x="14" y="125"/>
                    <a:pt x="14" y="125"/>
                  </a:cubicBezTo>
                  <a:cubicBezTo>
                    <a:pt x="0" y="125"/>
                    <a:pt x="0" y="125"/>
                    <a:pt x="0" y="125"/>
                  </a:cubicBezTo>
                  <a:cubicBezTo>
                    <a:pt x="0" y="145"/>
                    <a:pt x="0" y="145"/>
                    <a:pt x="0" y="145"/>
                  </a:cubicBezTo>
                  <a:cubicBezTo>
                    <a:pt x="18" y="145"/>
                    <a:pt x="18" y="145"/>
                    <a:pt x="18" y="145"/>
                  </a:cubicBezTo>
                  <a:cubicBezTo>
                    <a:pt x="51" y="178"/>
                    <a:pt x="51" y="178"/>
                    <a:pt x="51" y="178"/>
                  </a:cubicBezTo>
                  <a:lnTo>
                    <a:pt x="248" y="178"/>
                  </a:lnTo>
                  <a:close/>
                </a:path>
              </a:pathLst>
            </a:custGeom>
            <a:solidFill>
              <a:srgbClr val="FFFFFF"/>
            </a:soli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 name="Line 67"/>
            <p:cNvSpPr>
              <a:spLocks noChangeShapeType="1"/>
            </p:cNvSpPr>
            <p:nvPr/>
          </p:nvSpPr>
          <p:spPr bwMode="auto">
            <a:xfrm>
              <a:off x="1741488" y="2236788"/>
              <a:ext cx="223838" cy="0"/>
            </a:xfrm>
            <a:prstGeom prst="line">
              <a:avLst/>
            </a:prstGeom>
            <a:noFill/>
            <a:ln w="63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4" name="Freeform 68"/>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 name="T14" fmla="*/ 0 w 70"/>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7">
                  <a:moveTo>
                    <a:pt x="0" y="0"/>
                  </a:moveTo>
                  <a:lnTo>
                    <a:pt x="5" y="77"/>
                  </a:lnTo>
                  <a:lnTo>
                    <a:pt x="62" y="77"/>
                  </a:lnTo>
                  <a:lnTo>
                    <a:pt x="70" y="69"/>
                  </a:lnTo>
                  <a:lnTo>
                    <a:pt x="70" y="28"/>
                  </a:lnTo>
                  <a:lnTo>
                    <a:pt x="40" y="28"/>
                  </a:lnTo>
                  <a:lnTo>
                    <a:pt x="4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69"/>
            <p:cNvSpPr>
              <a:spLocks/>
            </p:cNvSpPr>
            <p:nvPr/>
          </p:nvSpPr>
          <p:spPr bwMode="auto">
            <a:xfrm>
              <a:off x="1636713" y="2762250"/>
              <a:ext cx="111125" cy="122237"/>
            </a:xfrm>
            <a:custGeom>
              <a:avLst/>
              <a:gdLst>
                <a:gd name="T0" fmla="*/ 0 w 70"/>
                <a:gd name="T1" fmla="*/ 0 h 77"/>
                <a:gd name="T2" fmla="*/ 5 w 70"/>
                <a:gd name="T3" fmla="*/ 77 h 77"/>
                <a:gd name="T4" fmla="*/ 62 w 70"/>
                <a:gd name="T5" fmla="*/ 77 h 77"/>
                <a:gd name="T6" fmla="*/ 70 w 70"/>
                <a:gd name="T7" fmla="*/ 69 h 77"/>
                <a:gd name="T8" fmla="*/ 70 w 70"/>
                <a:gd name="T9" fmla="*/ 28 h 77"/>
                <a:gd name="T10" fmla="*/ 40 w 70"/>
                <a:gd name="T11" fmla="*/ 28 h 77"/>
                <a:gd name="T12" fmla="*/ 40 w 70"/>
                <a:gd name="T13" fmla="*/ 13 h 77"/>
              </a:gdLst>
              <a:ahLst/>
              <a:cxnLst>
                <a:cxn ang="0">
                  <a:pos x="T0" y="T1"/>
                </a:cxn>
                <a:cxn ang="0">
                  <a:pos x="T2" y="T3"/>
                </a:cxn>
                <a:cxn ang="0">
                  <a:pos x="T4" y="T5"/>
                </a:cxn>
                <a:cxn ang="0">
                  <a:pos x="T6" y="T7"/>
                </a:cxn>
                <a:cxn ang="0">
                  <a:pos x="T8" y="T9"/>
                </a:cxn>
                <a:cxn ang="0">
                  <a:pos x="T10" y="T11"/>
                </a:cxn>
                <a:cxn ang="0">
                  <a:pos x="T12" y="T13"/>
                </a:cxn>
              </a:cxnLst>
              <a:rect l="0" t="0" r="r" b="b"/>
              <a:pathLst>
                <a:path w="70" h="77">
                  <a:moveTo>
                    <a:pt x="0" y="0"/>
                  </a:moveTo>
                  <a:lnTo>
                    <a:pt x="5" y="77"/>
                  </a:lnTo>
                  <a:lnTo>
                    <a:pt x="62" y="77"/>
                  </a:lnTo>
                  <a:lnTo>
                    <a:pt x="70" y="69"/>
                  </a:lnTo>
                  <a:lnTo>
                    <a:pt x="70" y="28"/>
                  </a:lnTo>
                  <a:lnTo>
                    <a:pt x="40" y="28"/>
                  </a:lnTo>
                  <a:lnTo>
                    <a:pt x="40" y="1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 name="Freeform 70"/>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 name="T10" fmla="*/ 260 w 262"/>
                <a:gd name="T11" fmla="*/ 90 h 90"/>
              </a:gdLst>
              <a:ahLst/>
              <a:cxnLst>
                <a:cxn ang="0">
                  <a:pos x="T0" y="T1"/>
                </a:cxn>
                <a:cxn ang="0">
                  <a:pos x="T2" y="T3"/>
                </a:cxn>
                <a:cxn ang="0">
                  <a:pos x="T4" y="T5"/>
                </a:cxn>
                <a:cxn ang="0">
                  <a:pos x="T6" y="T7"/>
                </a:cxn>
                <a:cxn ang="0">
                  <a:pos x="T8" y="T9"/>
                </a:cxn>
                <a:cxn ang="0">
                  <a:pos x="T10" y="T11"/>
                </a:cxn>
              </a:cxnLst>
              <a:rect l="0" t="0" r="r" b="b"/>
              <a:pathLst>
                <a:path w="262" h="90">
                  <a:moveTo>
                    <a:pt x="260" y="90"/>
                  </a:moveTo>
                  <a:lnTo>
                    <a:pt x="262" y="52"/>
                  </a:lnTo>
                  <a:lnTo>
                    <a:pt x="210" y="0"/>
                  </a:lnTo>
                  <a:lnTo>
                    <a:pt x="27" y="0"/>
                  </a:lnTo>
                  <a:lnTo>
                    <a:pt x="0" y="25"/>
                  </a:lnTo>
                  <a:lnTo>
                    <a:pt x="26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71"/>
            <p:cNvSpPr>
              <a:spLocks/>
            </p:cNvSpPr>
            <p:nvPr/>
          </p:nvSpPr>
          <p:spPr bwMode="auto">
            <a:xfrm>
              <a:off x="1665288" y="2457450"/>
              <a:ext cx="415925" cy="142875"/>
            </a:xfrm>
            <a:custGeom>
              <a:avLst/>
              <a:gdLst>
                <a:gd name="T0" fmla="*/ 260 w 262"/>
                <a:gd name="T1" fmla="*/ 90 h 90"/>
                <a:gd name="T2" fmla="*/ 262 w 262"/>
                <a:gd name="T3" fmla="*/ 52 h 90"/>
                <a:gd name="T4" fmla="*/ 210 w 262"/>
                <a:gd name="T5" fmla="*/ 0 h 90"/>
                <a:gd name="T6" fmla="*/ 27 w 262"/>
                <a:gd name="T7" fmla="*/ 0 h 90"/>
                <a:gd name="T8" fmla="*/ 0 w 262"/>
                <a:gd name="T9" fmla="*/ 25 h 90"/>
              </a:gdLst>
              <a:ahLst/>
              <a:cxnLst>
                <a:cxn ang="0">
                  <a:pos x="T0" y="T1"/>
                </a:cxn>
                <a:cxn ang="0">
                  <a:pos x="T2" y="T3"/>
                </a:cxn>
                <a:cxn ang="0">
                  <a:pos x="T4" y="T5"/>
                </a:cxn>
                <a:cxn ang="0">
                  <a:pos x="T6" y="T7"/>
                </a:cxn>
                <a:cxn ang="0">
                  <a:pos x="T8" y="T9"/>
                </a:cxn>
              </a:cxnLst>
              <a:rect l="0" t="0" r="r" b="b"/>
              <a:pathLst>
                <a:path w="262" h="90">
                  <a:moveTo>
                    <a:pt x="260" y="90"/>
                  </a:moveTo>
                  <a:lnTo>
                    <a:pt x="262" y="52"/>
                  </a:lnTo>
                  <a:lnTo>
                    <a:pt x="210" y="0"/>
                  </a:lnTo>
                  <a:lnTo>
                    <a:pt x="27" y="0"/>
                  </a:lnTo>
                  <a:lnTo>
                    <a:pt x="0" y="25"/>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 name="Freeform 72"/>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 name="T14" fmla="*/ 30 w 76"/>
                <a:gd name="T15" fmla="*/ 115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79">
                  <a:moveTo>
                    <a:pt x="30" y="115"/>
                  </a:moveTo>
                  <a:lnTo>
                    <a:pt x="30" y="130"/>
                  </a:lnTo>
                  <a:lnTo>
                    <a:pt x="0" y="130"/>
                  </a:lnTo>
                  <a:lnTo>
                    <a:pt x="0" y="171"/>
                  </a:lnTo>
                  <a:lnTo>
                    <a:pt x="8" y="179"/>
                  </a:lnTo>
                  <a:lnTo>
                    <a:pt x="66" y="179"/>
                  </a:lnTo>
                  <a:lnTo>
                    <a:pt x="76" y="0"/>
                  </a:lnTo>
                  <a:lnTo>
                    <a:pt x="30"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73"/>
            <p:cNvSpPr>
              <a:spLocks/>
            </p:cNvSpPr>
            <p:nvPr/>
          </p:nvSpPr>
          <p:spPr bwMode="auto">
            <a:xfrm>
              <a:off x="1957388" y="2600325"/>
              <a:ext cx="120650" cy="284162"/>
            </a:xfrm>
            <a:custGeom>
              <a:avLst/>
              <a:gdLst>
                <a:gd name="T0" fmla="*/ 30 w 76"/>
                <a:gd name="T1" fmla="*/ 115 h 179"/>
                <a:gd name="T2" fmla="*/ 30 w 76"/>
                <a:gd name="T3" fmla="*/ 130 h 179"/>
                <a:gd name="T4" fmla="*/ 0 w 76"/>
                <a:gd name="T5" fmla="*/ 130 h 179"/>
                <a:gd name="T6" fmla="*/ 0 w 76"/>
                <a:gd name="T7" fmla="*/ 171 h 179"/>
                <a:gd name="T8" fmla="*/ 8 w 76"/>
                <a:gd name="T9" fmla="*/ 179 h 179"/>
                <a:gd name="T10" fmla="*/ 66 w 76"/>
                <a:gd name="T11" fmla="*/ 179 h 179"/>
                <a:gd name="T12" fmla="*/ 76 w 76"/>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76" h="179">
                  <a:moveTo>
                    <a:pt x="30" y="115"/>
                  </a:moveTo>
                  <a:lnTo>
                    <a:pt x="30" y="130"/>
                  </a:lnTo>
                  <a:lnTo>
                    <a:pt x="0" y="130"/>
                  </a:lnTo>
                  <a:lnTo>
                    <a:pt x="0" y="171"/>
                  </a:lnTo>
                  <a:lnTo>
                    <a:pt x="8" y="179"/>
                  </a:lnTo>
                  <a:lnTo>
                    <a:pt x="66" y="179"/>
                  </a:lnTo>
                  <a:lnTo>
                    <a:pt x="76"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 name="Freeform 74"/>
            <p:cNvSpPr>
              <a:spLocks/>
            </p:cNvSpPr>
            <p:nvPr/>
          </p:nvSpPr>
          <p:spPr bwMode="auto">
            <a:xfrm>
              <a:off x="1638300" y="2613025"/>
              <a:ext cx="79375" cy="128587"/>
            </a:xfrm>
            <a:custGeom>
              <a:avLst/>
              <a:gdLst>
                <a:gd name="T0" fmla="*/ 72 w 72"/>
                <a:gd name="T1" fmla="*/ 0 h 118"/>
                <a:gd name="T2" fmla="*/ 12 w 72"/>
                <a:gd name="T3" fmla="*/ 43 h 118"/>
                <a:gd name="T4" fmla="*/ 13 w 72"/>
                <a:gd name="T5" fmla="*/ 118 h 118"/>
              </a:gdLst>
              <a:ahLst/>
              <a:cxnLst>
                <a:cxn ang="0">
                  <a:pos x="T0" y="T1"/>
                </a:cxn>
                <a:cxn ang="0">
                  <a:pos x="T2" y="T3"/>
                </a:cxn>
                <a:cxn ang="0">
                  <a:pos x="T4" y="T5"/>
                </a:cxn>
              </a:cxnLst>
              <a:rect l="0" t="0" r="r" b="b"/>
              <a:pathLst>
                <a:path w="72" h="118">
                  <a:moveTo>
                    <a:pt x="72" y="0"/>
                  </a:moveTo>
                  <a:cubicBezTo>
                    <a:pt x="47" y="3"/>
                    <a:pt x="24" y="18"/>
                    <a:pt x="12" y="43"/>
                  </a:cubicBezTo>
                  <a:cubicBezTo>
                    <a:pt x="0" y="67"/>
                    <a:pt x="1" y="95"/>
                    <a:pt x="13" y="118"/>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5" name="Freeform 75"/>
            <p:cNvSpPr>
              <a:spLocks/>
            </p:cNvSpPr>
            <p:nvPr/>
          </p:nvSpPr>
          <p:spPr bwMode="auto">
            <a:xfrm>
              <a:off x="1587500" y="2566988"/>
              <a:ext cx="100013" cy="177800"/>
            </a:xfrm>
            <a:custGeom>
              <a:avLst/>
              <a:gdLst>
                <a:gd name="T0" fmla="*/ 11 w 92"/>
                <a:gd name="T1" fmla="*/ 163 h 163"/>
                <a:gd name="T2" fmla="*/ 18 w 92"/>
                <a:gd name="T3" fmla="*/ 63 h 163"/>
                <a:gd name="T4" fmla="*/ 92 w 92"/>
                <a:gd name="T5" fmla="*/ 0 h 163"/>
              </a:gdLst>
              <a:ahLst/>
              <a:cxnLst>
                <a:cxn ang="0">
                  <a:pos x="T0" y="T1"/>
                </a:cxn>
                <a:cxn ang="0">
                  <a:pos x="T2" y="T3"/>
                </a:cxn>
                <a:cxn ang="0">
                  <a:pos x="T4" y="T5"/>
                </a:cxn>
              </a:cxnLst>
              <a:rect l="0" t="0" r="r" b="b"/>
              <a:pathLst>
                <a:path w="92" h="163">
                  <a:moveTo>
                    <a:pt x="11" y="163"/>
                  </a:moveTo>
                  <a:cubicBezTo>
                    <a:pt x="0" y="131"/>
                    <a:pt x="2" y="95"/>
                    <a:pt x="18" y="63"/>
                  </a:cubicBezTo>
                  <a:cubicBezTo>
                    <a:pt x="34" y="31"/>
                    <a:pt x="61" y="9"/>
                    <a:pt x="92"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6" name="Freeform 76"/>
            <p:cNvSpPr>
              <a:spLocks/>
            </p:cNvSpPr>
            <p:nvPr/>
          </p:nvSpPr>
          <p:spPr bwMode="auto">
            <a:xfrm>
              <a:off x="1535113" y="2520950"/>
              <a:ext cx="123825" cy="225425"/>
            </a:xfrm>
            <a:custGeom>
              <a:avLst/>
              <a:gdLst>
                <a:gd name="T0" fmla="*/ 10 w 113"/>
                <a:gd name="T1" fmla="*/ 207 h 207"/>
                <a:gd name="T2" fmla="*/ 23 w 113"/>
                <a:gd name="T3" fmla="*/ 84 h 207"/>
                <a:gd name="T4" fmla="*/ 113 w 113"/>
                <a:gd name="T5" fmla="*/ 0 h 207"/>
              </a:gdLst>
              <a:ahLst/>
              <a:cxnLst>
                <a:cxn ang="0">
                  <a:pos x="T0" y="T1"/>
                </a:cxn>
                <a:cxn ang="0">
                  <a:pos x="T2" y="T3"/>
                </a:cxn>
                <a:cxn ang="0">
                  <a:pos x="T4" y="T5"/>
                </a:cxn>
              </a:cxnLst>
              <a:rect l="0" t="0" r="r" b="b"/>
              <a:pathLst>
                <a:path w="113" h="207">
                  <a:moveTo>
                    <a:pt x="10" y="207"/>
                  </a:moveTo>
                  <a:cubicBezTo>
                    <a:pt x="0" y="167"/>
                    <a:pt x="3" y="123"/>
                    <a:pt x="23" y="84"/>
                  </a:cubicBezTo>
                  <a:cubicBezTo>
                    <a:pt x="43" y="44"/>
                    <a:pt x="76" y="15"/>
                    <a:pt x="113"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7" name="Freeform 77"/>
            <p:cNvSpPr>
              <a:spLocks/>
            </p:cNvSpPr>
            <p:nvPr/>
          </p:nvSpPr>
          <p:spPr bwMode="auto">
            <a:xfrm>
              <a:off x="1479550" y="2473325"/>
              <a:ext cx="152400" cy="276225"/>
            </a:xfrm>
            <a:custGeom>
              <a:avLst/>
              <a:gdLst>
                <a:gd name="T0" fmla="*/ 12 w 139"/>
                <a:gd name="T1" fmla="*/ 253 h 253"/>
                <a:gd name="T2" fmla="*/ 29 w 139"/>
                <a:gd name="T3" fmla="*/ 102 h 253"/>
                <a:gd name="T4" fmla="*/ 139 w 139"/>
                <a:gd name="T5" fmla="*/ 0 h 253"/>
              </a:gdLst>
              <a:ahLst/>
              <a:cxnLst>
                <a:cxn ang="0">
                  <a:pos x="T0" y="T1"/>
                </a:cxn>
                <a:cxn ang="0">
                  <a:pos x="T2" y="T3"/>
                </a:cxn>
                <a:cxn ang="0">
                  <a:pos x="T4" y="T5"/>
                </a:cxn>
              </a:cxnLst>
              <a:rect l="0" t="0" r="r" b="b"/>
              <a:pathLst>
                <a:path w="139" h="253">
                  <a:moveTo>
                    <a:pt x="12" y="253"/>
                  </a:moveTo>
                  <a:cubicBezTo>
                    <a:pt x="0" y="204"/>
                    <a:pt x="4" y="151"/>
                    <a:pt x="29" y="102"/>
                  </a:cubicBezTo>
                  <a:cubicBezTo>
                    <a:pt x="53" y="53"/>
                    <a:pt x="93" y="18"/>
                    <a:pt x="139" y="0"/>
                  </a:cubicBez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2785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rap Up</a:t>
            </a:r>
            <a:endParaRPr lang="en-US" dirty="0"/>
          </a:p>
        </p:txBody>
      </p:sp>
      <p:sp>
        <p:nvSpPr>
          <p:cNvPr id="3" name="Date Placeholder 2"/>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2633024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rap-up</a:t>
            </a:r>
            <a:br>
              <a:rPr lang="en-US" dirty="0" smtClean="0"/>
            </a:br>
            <a:r>
              <a:rPr lang="en-US" dirty="0" smtClean="0">
                <a:solidFill>
                  <a:schemeClr val="accent1"/>
                </a:solidFill>
              </a:rPr>
              <a:t>Key takeaways</a:t>
            </a:r>
            <a:endParaRPr lang="en-US" dirty="0">
              <a:solidFill>
                <a:schemeClr val="accent1"/>
              </a:solidFill>
            </a:endParaRPr>
          </a:p>
        </p:txBody>
      </p:sp>
      <p:sp>
        <p:nvSpPr>
          <p:cNvPr id="3" name="Date Placeholder 2"/>
          <p:cNvSpPr>
            <a:spLocks noGrp="1"/>
          </p:cNvSpPr>
          <p:nvPr>
            <p:ph type="dt" sz="half" idx="11"/>
          </p:nvPr>
        </p:nvSpPr>
        <p:spPr/>
        <p:txBody>
          <a:bodyPr/>
          <a:lstStyle/>
          <a:p>
            <a:r>
              <a:rPr lang="en-US" smtClean="0"/>
              <a:t>October 13, 2016</a:t>
            </a:r>
            <a:endParaRPr lang="en-US" dirty="0"/>
          </a:p>
        </p:txBody>
      </p:sp>
      <p:sp>
        <p:nvSpPr>
          <p:cNvPr id="8" name="TextBox 7"/>
          <p:cNvSpPr txBox="1"/>
          <p:nvPr/>
        </p:nvSpPr>
        <p:spPr bwMode="gray">
          <a:xfrm>
            <a:off x="441833" y="3032956"/>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algn="ctr" fontAlgn="base">
              <a:spcBef>
                <a:spcPts val="1100"/>
              </a:spcBef>
              <a:spcAft>
                <a:spcPct val="0"/>
              </a:spcAft>
              <a:buClr>
                <a:schemeClr val="tx2"/>
              </a:buClr>
              <a:buSzPct val="70000"/>
            </a:pPr>
            <a:r>
              <a:rPr lang="en-US" sz="1600" dirty="0">
                <a:solidFill>
                  <a:schemeClr val="bg1"/>
                </a:solidFill>
                <a:latin typeface="Arial" pitchFamily="34" charset="0"/>
                <a:cs typeface="Arial" pitchFamily="34" charset="0"/>
              </a:rPr>
              <a:t>Key takeaway </a:t>
            </a:r>
            <a:r>
              <a:rPr lang="en-US" sz="1600" dirty="0" smtClean="0">
                <a:solidFill>
                  <a:schemeClr val="bg1"/>
                </a:solidFill>
                <a:latin typeface="Arial" pitchFamily="34" charset="0"/>
                <a:cs typeface="Arial" pitchFamily="34" charset="0"/>
              </a:rPr>
              <a:t>#2</a:t>
            </a:r>
            <a:endParaRPr lang="en-US" sz="1600" dirty="0">
              <a:solidFill>
                <a:schemeClr val="bg1"/>
              </a:solidFill>
              <a:latin typeface="Arial" pitchFamily="34" charset="0"/>
              <a:cs typeface="Arial" pitchFamily="34" charset="0"/>
            </a:endParaRPr>
          </a:p>
        </p:txBody>
      </p:sp>
      <p:sp>
        <p:nvSpPr>
          <p:cNvPr id="9" name="TextBox 8"/>
          <p:cNvSpPr txBox="1"/>
          <p:nvPr/>
        </p:nvSpPr>
        <p:spPr bwMode="gray">
          <a:xfrm>
            <a:off x="457250" y="4724610"/>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algn="ctr" fontAlgn="base">
              <a:spcBef>
                <a:spcPts val="1100"/>
              </a:spcBef>
              <a:spcAft>
                <a:spcPct val="0"/>
              </a:spcAft>
              <a:buClr>
                <a:schemeClr val="tx2"/>
              </a:buClr>
              <a:buSzPct val="70000"/>
            </a:pPr>
            <a:r>
              <a:rPr lang="en-US" sz="1600" dirty="0">
                <a:solidFill>
                  <a:schemeClr val="bg1"/>
                </a:solidFill>
                <a:latin typeface="Arial" pitchFamily="34" charset="0"/>
                <a:cs typeface="Arial" pitchFamily="34" charset="0"/>
              </a:rPr>
              <a:t>Key takeaway </a:t>
            </a:r>
            <a:r>
              <a:rPr lang="en-US" sz="1600" dirty="0" smtClean="0">
                <a:solidFill>
                  <a:schemeClr val="bg1"/>
                </a:solidFill>
                <a:latin typeface="Arial" pitchFamily="34" charset="0"/>
                <a:cs typeface="Arial" pitchFamily="34" charset="0"/>
              </a:rPr>
              <a:t>#3</a:t>
            </a:r>
            <a:endParaRPr lang="en-US" sz="1600" dirty="0">
              <a:solidFill>
                <a:schemeClr val="bg1"/>
              </a:solidFill>
              <a:latin typeface="Arial" pitchFamily="34" charset="0"/>
              <a:cs typeface="Arial" pitchFamily="34" charset="0"/>
            </a:endParaRPr>
          </a:p>
        </p:txBody>
      </p:sp>
      <p:sp>
        <p:nvSpPr>
          <p:cNvPr id="10" name="TextBox 9"/>
          <p:cNvSpPr txBox="1"/>
          <p:nvPr/>
        </p:nvSpPr>
        <p:spPr bwMode="gray">
          <a:xfrm>
            <a:off x="441833" y="1341302"/>
            <a:ext cx="8244916" cy="1548172"/>
          </a:xfrm>
          <a:prstGeom prst="rect">
            <a:avLst/>
          </a:prstGeom>
          <a:solidFill>
            <a:schemeClr val="accent1"/>
          </a:solidFill>
          <a:ln w="9525">
            <a:noFill/>
            <a:miter lim="800000"/>
            <a:headEnd/>
            <a:tailEnd/>
          </a:ln>
        </p:spPr>
        <p:txBody>
          <a:bodyPr vert="horz" wrap="square" lIns="72000" tIns="72000" rIns="72000" bIns="72000" numCol="1" rtlCol="0" anchor="ctr" anchorCtr="0" compatLnSpc="1">
            <a:prstTxWarp prst="textNoShape">
              <a:avLst/>
            </a:prstTxWarp>
            <a:noAutofit/>
          </a:bodyPr>
          <a:lstStyle/>
          <a:p>
            <a:pPr marL="0" indent="0" algn="ctr" rtl="0" fontAlgn="base">
              <a:spcBef>
                <a:spcPts val="1100"/>
              </a:spcBef>
              <a:spcAft>
                <a:spcPct val="0"/>
              </a:spcAft>
              <a:buClr>
                <a:schemeClr val="tx2"/>
              </a:buClr>
              <a:buSzPct val="70000"/>
              <a:buFont typeface="Arial" pitchFamily="34" charset="0"/>
              <a:buNone/>
            </a:pPr>
            <a:r>
              <a:rPr lang="en-US" sz="1600" kern="1200" dirty="0" smtClean="0">
                <a:solidFill>
                  <a:schemeClr val="bg1"/>
                </a:solidFill>
                <a:latin typeface="Arial" pitchFamily="34" charset="0"/>
                <a:ea typeface="+mn-ea"/>
                <a:cs typeface="Arial" pitchFamily="34" charset="0"/>
              </a:rPr>
              <a:t>Key takeaway #1</a:t>
            </a:r>
          </a:p>
        </p:txBody>
      </p:sp>
    </p:spTree>
    <p:extLst>
      <p:ext uri="{BB962C8B-B14F-4D97-AF65-F5344CB8AC3E}">
        <p14:creationId xmlns:p14="http://schemas.microsoft.com/office/powerpoint/2010/main" val="276702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your certificate of attendance certificate now</a:t>
            </a:r>
            <a:br>
              <a:rPr lang="en-US" dirty="0" smtClean="0"/>
            </a:br>
            <a:endParaRPr lang="en-US" dirty="0"/>
          </a:p>
        </p:txBody>
      </p:sp>
      <p:sp>
        <p:nvSpPr>
          <p:cNvPr id="4" name="Date Placeholder 3"/>
          <p:cNvSpPr>
            <a:spLocks noGrp="1"/>
          </p:cNvSpPr>
          <p:nvPr>
            <p:ph type="dt" sz="half" idx="14"/>
          </p:nvPr>
        </p:nvSpPr>
        <p:spPr/>
        <p:txBody>
          <a:bodyPr/>
          <a:lstStyle/>
          <a:p>
            <a:r>
              <a:rPr lang="de-DE" smtClean="0"/>
              <a:t>Month DD, YYYY</a:t>
            </a:r>
            <a:endParaRPr lang="en-US" dirty="0"/>
          </a:p>
        </p:txBody>
      </p:sp>
      <p:sp>
        <p:nvSpPr>
          <p:cNvPr id="7" name="TextBox 6"/>
          <p:cNvSpPr txBox="1"/>
          <p:nvPr/>
        </p:nvSpPr>
        <p:spPr bwMode="gray">
          <a:xfrm>
            <a:off x="2231740" y="2708920"/>
            <a:ext cx="3204356" cy="1187343"/>
          </a:xfrm>
          <a:prstGeom prst="rect">
            <a:avLst/>
          </a:prstGeom>
          <a:no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indent="0" algn="l" rtl="0" fontAlgn="base">
              <a:spcBef>
                <a:spcPts val="1100"/>
              </a:spcBef>
              <a:spcAft>
                <a:spcPct val="0"/>
              </a:spcAft>
              <a:buClr>
                <a:schemeClr val="tx2"/>
              </a:buClr>
              <a:buSzPct val="70000"/>
              <a:buFont typeface="Arial" pitchFamily="34" charset="0"/>
              <a:buNone/>
            </a:pPr>
            <a:r>
              <a:rPr lang="en-US" sz="1600" kern="1200" dirty="0" smtClean="0">
                <a:solidFill>
                  <a:schemeClr val="tx1"/>
                </a:solidFill>
                <a:latin typeface="Arial" pitchFamily="34" charset="0"/>
                <a:ea typeface="+mn-ea"/>
                <a:cs typeface="Arial" pitchFamily="34" charset="0"/>
              </a:rPr>
              <a:t>New image to</a:t>
            </a:r>
          </a:p>
        </p:txBody>
      </p:sp>
      <p:pic>
        <p:nvPicPr>
          <p:cNvPr id="9" name="Picture 8"/>
          <p:cNvPicPr>
            <a:picLocks noChangeAspect="1"/>
          </p:cNvPicPr>
          <p:nvPr/>
        </p:nvPicPr>
        <p:blipFill>
          <a:blip r:embed="rId3"/>
          <a:stretch>
            <a:fillRect/>
          </a:stretch>
        </p:blipFill>
        <p:spPr>
          <a:xfrm>
            <a:off x="1838147" y="1304764"/>
            <a:ext cx="6313828" cy="4887869"/>
          </a:xfrm>
          <a:prstGeom prst="rect">
            <a:avLst/>
          </a:prstGeom>
          <a:ln>
            <a:solidFill>
              <a:schemeClr val="bg2"/>
            </a:solidFill>
          </a:ln>
        </p:spPr>
      </p:pic>
    </p:spTree>
    <p:extLst>
      <p:ext uri="{BB962C8B-B14F-4D97-AF65-F5344CB8AC3E}">
        <p14:creationId xmlns:p14="http://schemas.microsoft.com/office/powerpoint/2010/main" val="2139358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476375" y="4401356"/>
            <a:ext cx="2987613" cy="1907964"/>
          </a:xfrm>
        </p:spPr>
        <p:txBody>
          <a:bodyPr/>
          <a:lstStyle/>
          <a:p>
            <a:pPr marL="0" indent="0">
              <a:spcBef>
                <a:spcPts val="600"/>
              </a:spcBef>
              <a:spcAft>
                <a:spcPts val="600"/>
              </a:spcAft>
              <a:buNone/>
            </a:pPr>
            <a:r>
              <a:rPr lang="en-US" dirty="0" smtClean="0">
                <a:latin typeface="Arial" charset="0"/>
              </a:rPr>
              <a:t>[Speaker nam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Speaker title]</a:t>
            </a:r>
            <a:r>
              <a:rPr lang="en-US" dirty="0">
                <a:latin typeface="Arial" charset="0"/>
              </a:rPr>
              <a:t>	</a:t>
            </a:r>
            <a:endParaRPr lang="en-US" dirty="0" smtClean="0">
              <a:latin typeface="Arial" charset="0"/>
            </a:endParaRPr>
          </a:p>
          <a:p>
            <a:pPr marL="0" indent="0">
              <a:spcBef>
                <a:spcPts val="600"/>
              </a:spcBef>
              <a:spcAft>
                <a:spcPts val="600"/>
              </a:spcAft>
              <a:buNone/>
            </a:pPr>
            <a:r>
              <a:rPr lang="en-US" dirty="0" smtClean="0">
                <a:latin typeface="Arial" charset="0"/>
              </a:rPr>
              <a:t>[Company name]</a:t>
            </a:r>
          </a:p>
          <a:p>
            <a:pPr marL="0" indent="0">
              <a:spcBef>
                <a:spcPts val="600"/>
              </a:spcBef>
              <a:spcAft>
                <a:spcPts val="600"/>
              </a:spcAft>
              <a:buNone/>
            </a:pPr>
            <a:r>
              <a:rPr lang="en-US" dirty="0" smtClean="0">
                <a:latin typeface="Arial" charset="0"/>
              </a:rPr>
              <a:t>[Email address]</a:t>
            </a:r>
            <a:r>
              <a:rPr lang="en-US" dirty="0">
                <a:latin typeface="Arial" charset="0"/>
              </a:rPr>
              <a:t>	</a:t>
            </a:r>
            <a:endParaRPr lang="en-US" dirty="0"/>
          </a:p>
        </p:txBody>
      </p:sp>
      <p:sp>
        <p:nvSpPr>
          <p:cNvPr id="3" name="Title 2"/>
          <p:cNvSpPr>
            <a:spLocks noGrp="1"/>
          </p:cNvSpPr>
          <p:nvPr>
            <p:ph type="title"/>
          </p:nvPr>
        </p:nvSpPr>
        <p:spPr/>
        <p:txBody>
          <a:bodyPr/>
          <a:lstStyle/>
          <a:p>
            <a:r>
              <a:rPr lang="en-US" dirty="0" smtClean="0"/>
              <a:t>Q&amp;A</a:t>
            </a:r>
            <a:endParaRPr lang="en-US" dirty="0"/>
          </a:p>
        </p:txBody>
      </p:sp>
      <p:sp>
        <p:nvSpPr>
          <p:cNvPr id="4" name="Picture Placeholder 3"/>
          <p:cNvSpPr>
            <a:spLocks noGrp="1"/>
          </p:cNvSpPr>
          <p:nvPr>
            <p:ph type="pic" sz="quarter" idx="13"/>
          </p:nvPr>
        </p:nvSpPr>
        <p:spPr/>
      </p:sp>
      <p:sp>
        <p:nvSpPr>
          <p:cNvPr id="5" name="Date Placeholder 4"/>
          <p:cNvSpPr>
            <a:spLocks noGrp="1"/>
          </p:cNvSpPr>
          <p:nvPr>
            <p:ph type="dt" sz="half" idx="14"/>
          </p:nvPr>
        </p:nvSpPr>
        <p:spPr/>
        <p:txBody>
          <a:bodyPr/>
          <a:lstStyle/>
          <a:p>
            <a:r>
              <a:rPr lang="de-DE" smtClean="0"/>
              <a:t>Month DD, YYYY</a:t>
            </a:r>
            <a:endParaRPr lang="en-US" dirty="0"/>
          </a:p>
        </p:txBody>
      </p:sp>
      <p:sp>
        <p:nvSpPr>
          <p:cNvPr id="6" name="Text Placeholder 1"/>
          <p:cNvSpPr txBox="1">
            <a:spLocks/>
          </p:cNvSpPr>
          <p:nvPr/>
        </p:nvSpPr>
        <p:spPr bwMode="gray">
          <a:xfrm>
            <a:off x="4680250" y="4401356"/>
            <a:ext cx="2987613" cy="1907964"/>
          </a:xfrm>
          <a:prstGeom prst="rect">
            <a:avLst/>
          </a:prstGeom>
        </p:spPr>
        <p:txBody>
          <a:bodyPr vert="horz" lIns="0" tIns="0" rIns="0" bIns="0" spcCol="144000" rtlCol="0">
            <a:noAutofit/>
          </a:bodyPr>
          <a:lstStyle>
            <a:lvl1pPr marL="180975" indent="-180975" algn="l" defTabSz="914400" rtl="0" eaLnBrk="1" latinLnBrk="0" hangingPunct="1">
              <a:spcBef>
                <a:spcPts val="1100"/>
              </a:spcBef>
              <a:spcAft>
                <a:spcPts val="0"/>
              </a:spcAft>
              <a:buClr>
                <a:schemeClr val="tx2"/>
              </a:buClr>
              <a:buSzPct val="70000"/>
              <a:buFont typeface="Wingdings" pitchFamily="2" charset="2"/>
              <a:buChar char="§"/>
              <a:defRPr sz="1800" kern="1200">
                <a:solidFill>
                  <a:schemeClr val="tx1"/>
                </a:solidFill>
                <a:latin typeface="+mn-lt"/>
                <a:ea typeface="+mn-ea"/>
                <a:cs typeface="+mn-cs"/>
              </a:defRPr>
            </a:lvl1pPr>
            <a:lvl2pPr marL="540000" indent="-180975" algn="l" defTabSz="914400" rtl="0" eaLnBrk="1" latinLnBrk="0" hangingPunct="1">
              <a:spcBef>
                <a:spcPts val="1100"/>
              </a:spcBef>
              <a:spcAft>
                <a:spcPts val="400"/>
              </a:spcAft>
              <a:buClr>
                <a:schemeClr val="tx2"/>
              </a:buClr>
              <a:buSzPct val="70000"/>
              <a:buFont typeface="Wingdings" pitchFamily="2" charset="2"/>
              <a:buChar char="§"/>
              <a:tabLst/>
              <a:defRPr sz="1800" kern="1200">
                <a:solidFill>
                  <a:schemeClr val="tx1"/>
                </a:solidFill>
                <a:latin typeface="+mn-lt"/>
                <a:ea typeface="+mn-ea"/>
                <a:cs typeface="+mn-cs"/>
              </a:defRPr>
            </a:lvl2pPr>
            <a:lvl3pPr marL="900000" indent="-180000" algn="l" defTabSz="914400" rtl="0" eaLnBrk="1" latinLnBrk="0" hangingPunct="1">
              <a:spcBef>
                <a:spcPts val="1100"/>
              </a:spcBef>
              <a:spcAft>
                <a:spcPts val="400"/>
              </a:spcAft>
              <a:buClr>
                <a:schemeClr val="tx2"/>
              </a:buClr>
              <a:buSzPct val="70000"/>
              <a:buFont typeface="Wingdings" pitchFamily="2" charset="2"/>
              <a:buChar char="§"/>
              <a:tabLst/>
              <a:defRPr sz="1600" kern="1200">
                <a:solidFill>
                  <a:schemeClr val="tx1"/>
                </a:solidFill>
                <a:latin typeface="+mn-lt"/>
                <a:ea typeface="+mn-ea"/>
                <a:cs typeface="+mn-cs"/>
              </a:defRPr>
            </a:lvl3pPr>
            <a:lvl4pPr marL="0" indent="0" algn="l" defTabSz="914400" rtl="0" eaLnBrk="1" latinLnBrk="0" hangingPunct="1">
              <a:spcBef>
                <a:spcPts val="1100"/>
              </a:spcBef>
              <a:spcAft>
                <a:spcPts val="400"/>
              </a:spcAft>
              <a:buClr>
                <a:schemeClr val="tx2"/>
              </a:buClr>
              <a:buSzPct val="70000"/>
              <a:buFont typeface="Wingdings" pitchFamily="2" charset="2"/>
              <a:buNone/>
              <a:tabLst/>
              <a:defRPr sz="1800" kern="1200">
                <a:solidFill>
                  <a:schemeClr val="tx1"/>
                </a:solidFill>
                <a:latin typeface="+mn-lt"/>
                <a:ea typeface="+mn-ea"/>
                <a:cs typeface="+mn-cs"/>
              </a:defRPr>
            </a:lvl4pPr>
            <a:lvl5pPr marL="0" indent="0" algn="l" defTabSz="914400" rtl="0" eaLnBrk="1" latinLnBrk="0" hangingPunct="1">
              <a:spcBef>
                <a:spcPts val="1100"/>
              </a:spcBef>
              <a:spcAft>
                <a:spcPts val="400"/>
              </a:spcAft>
              <a:buClr>
                <a:schemeClr val="tx2"/>
              </a:buClr>
              <a:buSzPct val="70000"/>
              <a:buFont typeface="Wingdings" pitchFamily="2" charset="2"/>
              <a:buNone/>
              <a:defRPr sz="1800" b="1" kern="1200">
                <a:solidFill>
                  <a:schemeClr val="tx1"/>
                </a:solidFill>
                <a:latin typeface="+mn-lt"/>
                <a:ea typeface="+mn-ea"/>
                <a:cs typeface="+mn-cs"/>
              </a:defRPr>
            </a:lvl5pPr>
            <a:lvl6pPr marL="0" indent="0" algn="l" defTabSz="914400" rtl="0" eaLnBrk="1" latinLnBrk="0" hangingPunct="1">
              <a:spcBef>
                <a:spcPts val="1100"/>
              </a:spcBef>
              <a:buClr>
                <a:schemeClr val="tx2"/>
              </a:buClr>
              <a:buSzPct val="70000"/>
              <a:buFont typeface="Arial" pitchFamily="34" charset="0"/>
              <a:buNone/>
              <a:defRPr sz="1800" b="1" kern="1200">
                <a:solidFill>
                  <a:schemeClr val="accent1"/>
                </a:solidFill>
                <a:latin typeface="+mn-lt"/>
                <a:ea typeface="+mn-ea"/>
                <a:cs typeface="+mn-cs"/>
              </a:defRPr>
            </a:lvl6pPr>
            <a:lvl7pPr marL="0" indent="0" algn="l" defTabSz="914400" rtl="0" eaLnBrk="1" latinLnBrk="0" hangingPunct="1">
              <a:spcBef>
                <a:spcPts val="1100"/>
              </a:spcBef>
              <a:buFont typeface="Arial" pitchFamily="34" charset="0"/>
              <a:buNone/>
              <a:defRPr sz="9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Wingdings" pitchFamily="2" charset="2"/>
              <a:buNone/>
            </a:pPr>
            <a:r>
              <a:rPr lang="en-US" dirty="0" smtClean="0">
                <a:latin typeface="Arial" charset="0"/>
              </a:rPr>
              <a:t>[Speaker name]	</a:t>
            </a:r>
          </a:p>
          <a:p>
            <a:pPr marL="0" indent="0">
              <a:spcBef>
                <a:spcPts val="600"/>
              </a:spcBef>
              <a:spcAft>
                <a:spcPts val="600"/>
              </a:spcAft>
              <a:buFont typeface="Wingdings" pitchFamily="2" charset="2"/>
              <a:buNone/>
            </a:pPr>
            <a:r>
              <a:rPr lang="en-US" dirty="0" smtClean="0">
                <a:latin typeface="Arial" charset="0"/>
              </a:rPr>
              <a:t>[Speaker title]	</a:t>
            </a:r>
          </a:p>
          <a:p>
            <a:pPr marL="0" indent="0">
              <a:spcBef>
                <a:spcPts val="600"/>
              </a:spcBef>
              <a:spcAft>
                <a:spcPts val="600"/>
              </a:spcAft>
              <a:buFont typeface="Wingdings" pitchFamily="2" charset="2"/>
              <a:buNone/>
            </a:pPr>
            <a:r>
              <a:rPr lang="en-US" dirty="0" smtClean="0">
                <a:latin typeface="Arial" charset="0"/>
              </a:rPr>
              <a:t>[Company name]</a:t>
            </a:r>
          </a:p>
          <a:p>
            <a:pPr marL="0" indent="0">
              <a:spcBef>
                <a:spcPts val="600"/>
              </a:spcBef>
              <a:spcAft>
                <a:spcPts val="600"/>
              </a:spcAft>
              <a:buFont typeface="Wingdings" pitchFamily="2" charset="2"/>
              <a:buNone/>
            </a:pPr>
            <a:r>
              <a:rPr lang="en-US" dirty="0" smtClean="0">
                <a:latin typeface="Arial" charset="0"/>
              </a:rPr>
              <a:t>[Email address]	</a:t>
            </a:r>
            <a:endParaRPr lang="en-US" dirty="0"/>
          </a:p>
        </p:txBody>
      </p:sp>
      <p:sp>
        <p:nvSpPr>
          <p:cNvPr id="7" name="Rectangle 6"/>
          <p:cNvSpPr/>
          <p:nvPr/>
        </p:nvSpPr>
        <p:spPr bwMode="gray">
          <a:xfrm>
            <a:off x="1439652" y="3897052"/>
            <a:ext cx="6247615" cy="3422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Contact information</a:t>
            </a:r>
          </a:p>
        </p:txBody>
      </p:sp>
      <p:sp>
        <p:nvSpPr>
          <p:cNvPr id="8" name="Rectangle 7"/>
          <p:cNvSpPr/>
          <p:nvPr/>
        </p:nvSpPr>
        <p:spPr bwMode="gray">
          <a:xfrm rot="489797">
            <a:off x="4675785" y="2214098"/>
            <a:ext cx="2164433" cy="34223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1600" dirty="0" smtClean="0">
                <a:solidFill>
                  <a:schemeClr val="bg1"/>
                </a:solidFill>
                <a:latin typeface="Arial" pitchFamily="34" charset="0"/>
                <a:cs typeface="Arial" pitchFamily="34" charset="0"/>
              </a:rPr>
              <a:t>Industry picture</a:t>
            </a:r>
          </a:p>
        </p:txBody>
      </p:sp>
    </p:spTree>
    <p:extLst>
      <p:ext uri="{BB962C8B-B14F-4D97-AF65-F5344CB8AC3E}">
        <p14:creationId xmlns:p14="http://schemas.microsoft.com/office/powerpoint/2010/main" val="2324534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99892" y="1677989"/>
            <a:ext cx="5327544" cy="4522273"/>
          </a:xfrm>
        </p:spPr>
        <p:txBody>
          <a:bodyPr/>
          <a:lstStyle/>
          <a:p>
            <a:pPr marL="0" indent="0">
              <a:buNone/>
            </a:pPr>
            <a:r>
              <a:rPr lang="en-US" dirty="0">
                <a:solidFill>
                  <a:schemeClr val="tx2"/>
                </a:solidFill>
              </a:rPr>
              <a:t>Save the date for this </a:t>
            </a:r>
            <a:r>
              <a:rPr lang="en-US" dirty="0" smtClean="0">
                <a:solidFill>
                  <a:schemeClr val="tx2"/>
                </a:solidFill>
              </a:rPr>
              <a:t>must attend </a:t>
            </a:r>
            <a:r>
              <a:rPr lang="en-US" dirty="0">
                <a:solidFill>
                  <a:schemeClr val="tx2"/>
                </a:solidFill>
              </a:rPr>
              <a:t>event</a:t>
            </a:r>
            <a:r>
              <a:rPr lang="en-US" dirty="0">
                <a:solidFill>
                  <a:schemeClr val="accent1"/>
                </a:solidFill>
              </a:rPr>
              <a:t/>
            </a:r>
            <a:br>
              <a:rPr lang="en-US" dirty="0">
                <a:solidFill>
                  <a:schemeClr val="accent1"/>
                </a:solidFill>
              </a:rPr>
            </a:br>
            <a:r>
              <a:rPr lang="en-US" dirty="0">
                <a:solidFill>
                  <a:schemeClr val="accent1"/>
                </a:solidFill>
              </a:rPr>
              <a:t>March </a:t>
            </a:r>
            <a:r>
              <a:rPr lang="en-US" dirty="0" smtClean="0">
                <a:solidFill>
                  <a:schemeClr val="accent1"/>
                </a:solidFill>
              </a:rPr>
              <a:t>13-16, 2017 </a:t>
            </a:r>
            <a:r>
              <a:rPr lang="en-US" dirty="0">
                <a:solidFill>
                  <a:schemeClr val="accent1"/>
                </a:solidFill>
              </a:rPr>
              <a:t>| Houston, Texas</a:t>
            </a:r>
          </a:p>
          <a:p>
            <a:r>
              <a:rPr lang="en-US" sz="1600" dirty="0"/>
              <a:t>Be part </a:t>
            </a:r>
            <a:r>
              <a:rPr lang="en-US" sz="1600"/>
              <a:t>of </a:t>
            </a:r>
            <a:r>
              <a:rPr lang="en-US" sz="1600" smtClean="0"/>
              <a:t>ABB’s </a:t>
            </a:r>
            <a:r>
              <a:rPr lang="en-US" sz="1600" dirty="0"/>
              <a:t>largest educational experience </a:t>
            </a:r>
            <a:br>
              <a:rPr lang="en-US" sz="1600" dirty="0"/>
            </a:br>
            <a:r>
              <a:rPr lang="en-US" sz="1600" dirty="0"/>
              <a:t>in North America</a:t>
            </a:r>
          </a:p>
          <a:p>
            <a:r>
              <a:rPr lang="en-US" sz="1600" dirty="0" smtClean="0"/>
              <a:t>120,000 </a:t>
            </a:r>
            <a:r>
              <a:rPr lang="en-US" sz="1600" dirty="0" err="1" smtClean="0"/>
              <a:t>sq</a:t>
            </a:r>
            <a:r>
              <a:rPr lang="en-US" sz="1600" dirty="0" smtClean="0"/>
              <a:t> </a:t>
            </a:r>
            <a:r>
              <a:rPr lang="en-US" sz="1600" dirty="0" err="1" smtClean="0"/>
              <a:t>ft</a:t>
            </a:r>
            <a:r>
              <a:rPr lang="en-US" sz="1600" dirty="0" smtClean="0"/>
              <a:t> Technology </a:t>
            </a:r>
            <a:r>
              <a:rPr lang="en-US" sz="1600" dirty="0"/>
              <a:t>&amp; Solution Center - see it all in </a:t>
            </a:r>
            <a:br>
              <a:rPr lang="en-US" sz="1600" dirty="0"/>
            </a:br>
            <a:r>
              <a:rPr lang="en-US" sz="1600" dirty="0"/>
              <a:t>one place: products, experts, solutions</a:t>
            </a:r>
          </a:p>
          <a:p>
            <a:r>
              <a:rPr lang="en-US" sz="1600" dirty="0"/>
              <a:t>Daily keynote headline sessions</a:t>
            </a:r>
          </a:p>
          <a:p>
            <a:r>
              <a:rPr lang="en-US" sz="1600" dirty="0"/>
              <a:t>Educational and training opportunities:</a:t>
            </a:r>
          </a:p>
          <a:p>
            <a:pPr lvl="1">
              <a:spcBef>
                <a:spcPts val="100"/>
              </a:spcBef>
            </a:pPr>
            <a:r>
              <a:rPr lang="en-US" sz="1600" dirty="0"/>
              <a:t>Customer case studies</a:t>
            </a:r>
          </a:p>
          <a:p>
            <a:pPr lvl="1">
              <a:spcBef>
                <a:spcPts val="100"/>
              </a:spcBef>
            </a:pPr>
            <a:r>
              <a:rPr lang="en-US" sz="1600" dirty="0"/>
              <a:t>Hands-on training and technical workshops</a:t>
            </a:r>
          </a:p>
          <a:p>
            <a:pPr lvl="1">
              <a:spcBef>
                <a:spcPts val="100"/>
              </a:spcBef>
            </a:pPr>
            <a:r>
              <a:rPr lang="en-US" sz="1600" dirty="0"/>
              <a:t>Panel discussions</a:t>
            </a:r>
          </a:p>
          <a:p>
            <a:pPr lvl="1">
              <a:spcBef>
                <a:spcPts val="100"/>
              </a:spcBef>
            </a:pPr>
            <a:r>
              <a:rPr lang="en-US" sz="1600" dirty="0"/>
              <a:t>Business forum</a:t>
            </a:r>
          </a:p>
          <a:p>
            <a:pPr marL="0" indent="0">
              <a:buNone/>
            </a:pPr>
            <a:r>
              <a:rPr lang="en-US" sz="1600" dirty="0" smtClean="0">
                <a:solidFill>
                  <a:schemeClr val="accent1"/>
                </a:solidFill>
              </a:rPr>
              <a:t>Stay connected: </a:t>
            </a:r>
            <a:r>
              <a:rPr lang="en-US" sz="1600" u="sng" dirty="0" smtClean="0">
                <a:solidFill>
                  <a:schemeClr val="accent1"/>
                </a:solidFill>
              </a:rPr>
              <a:t>www.abb.com/apw</a:t>
            </a:r>
            <a:endParaRPr lang="en-US" sz="1600" u="sng" dirty="0">
              <a:solidFill>
                <a:schemeClr val="accent1"/>
              </a:solidFill>
            </a:endParaRPr>
          </a:p>
          <a:p>
            <a:endParaRPr lang="en-US" dirty="0"/>
          </a:p>
        </p:txBody>
      </p:sp>
      <p:sp>
        <p:nvSpPr>
          <p:cNvPr id="3" name="Title 2"/>
          <p:cNvSpPr>
            <a:spLocks noGrp="1"/>
          </p:cNvSpPr>
          <p:nvPr>
            <p:ph type="title"/>
          </p:nvPr>
        </p:nvSpPr>
        <p:spPr/>
        <p:txBody>
          <a:bodyPr/>
          <a:lstStyle/>
          <a:p>
            <a:r>
              <a:rPr lang="en-US" dirty="0" smtClean="0"/>
              <a:t>Automation and Power World 2017</a:t>
            </a:r>
            <a:br>
              <a:rPr lang="en-US" dirty="0" smtClean="0"/>
            </a:br>
            <a:r>
              <a:rPr lang="en-US" dirty="0" smtClean="0">
                <a:solidFill>
                  <a:schemeClr val="accent1"/>
                </a:solidFill>
              </a:rPr>
              <a:t>Connect. Collaborate. Outperform.</a:t>
            </a:r>
            <a:endParaRPr lang="en-US" dirty="0">
              <a:solidFill>
                <a:schemeClr val="accent1"/>
              </a:solidFill>
            </a:endParaRPr>
          </a:p>
        </p:txBody>
      </p:sp>
      <p:sp>
        <p:nvSpPr>
          <p:cNvPr id="5" name="Date Placeholder 4"/>
          <p:cNvSpPr>
            <a:spLocks noGrp="1"/>
          </p:cNvSpPr>
          <p:nvPr>
            <p:ph type="dt" sz="half" idx="14"/>
          </p:nvPr>
        </p:nvSpPr>
        <p:spPr/>
        <p:txBody>
          <a:bodyPr/>
          <a:lstStyle/>
          <a:p>
            <a:r>
              <a:rPr lang="de-DE" smtClean="0"/>
              <a:t>Month DD, YYYY</a:t>
            </a:r>
            <a:endParaRPr lang="en-US" dirty="0"/>
          </a:p>
        </p:txBody>
      </p:sp>
      <p:grpSp>
        <p:nvGrpSpPr>
          <p:cNvPr id="10" name="Group 9"/>
          <p:cNvGrpSpPr/>
          <p:nvPr/>
        </p:nvGrpSpPr>
        <p:grpSpPr>
          <a:xfrm>
            <a:off x="7199784" y="-103609"/>
            <a:ext cx="1944216" cy="2158332"/>
            <a:chOff x="7199784" y="-103609"/>
            <a:chExt cx="1944216" cy="2158332"/>
          </a:xfrm>
        </p:grpSpPr>
        <p:sp>
          <p:nvSpPr>
            <p:cNvPr id="9" name="Diagonal Stripe 8"/>
            <p:cNvSpPr/>
            <p:nvPr/>
          </p:nvSpPr>
          <p:spPr bwMode="gray">
            <a:xfrm rot="5400000">
              <a:off x="7127776" y="38499"/>
              <a:ext cx="2088232" cy="1944216"/>
            </a:xfrm>
            <a:prstGeom prst="diagStrip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endParaRPr lang="en-US" sz="1600" dirty="0" err="1" smtClean="0">
                <a:solidFill>
                  <a:schemeClr val="bg1"/>
                </a:solidFill>
                <a:latin typeface="Arial" pitchFamily="34" charset="0"/>
                <a:cs typeface="Arial" pitchFamily="34" charset="0"/>
              </a:endParaRPr>
            </a:p>
          </p:txBody>
        </p:sp>
        <p:sp>
          <p:nvSpPr>
            <p:cNvPr id="7" name="Rectangle 6"/>
            <p:cNvSpPr/>
            <p:nvPr/>
          </p:nvSpPr>
          <p:spPr bwMode="gray">
            <a:xfrm rot="2828734">
              <a:off x="7460785" y="617887"/>
              <a:ext cx="1801714" cy="358722"/>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spcBef>
                  <a:spcPts val="1100"/>
                </a:spcBef>
                <a:buClr>
                  <a:schemeClr val="tx2"/>
                </a:buClr>
                <a:buSzPct val="70000"/>
                <a:buFont typeface="Wingdings" pitchFamily="2" charset="2"/>
                <a:buNone/>
              </a:pPr>
              <a:r>
                <a:rPr lang="en-US" sz="2000" dirty="0" smtClean="0">
                  <a:solidFill>
                    <a:schemeClr val="bg1"/>
                  </a:solidFill>
                  <a:latin typeface="Arial" pitchFamily="34" charset="0"/>
                  <a:cs typeface="Arial" pitchFamily="34" charset="0"/>
                </a:rPr>
                <a:t>Save the date</a:t>
              </a:r>
            </a:p>
          </p:txBody>
        </p:sp>
      </p:grpSp>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l="23314" r="1805"/>
          <a:stretch/>
        </p:blipFill>
        <p:spPr>
          <a:xfrm>
            <a:off x="179512" y="1376772"/>
            <a:ext cx="3212326" cy="4715478"/>
          </a:xfrm>
          <a:prstGeom prst="rect">
            <a:avLst/>
          </a:prstGeom>
        </p:spPr>
      </p:pic>
    </p:spTree>
    <p:extLst>
      <p:ext uri="{BB962C8B-B14F-4D97-AF65-F5344CB8AC3E}">
        <p14:creationId xmlns:p14="http://schemas.microsoft.com/office/powerpoint/2010/main" val="3978825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40817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smtClean="0"/>
              <a:t>Slide resources</a:t>
            </a:r>
            <a:endParaRPr lang="de-DE" dirty="0"/>
          </a:p>
        </p:txBody>
      </p:sp>
      <p:sp>
        <p:nvSpPr>
          <p:cNvPr id="5" name="Date Placeholder 4"/>
          <p:cNvSpPr>
            <a:spLocks noGrp="1"/>
          </p:cNvSpPr>
          <p:nvPr>
            <p:ph type="dt" sz="half" idx="10"/>
          </p:nvPr>
        </p:nvSpPr>
        <p:spPr/>
        <p:txBody>
          <a:bodyPr/>
          <a:lstStyle/>
          <a:p>
            <a:r>
              <a:rPr lang="de-DE" smtClean="0"/>
              <a:t>Month DD, YYYY</a:t>
            </a:r>
            <a:endParaRPr lang="en-US" dirty="0"/>
          </a:p>
        </p:txBody>
      </p:sp>
    </p:spTree>
    <p:extLst>
      <p:ext uri="{BB962C8B-B14F-4D97-AF65-F5344CB8AC3E}">
        <p14:creationId xmlns:p14="http://schemas.microsoft.com/office/powerpoint/2010/main" val="934395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6DFf.CIwKUyQhmCLoSPT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0lgw86naEiKQffDczY2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GUID" val="364a1e3c-49f8-4aa2-afeb-23111335ec2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AR4P_iZE4kWM4tVynu9EYg"/>
</p:tagLst>
</file>

<file path=ppt/theme/theme1.xml><?xml version="1.0" encoding="utf-8"?>
<a:theme xmlns:a="http://schemas.openxmlformats.org/drawingml/2006/main" name="01 ABB Template Blue">
  <a:themeElements>
    <a:clrScheme name="ABB Vorlage 2010">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2.xml><?xml version="1.0" encoding="utf-8"?>
<a:theme xmlns:a="http://schemas.openxmlformats.org/drawingml/2006/main" name="02 ABB Template Green">
  <a:themeElements>
    <a:clrScheme name="ABB GREEN">
      <a:dk1>
        <a:srgbClr val="000000"/>
      </a:dk1>
      <a:lt1>
        <a:srgbClr val="FFFFFF"/>
      </a:lt1>
      <a:dk2>
        <a:srgbClr val="084C07"/>
      </a:dk2>
      <a:lt2>
        <a:srgbClr val="666666"/>
      </a:lt2>
      <a:accent1>
        <a:srgbClr val="028208"/>
      </a:accent1>
      <a:accent2>
        <a:srgbClr val="3AB200"/>
      </a:accent2>
      <a:accent3>
        <a:srgbClr val="98DB38"/>
      </a:accent3>
      <a:accent4>
        <a:srgbClr val="999999"/>
      </a:accent4>
      <a:accent5>
        <a:srgbClr val="666666"/>
      </a:accent5>
      <a:accent6>
        <a:srgbClr val="666666"/>
      </a:accent6>
      <a:hlink>
        <a:srgbClr val="98DB3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3.xml><?xml version="1.0" encoding="utf-8"?>
<a:theme xmlns:a="http://schemas.openxmlformats.org/drawingml/2006/main" name="03 ABB Template Orange">
  <a:themeElements>
    <a:clrScheme name="ABB ORANGE">
      <a:dk1>
        <a:srgbClr val="000000"/>
      </a:dk1>
      <a:lt1>
        <a:srgbClr val="FFFFFF"/>
      </a:lt1>
      <a:dk2>
        <a:srgbClr val="9A2801"/>
      </a:dk2>
      <a:lt2>
        <a:srgbClr val="666666"/>
      </a:lt2>
      <a:accent1>
        <a:srgbClr val="BF4500"/>
      </a:accent1>
      <a:accent2>
        <a:srgbClr val="FF6C00"/>
      </a:accent2>
      <a:accent3>
        <a:srgbClr val="FDAC25"/>
      </a:accent3>
      <a:accent4>
        <a:srgbClr val="999999"/>
      </a:accent4>
      <a:accent5>
        <a:srgbClr val="666666"/>
      </a:accent5>
      <a:accent6>
        <a:srgbClr val="666666"/>
      </a:accent6>
      <a:hlink>
        <a:srgbClr val="FDAC25"/>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4.xml><?xml version="1.0" encoding="utf-8"?>
<a:theme xmlns:a="http://schemas.openxmlformats.org/drawingml/2006/main" name="04 ABB Template Violet">
  <a:themeElements>
    <a:clrScheme name="ABB VIOLET">
      <a:dk1>
        <a:srgbClr val="000000"/>
      </a:dk1>
      <a:lt1>
        <a:srgbClr val="FFFFFF"/>
      </a:lt1>
      <a:dk2>
        <a:srgbClr val="601F69"/>
      </a:dk2>
      <a:lt2>
        <a:srgbClr val="666666"/>
      </a:lt2>
      <a:accent1>
        <a:srgbClr val="904AB0"/>
      </a:accent1>
      <a:accent2>
        <a:srgbClr val="9868EF"/>
      </a:accent2>
      <a:accent3>
        <a:srgbClr val="B4A0E8"/>
      </a:accent3>
      <a:accent4>
        <a:srgbClr val="999999"/>
      </a:accent4>
      <a:accent5>
        <a:srgbClr val="666666"/>
      </a:accent5>
      <a:accent6>
        <a:srgbClr val="666666"/>
      </a:accent6>
      <a:hlink>
        <a:srgbClr val="B4A0E8"/>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72000" tIns="72000" rIns="72000" bIns="7200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Arial" pitchFamily="34" charset="0"/>
          <a:buNone/>
          <a:defRPr sz="1600" kern="1200" dirty="0" err="1" smtClean="0">
            <a:solidFill>
              <a:schemeClr val="tx1"/>
            </a:solidFill>
            <a:latin typeface="Arial" pitchFamily="34" charset="0"/>
            <a:ea typeface="+mn-ea"/>
            <a:cs typeface="Arial" pitchFamily="34" charset="0"/>
          </a:defRPr>
        </a:defPPr>
      </a:lstStyle>
    </a:txDef>
  </a:objectDefaults>
  <a:extraClrSchemeLst/>
</a:theme>
</file>

<file path=ppt/theme/theme5.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sz="9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ppt/theme/theme6.xml><?xml version="1.0" encoding="utf-8"?>
<a:theme xmlns:a="http://schemas.openxmlformats.org/drawingml/2006/main" name="Larissa">
  <a:themeElements>
    <a:clrScheme name="01 ABB Blue">
      <a:dk1>
        <a:srgbClr val="000000"/>
      </a:dk1>
      <a:lt1>
        <a:srgbClr val="FFFFFF"/>
      </a:lt1>
      <a:dk2>
        <a:srgbClr val="002897"/>
      </a:dk2>
      <a:lt2>
        <a:srgbClr val="666666"/>
      </a:lt2>
      <a:accent1>
        <a:srgbClr val="005ADE"/>
      </a:accent1>
      <a:accent2>
        <a:srgbClr val="0096EA"/>
      </a:accent2>
      <a:accent3>
        <a:srgbClr val="5BD8FF"/>
      </a:accent3>
      <a:accent4>
        <a:srgbClr val="999999"/>
      </a:accent4>
      <a:accent5>
        <a:srgbClr val="666666"/>
      </a:accent5>
      <a:accent6>
        <a:srgbClr val="666666"/>
      </a:accent6>
      <a:hlink>
        <a:srgbClr val="5BD8FF"/>
      </a:hlink>
      <a:folHlink>
        <a:srgbClr val="999999"/>
      </a:folHlink>
    </a:clrScheme>
    <a:fontScheme name="ABB Vorlage 2010">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indent="0" algn="ctr">
          <a:spcBef>
            <a:spcPts val="1100"/>
          </a:spcBef>
          <a:buClr>
            <a:schemeClr val="tx2"/>
          </a:buClr>
          <a:buSzPct val="70000"/>
          <a:buFont typeface="Wingdings" pitchFamily="2" charset="2"/>
          <a:buNone/>
          <a:defRPr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spPr>
      <a:bodyPr vert="horz" wrap="square" lIns="0" tIns="36000" rIns="0" bIns="0" numCol="1" rtlCol="0" anchor="t" anchorCtr="0" compatLnSpc="1">
        <a:prstTxWarp prst="textNoShape">
          <a:avLst/>
        </a:prstTxWarp>
        <a:noAutofit/>
      </a:bodyPr>
      <a:lstStyle>
        <a:defPPr marL="0" indent="0" algn="l" rtl="0" fontAlgn="base">
          <a:spcBef>
            <a:spcPts val="1100"/>
          </a:spcBef>
          <a:spcAft>
            <a:spcPct val="0"/>
          </a:spcAft>
          <a:buClr>
            <a:schemeClr val="tx2"/>
          </a:buClr>
          <a:buSzPct val="70000"/>
          <a:buFont typeface="Wingdings" pitchFamily="2" charset="2"/>
          <a:buNone/>
          <a:defRPr sz="900" kern="1200" dirty="0" err="1" smtClean="0">
            <a:solidFill>
              <a:schemeClr val="tx1"/>
            </a:solidFill>
            <a:latin typeface="Arial" pitchFamily="34" charset="0"/>
            <a:ea typeface="+mn-ea"/>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522</TotalTime>
  <Words>1467</Words>
  <Application>Microsoft Office PowerPoint</Application>
  <PresentationFormat>On-screen Show (4:3)</PresentationFormat>
  <Paragraphs>446</Paragraphs>
  <Slides>27</Slides>
  <Notes>7</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6" baseType="lpstr">
      <vt:lpstr>ＭＳ Ｐゴシック</vt:lpstr>
      <vt:lpstr>Arial</vt:lpstr>
      <vt:lpstr>Wingdings</vt:lpstr>
      <vt:lpstr>ABB Neue Helvetica Light</vt:lpstr>
      <vt:lpstr>01 ABB Template Blue</vt:lpstr>
      <vt:lpstr>02 ABB Template Green</vt:lpstr>
      <vt:lpstr>03 ABB Template Orange</vt:lpstr>
      <vt:lpstr>04 ABB Template Violet</vt:lpstr>
      <vt:lpstr>think-cell Slide</vt:lpstr>
      <vt:lpstr>Session title Sub headline</vt:lpstr>
      <vt:lpstr>Title of presentation Presenters</vt:lpstr>
      <vt:lpstr>Wrap Up</vt:lpstr>
      <vt:lpstr>Wrap-up Key takeaways</vt:lpstr>
      <vt:lpstr>Get your certificate of attendance certificate now </vt:lpstr>
      <vt:lpstr>Q&amp;A</vt:lpstr>
      <vt:lpstr>Automation and Power World 2017 Connect. Collaborate. Outperform.</vt:lpstr>
      <vt:lpstr>PowerPoint Presentation</vt:lpstr>
      <vt:lpstr>Slide resources</vt:lpstr>
      <vt:lpstr>Insert Title (1st blue color) Insert Subtitle (2nd blue color)</vt:lpstr>
      <vt:lpstr>Headline</vt:lpstr>
      <vt:lpstr>Picture + Text</vt:lpstr>
      <vt:lpstr>Tables</vt:lpstr>
      <vt:lpstr>Tables</vt:lpstr>
      <vt:lpstr>Tables</vt:lpstr>
      <vt:lpstr>Diagrams</vt:lpstr>
      <vt:lpstr>Diagrams</vt:lpstr>
      <vt:lpstr>Diagrams</vt:lpstr>
      <vt:lpstr>Schematic drawings</vt:lpstr>
      <vt:lpstr>Schematic drawings</vt:lpstr>
      <vt:lpstr>Schematic drawings</vt:lpstr>
      <vt:lpstr>Schematic drawings</vt:lpstr>
      <vt:lpstr>Icons / Graphics Use these icons to visualize your content</vt:lpstr>
      <vt:lpstr>Icons / Graphics Lines and Boxes for drawings</vt:lpstr>
      <vt:lpstr>Icons / Graphics Industrie 4.0</vt:lpstr>
      <vt:lpstr>Icons / Graphics Industrie 4.0</vt:lpstr>
      <vt:lpstr>Icons / Graphics Industrie 4.0</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B Template</dc:title>
  <dc:creator>www.Explain.de;Explain GmbH</dc:creator>
  <cp:lastModifiedBy>Tracey Noble</cp:lastModifiedBy>
  <cp:revision>188</cp:revision>
  <cp:lastPrinted>2011-07-12T00:02:44Z</cp:lastPrinted>
  <dcterms:created xsi:type="dcterms:W3CDTF">2010-07-14T13:10:27Z</dcterms:created>
  <dcterms:modified xsi:type="dcterms:W3CDTF">2016-09-12T15:32:20Z</dcterms:modified>
</cp:coreProperties>
</file>